
<file path=[Content_Types].xml><?xml version="1.0" encoding="utf-8"?>
<Types xmlns="http://schemas.openxmlformats.org/package/2006/content-types">
  <Default Extension="png" ContentType="image/png"/>
  <Default Extension="jpeg" ContentType="image/jpeg"/>
  <Default Extension="emf" ContentType="image/x-emf"/>
  <Default Extension="wmf" ContentType="image/x-wmf"/>
  <Default Extension="rels" ContentType="application/vnd.openxmlformats-package.relationships+xml"/>
  <Default Extension="xml" ContentType="application/xml"/>
  <Default Extension="gif" ContentType="image/gif"/>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2.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3.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4.xml" ContentType="application/vnd.openxmlformats-officedocument.theme+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xml" ContentType="application/vnd.openxmlformats-officedocument.presentationml.tags+xml"/>
  <Override PartName="/ppt/notesSlides/notesSlide10.xml" ContentType="application/vnd.openxmlformats-officedocument.presentationml.notesSlide+xml"/>
  <Override PartName="/ppt/charts/chart1.xml" ContentType="application/vnd.openxmlformats-officedocument.drawingml.chart+xml"/>
  <Override PartName="/ppt/notesSlides/notesSlide11.xml" ContentType="application/vnd.openxmlformats-officedocument.presentationml.notesSlide+xml"/>
  <Override PartName="/ppt/media/image55.jpg" ContentType="image/jpg"/>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 id="2147483693" r:id="rId2"/>
    <p:sldMasterId id="2147483705" r:id="rId3"/>
    <p:sldMasterId id="2147483729" r:id="rId4"/>
    <p:sldMasterId id="2147483741" r:id="rId5"/>
  </p:sldMasterIdLst>
  <p:notesMasterIdLst>
    <p:notesMasterId r:id="rId29"/>
  </p:notesMasterIdLst>
  <p:sldIdLst>
    <p:sldId id="538" r:id="rId6"/>
    <p:sldId id="539" r:id="rId7"/>
    <p:sldId id="541" r:id="rId8"/>
    <p:sldId id="544" r:id="rId9"/>
    <p:sldId id="542" r:id="rId10"/>
    <p:sldId id="526" r:id="rId11"/>
    <p:sldId id="528" r:id="rId12"/>
    <p:sldId id="530" r:id="rId13"/>
    <p:sldId id="535" r:id="rId14"/>
    <p:sldId id="546" r:id="rId15"/>
    <p:sldId id="525" r:id="rId16"/>
    <p:sldId id="547" r:id="rId17"/>
    <p:sldId id="550" r:id="rId18"/>
    <p:sldId id="551" r:id="rId19"/>
    <p:sldId id="552" r:id="rId20"/>
    <p:sldId id="548" r:id="rId21"/>
    <p:sldId id="549" r:id="rId22"/>
    <p:sldId id="553" r:id="rId23"/>
    <p:sldId id="536" r:id="rId24"/>
    <p:sldId id="534" r:id="rId25"/>
    <p:sldId id="537" r:id="rId26"/>
    <p:sldId id="478" r:id="rId27"/>
    <p:sldId id="543" r:id="rId28"/>
  </p:sldIdLst>
  <p:sldSz cx="9144000" cy="5143500" type="screen16x9"/>
  <p:notesSz cx="6858000" cy="9144000"/>
  <p:defaultTextStyle>
    <a:defPPr>
      <a:defRPr lang="en-US"/>
    </a:defPPr>
    <a:lvl1pPr marL="0" algn="l" defTabSz="914296" rtl="0" eaLnBrk="1" latinLnBrk="0" hangingPunct="1">
      <a:defRPr sz="1800" kern="1200">
        <a:solidFill>
          <a:schemeClr val="tx1"/>
        </a:solidFill>
        <a:latin typeface="+mn-lt"/>
        <a:ea typeface="+mn-ea"/>
        <a:cs typeface="+mn-cs"/>
      </a:defRPr>
    </a:lvl1pPr>
    <a:lvl2pPr marL="457148" algn="l" defTabSz="914296" rtl="0" eaLnBrk="1" latinLnBrk="0" hangingPunct="1">
      <a:defRPr sz="1800" kern="1200">
        <a:solidFill>
          <a:schemeClr val="tx1"/>
        </a:solidFill>
        <a:latin typeface="+mn-lt"/>
        <a:ea typeface="+mn-ea"/>
        <a:cs typeface="+mn-cs"/>
      </a:defRPr>
    </a:lvl2pPr>
    <a:lvl3pPr marL="914296" algn="l" defTabSz="914296" rtl="0" eaLnBrk="1" latinLnBrk="0" hangingPunct="1">
      <a:defRPr sz="1800" kern="1200">
        <a:solidFill>
          <a:schemeClr val="tx1"/>
        </a:solidFill>
        <a:latin typeface="+mn-lt"/>
        <a:ea typeface="+mn-ea"/>
        <a:cs typeface="+mn-cs"/>
      </a:defRPr>
    </a:lvl3pPr>
    <a:lvl4pPr marL="1371444" algn="l" defTabSz="914296" rtl="0" eaLnBrk="1" latinLnBrk="0" hangingPunct="1">
      <a:defRPr sz="1800" kern="1200">
        <a:solidFill>
          <a:schemeClr val="tx1"/>
        </a:solidFill>
        <a:latin typeface="+mn-lt"/>
        <a:ea typeface="+mn-ea"/>
        <a:cs typeface="+mn-cs"/>
      </a:defRPr>
    </a:lvl4pPr>
    <a:lvl5pPr marL="1828592" algn="l" defTabSz="914296" rtl="0" eaLnBrk="1" latinLnBrk="0" hangingPunct="1">
      <a:defRPr sz="1800" kern="1200">
        <a:solidFill>
          <a:schemeClr val="tx1"/>
        </a:solidFill>
        <a:latin typeface="+mn-lt"/>
        <a:ea typeface="+mn-ea"/>
        <a:cs typeface="+mn-cs"/>
      </a:defRPr>
    </a:lvl5pPr>
    <a:lvl6pPr marL="2285740" algn="l" defTabSz="914296" rtl="0" eaLnBrk="1" latinLnBrk="0" hangingPunct="1">
      <a:defRPr sz="1800" kern="1200">
        <a:solidFill>
          <a:schemeClr val="tx1"/>
        </a:solidFill>
        <a:latin typeface="+mn-lt"/>
        <a:ea typeface="+mn-ea"/>
        <a:cs typeface="+mn-cs"/>
      </a:defRPr>
    </a:lvl6pPr>
    <a:lvl7pPr marL="2742888" algn="l" defTabSz="914296" rtl="0" eaLnBrk="1" latinLnBrk="0" hangingPunct="1">
      <a:defRPr sz="1800" kern="1200">
        <a:solidFill>
          <a:schemeClr val="tx1"/>
        </a:solidFill>
        <a:latin typeface="+mn-lt"/>
        <a:ea typeface="+mn-ea"/>
        <a:cs typeface="+mn-cs"/>
      </a:defRPr>
    </a:lvl7pPr>
    <a:lvl8pPr marL="3200036" algn="l" defTabSz="914296" rtl="0" eaLnBrk="1" latinLnBrk="0" hangingPunct="1">
      <a:defRPr sz="1800" kern="1200">
        <a:solidFill>
          <a:schemeClr val="tx1"/>
        </a:solidFill>
        <a:latin typeface="+mn-lt"/>
        <a:ea typeface="+mn-ea"/>
        <a:cs typeface="+mn-cs"/>
      </a:defRPr>
    </a:lvl8pPr>
    <a:lvl9pPr marL="3657184" algn="l" defTabSz="914296"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3333"/>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582" autoAdjust="0"/>
    <p:restoredTop sz="86562" autoAdjust="0"/>
  </p:normalViewPr>
  <p:slideViewPr>
    <p:cSldViewPr>
      <p:cViewPr varScale="1">
        <p:scale>
          <a:sx n="95" d="100"/>
          <a:sy n="95" d="100"/>
        </p:scale>
        <p:origin x="258" y="78"/>
      </p:cViewPr>
      <p:guideLst>
        <p:guide orient="horz" pos="1620"/>
        <p:guide pos="2880"/>
      </p:guideLst>
    </p:cSldViewPr>
  </p:slideViewPr>
  <p:notesTextViewPr>
    <p:cViewPr>
      <p:scale>
        <a:sx n="3" d="2"/>
        <a:sy n="3" d="2"/>
      </p:scale>
      <p:origin x="0" y="0"/>
    </p:cViewPr>
  </p:notesTextViewPr>
  <p:sorterViewPr>
    <p:cViewPr>
      <p:scale>
        <a:sx n="120" d="100"/>
        <a:sy n="120" d="100"/>
      </p:scale>
      <p:origin x="0" y="4548"/>
    </p:cViewPr>
  </p:sorterViewPr>
  <p:gridSpacing cx="45005" cy="45005"/>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slideMaster" Target="slideMasters/slideMaster3.xml"/><Relationship Id="rId21" Type="http://schemas.openxmlformats.org/officeDocument/2006/relationships/slide" Target="slides/slide16.xml"/><Relationship Id="rId34" Type="http://schemas.microsoft.com/office/2015/10/relationships/revisionInfo" Target="revisionInfo.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470588235294117"/>
          <c:y val="7.9136690647482008E-2"/>
          <c:w val="0.87352941176470589"/>
          <c:h val="0.85251798561151082"/>
        </c:manualLayout>
      </c:layout>
      <c:areaChart>
        <c:grouping val="stacked"/>
        <c:varyColors val="0"/>
        <c:ser>
          <c:idx val="0"/>
          <c:order val="0"/>
          <c:tx>
            <c:strRef>
              <c:f>Sheet1!$A$2</c:f>
              <c:strCache>
                <c:ptCount val="1"/>
              </c:strCache>
            </c:strRef>
          </c:tx>
          <c:spPr>
            <a:solidFill>
              <a:srgbClr val="0069A8"/>
            </a:solidFill>
            <a:ln w="25399">
              <a:noFill/>
            </a:ln>
          </c:spPr>
          <c:cat>
            <c:numRef>
              <c:f>Sheet1!$B$1:$BS$1</c:f>
              <c:numCache>
                <c:formatCode>General</c:formatCode>
                <c:ptCount val="70"/>
              </c:numCache>
            </c:numRef>
          </c:cat>
          <c:val>
            <c:numRef>
              <c:f>Sheet1!$B$2:$BS$2</c:f>
              <c:numCache>
                <c:formatCode>General</c:formatCode>
                <c:ptCount val="70"/>
                <c:pt idx="0">
                  <c:v>5.0000000000005684</c:v>
                </c:pt>
                <c:pt idx="1">
                  <c:v>6.0000000000006821</c:v>
                </c:pt>
                <c:pt idx="2">
                  <c:v>15.000000000001705</c:v>
                </c:pt>
                <c:pt idx="3">
                  <c:v>17.000000000001933</c:v>
                </c:pt>
                <c:pt idx="4">
                  <c:v>15.500000000001762</c:v>
                </c:pt>
                <c:pt idx="5">
                  <c:v>16.300000000001855</c:v>
                </c:pt>
                <c:pt idx="6">
                  <c:v>7.0000000000007958</c:v>
                </c:pt>
                <c:pt idx="7">
                  <c:v>8.0000000000009095</c:v>
                </c:pt>
                <c:pt idx="8">
                  <c:v>9.50000000000108</c:v>
                </c:pt>
                <c:pt idx="9">
                  <c:v>17.000000000001933</c:v>
                </c:pt>
                <c:pt idx="10">
                  <c:v>17.50000000000199</c:v>
                </c:pt>
                <c:pt idx="11">
                  <c:v>18.000000000002046</c:v>
                </c:pt>
                <c:pt idx="12">
                  <c:v>14.000000000001592</c:v>
                </c:pt>
                <c:pt idx="13">
                  <c:v>5.0000000000005684</c:v>
                </c:pt>
                <c:pt idx="14">
                  <c:v>4.0000000000004547</c:v>
                </c:pt>
                <c:pt idx="15">
                  <c:v>0</c:v>
                </c:pt>
                <c:pt idx="16">
                  <c:v>0</c:v>
                </c:pt>
                <c:pt idx="17">
                  <c:v>0</c:v>
                </c:pt>
                <c:pt idx="18">
                  <c:v>5.0000000000005684</c:v>
                </c:pt>
                <c:pt idx="19">
                  <c:v>5.5000000000006253</c:v>
                </c:pt>
                <c:pt idx="20">
                  <c:v>7.0000000000007958</c:v>
                </c:pt>
                <c:pt idx="21">
                  <c:v>21.000000000002387</c:v>
                </c:pt>
                <c:pt idx="22">
                  <c:v>22.000000000002501</c:v>
                </c:pt>
                <c:pt idx="23">
                  <c:v>24.000000000002728</c:v>
                </c:pt>
                <c:pt idx="24">
                  <c:v>22.500000000002558</c:v>
                </c:pt>
                <c:pt idx="25">
                  <c:v>22.500000000002558</c:v>
                </c:pt>
                <c:pt idx="26">
                  <c:v>5.0000000000005684</c:v>
                </c:pt>
                <c:pt idx="27">
                  <c:v>4.5000000000005116</c:v>
                </c:pt>
                <c:pt idx="28">
                  <c:v>4.0000000000004547</c:v>
                </c:pt>
                <c:pt idx="29">
                  <c:v>4.5000000000005116</c:v>
                </c:pt>
                <c:pt idx="30">
                  <c:v>5.6000000000006365</c:v>
                </c:pt>
                <c:pt idx="31">
                  <c:v>19.00000000000216</c:v>
                </c:pt>
                <c:pt idx="32">
                  <c:v>18.000000000002046</c:v>
                </c:pt>
                <c:pt idx="33">
                  <c:v>19.400000000002205</c:v>
                </c:pt>
                <c:pt idx="34">
                  <c:v>17.50000000000199</c:v>
                </c:pt>
                <c:pt idx="35">
                  <c:v>18.000000000002046</c:v>
                </c:pt>
                <c:pt idx="36">
                  <c:v>18.200000000002067</c:v>
                </c:pt>
                <c:pt idx="37">
                  <c:v>10.000000000001137</c:v>
                </c:pt>
                <c:pt idx="38">
                  <c:v>7.0000000000007958</c:v>
                </c:pt>
                <c:pt idx="39">
                  <c:v>4.0000000000004547</c:v>
                </c:pt>
                <c:pt idx="40">
                  <c:v>3.0000000000003411</c:v>
                </c:pt>
                <c:pt idx="41">
                  <c:v>0</c:v>
                </c:pt>
                <c:pt idx="42">
                  <c:v>3.5000000000003979</c:v>
                </c:pt>
                <c:pt idx="43">
                  <c:v>5.0000000000005684</c:v>
                </c:pt>
                <c:pt idx="44">
                  <c:v>7.0000000000007958</c:v>
                </c:pt>
                <c:pt idx="45">
                  <c:v>16.000000000001819</c:v>
                </c:pt>
                <c:pt idx="46">
                  <c:v>17.000000000001933</c:v>
                </c:pt>
                <c:pt idx="47">
                  <c:v>20.000000000002274</c:v>
                </c:pt>
                <c:pt idx="48">
                  <c:v>17.000000000001933</c:v>
                </c:pt>
                <c:pt idx="49">
                  <c:v>14.000000000001592</c:v>
                </c:pt>
                <c:pt idx="50">
                  <c:v>13.000000000001478</c:v>
                </c:pt>
                <c:pt idx="51">
                  <c:v>5.0000000000005684</c:v>
                </c:pt>
                <c:pt idx="52">
                  <c:v>17.000000000001933</c:v>
                </c:pt>
                <c:pt idx="53">
                  <c:v>17.70000000000201</c:v>
                </c:pt>
                <c:pt idx="54">
                  <c:v>16.000000000001819</c:v>
                </c:pt>
                <c:pt idx="55">
                  <c:v>15.000000000001705</c:v>
                </c:pt>
                <c:pt idx="56">
                  <c:v>5.0000000000005684</c:v>
                </c:pt>
                <c:pt idx="57">
                  <c:v>7.0000000000007958</c:v>
                </c:pt>
                <c:pt idx="58">
                  <c:v>7.7000000000008759</c:v>
                </c:pt>
                <c:pt idx="59">
                  <c:v>6.0000000000006821</c:v>
                </c:pt>
                <c:pt idx="60">
                  <c:v>7.100000000000807</c:v>
                </c:pt>
                <c:pt idx="61">
                  <c:v>6.0000000000006821</c:v>
                </c:pt>
                <c:pt idx="62">
                  <c:v>5.0000000000005684</c:v>
                </c:pt>
                <c:pt idx="63">
                  <c:v>3.0000000000003411</c:v>
                </c:pt>
                <c:pt idx="64">
                  <c:v>2.0000000000002274</c:v>
                </c:pt>
                <c:pt idx="65">
                  <c:v>2.2000000000002502</c:v>
                </c:pt>
                <c:pt idx="66">
                  <c:v>2.5000000000002842</c:v>
                </c:pt>
                <c:pt idx="67">
                  <c:v>4.0000000000004547</c:v>
                </c:pt>
                <c:pt idx="68">
                  <c:v>5.0000000000005684</c:v>
                </c:pt>
                <c:pt idx="69">
                  <c:v>5.6000000000006365</c:v>
                </c:pt>
              </c:numCache>
            </c:numRef>
          </c:val>
          <c:extLst>
            <c:ext xmlns:c16="http://schemas.microsoft.com/office/drawing/2014/chart" uri="{C3380CC4-5D6E-409C-BE32-E72D297353CC}">
              <c16:uniqueId val="{00000000-4EA5-4AD4-ABB1-D77B35CB68E5}"/>
            </c:ext>
          </c:extLst>
        </c:ser>
        <c:ser>
          <c:idx val="1"/>
          <c:order val="1"/>
          <c:tx>
            <c:strRef>
              <c:f>Sheet1!$A$3</c:f>
              <c:strCache>
                <c:ptCount val="1"/>
              </c:strCache>
            </c:strRef>
          </c:tx>
          <c:spPr>
            <a:solidFill>
              <a:schemeClr val="accent2"/>
            </a:solidFill>
            <a:ln w="25399">
              <a:noFill/>
            </a:ln>
          </c:spPr>
          <c:cat>
            <c:numRef>
              <c:f>Sheet1!$B$1:$BS$1</c:f>
              <c:numCache>
                <c:formatCode>General</c:formatCode>
                <c:ptCount val="70"/>
              </c:numCache>
            </c:numRef>
          </c:cat>
          <c:val>
            <c:numRef>
              <c:f>Sheet1!$B$3:$BS$3</c:f>
              <c:numCache>
                <c:formatCode>General</c:formatCode>
                <c:ptCount val="70"/>
                <c:pt idx="0">
                  <c:v>5.0000000000005684</c:v>
                </c:pt>
                <c:pt idx="1">
                  <c:v>6.0000000000006821</c:v>
                </c:pt>
                <c:pt idx="2">
                  <c:v>4.8000000000005461</c:v>
                </c:pt>
                <c:pt idx="3">
                  <c:v>5.4400000000006195</c:v>
                </c:pt>
                <c:pt idx="4">
                  <c:v>4.9600000000005648</c:v>
                </c:pt>
                <c:pt idx="5">
                  <c:v>5.2160000000005944</c:v>
                </c:pt>
                <c:pt idx="6">
                  <c:v>7.0000000000007958</c:v>
                </c:pt>
                <c:pt idx="7">
                  <c:v>8.0000000000009095</c:v>
                </c:pt>
                <c:pt idx="8">
                  <c:v>11.000000000001251</c:v>
                </c:pt>
                <c:pt idx="9">
                  <c:v>5.4400000000006195</c:v>
                </c:pt>
                <c:pt idx="10">
                  <c:v>5.6000000000006382</c:v>
                </c:pt>
                <c:pt idx="11">
                  <c:v>5.7600000000006562</c:v>
                </c:pt>
                <c:pt idx="12">
                  <c:v>4.4800000000005094</c:v>
                </c:pt>
                <c:pt idx="13">
                  <c:v>1.6000000000001815</c:v>
                </c:pt>
                <c:pt idx="14">
                  <c:v>1.2800000000001457</c:v>
                </c:pt>
                <c:pt idx="15">
                  <c:v>0</c:v>
                </c:pt>
                <c:pt idx="16">
                  <c:v>0</c:v>
                </c:pt>
                <c:pt idx="17">
                  <c:v>0</c:v>
                </c:pt>
                <c:pt idx="18">
                  <c:v>1.6000000000001815</c:v>
                </c:pt>
                <c:pt idx="19">
                  <c:v>1.7600000000001998</c:v>
                </c:pt>
                <c:pt idx="20">
                  <c:v>2.2400000000002547</c:v>
                </c:pt>
                <c:pt idx="21">
                  <c:v>6.7200000000007627</c:v>
                </c:pt>
                <c:pt idx="22">
                  <c:v>7.0400000000007994</c:v>
                </c:pt>
                <c:pt idx="23">
                  <c:v>7.6800000000008728</c:v>
                </c:pt>
                <c:pt idx="24">
                  <c:v>7.2000000000008182</c:v>
                </c:pt>
                <c:pt idx="25">
                  <c:v>7.2000000000008182</c:v>
                </c:pt>
                <c:pt idx="26">
                  <c:v>15.000000000001705</c:v>
                </c:pt>
                <c:pt idx="27">
                  <c:v>11.000000000001251</c:v>
                </c:pt>
                <c:pt idx="28">
                  <c:v>12.000000000001364</c:v>
                </c:pt>
                <c:pt idx="29">
                  <c:v>11.000000000001251</c:v>
                </c:pt>
                <c:pt idx="30">
                  <c:v>13.00000000000148</c:v>
                </c:pt>
                <c:pt idx="31">
                  <c:v>6.0800000000006893</c:v>
                </c:pt>
                <c:pt idx="32">
                  <c:v>5.7600000000006562</c:v>
                </c:pt>
                <c:pt idx="33">
                  <c:v>6.2080000000007045</c:v>
                </c:pt>
                <c:pt idx="34">
                  <c:v>5.6000000000006382</c:v>
                </c:pt>
                <c:pt idx="35">
                  <c:v>5.7600000000006562</c:v>
                </c:pt>
                <c:pt idx="36">
                  <c:v>5.8240000000006633</c:v>
                </c:pt>
                <c:pt idx="37">
                  <c:v>3.200000000000363</c:v>
                </c:pt>
                <c:pt idx="38">
                  <c:v>2.2400000000002547</c:v>
                </c:pt>
                <c:pt idx="39">
                  <c:v>1.2800000000001457</c:v>
                </c:pt>
                <c:pt idx="40">
                  <c:v>0.9600000000001091</c:v>
                </c:pt>
                <c:pt idx="41">
                  <c:v>0</c:v>
                </c:pt>
                <c:pt idx="42">
                  <c:v>1.1200000000001273</c:v>
                </c:pt>
                <c:pt idx="43">
                  <c:v>1.6000000000001815</c:v>
                </c:pt>
                <c:pt idx="44">
                  <c:v>2.2400000000002547</c:v>
                </c:pt>
                <c:pt idx="45">
                  <c:v>5.1200000000005828</c:v>
                </c:pt>
                <c:pt idx="46">
                  <c:v>5.4400000000006195</c:v>
                </c:pt>
                <c:pt idx="47">
                  <c:v>6.400000000000726</c:v>
                </c:pt>
                <c:pt idx="48">
                  <c:v>5.4400000000006195</c:v>
                </c:pt>
                <c:pt idx="49">
                  <c:v>4.4800000000005094</c:v>
                </c:pt>
                <c:pt idx="50">
                  <c:v>4.1600000000004727</c:v>
                </c:pt>
                <c:pt idx="51">
                  <c:v>12.000000000001364</c:v>
                </c:pt>
                <c:pt idx="52">
                  <c:v>5.4400000000006195</c:v>
                </c:pt>
                <c:pt idx="53">
                  <c:v>5.6640000000006454</c:v>
                </c:pt>
                <c:pt idx="54">
                  <c:v>5.1200000000005828</c:v>
                </c:pt>
                <c:pt idx="55">
                  <c:v>4.8000000000005461</c:v>
                </c:pt>
                <c:pt idx="56">
                  <c:v>1.6000000000001815</c:v>
                </c:pt>
                <c:pt idx="57">
                  <c:v>2.2400000000002547</c:v>
                </c:pt>
                <c:pt idx="58">
                  <c:v>2.4640000000002815</c:v>
                </c:pt>
                <c:pt idx="59">
                  <c:v>1.9200000000002182</c:v>
                </c:pt>
                <c:pt idx="60">
                  <c:v>2.2720000000002587</c:v>
                </c:pt>
                <c:pt idx="61">
                  <c:v>1.9200000000002182</c:v>
                </c:pt>
                <c:pt idx="62">
                  <c:v>6.0000000000006821</c:v>
                </c:pt>
                <c:pt idx="63">
                  <c:v>7.0000000000007958</c:v>
                </c:pt>
                <c:pt idx="64">
                  <c:v>9.0000000000010232</c:v>
                </c:pt>
                <c:pt idx="65">
                  <c:v>10.000000000001137</c:v>
                </c:pt>
                <c:pt idx="66">
                  <c:v>9.0000000000010232</c:v>
                </c:pt>
                <c:pt idx="67">
                  <c:v>7.0000000000007958</c:v>
                </c:pt>
                <c:pt idx="68">
                  <c:v>5.0000000000005684</c:v>
                </c:pt>
                <c:pt idx="69">
                  <c:v>4.0000000000004547</c:v>
                </c:pt>
              </c:numCache>
            </c:numRef>
          </c:val>
          <c:extLst>
            <c:ext xmlns:c16="http://schemas.microsoft.com/office/drawing/2014/chart" uri="{C3380CC4-5D6E-409C-BE32-E72D297353CC}">
              <c16:uniqueId val="{00000001-4EA5-4AD4-ABB1-D77B35CB68E5}"/>
            </c:ext>
          </c:extLst>
        </c:ser>
        <c:ser>
          <c:idx val="2"/>
          <c:order val="2"/>
          <c:tx>
            <c:strRef>
              <c:f>Sheet1!$A$4</c:f>
              <c:strCache>
                <c:ptCount val="1"/>
              </c:strCache>
            </c:strRef>
          </c:tx>
          <c:spPr>
            <a:solidFill>
              <a:schemeClr val="accent1"/>
            </a:solidFill>
            <a:ln w="25399">
              <a:noFill/>
            </a:ln>
          </c:spPr>
          <c:cat>
            <c:numRef>
              <c:f>Sheet1!$B$1:$BS$1</c:f>
              <c:numCache>
                <c:formatCode>General</c:formatCode>
                <c:ptCount val="70"/>
              </c:numCache>
            </c:numRef>
          </c:cat>
          <c:val>
            <c:numRef>
              <c:f>Sheet1!$B$4:$BS$4</c:f>
              <c:numCache>
                <c:formatCode>General</c:formatCode>
                <c:ptCount val="70"/>
                <c:pt idx="0">
                  <c:v>15.000000000001705</c:v>
                </c:pt>
                <c:pt idx="1">
                  <c:v>13.000000000001478</c:v>
                </c:pt>
                <c:pt idx="2">
                  <c:v>4.5000000000005116</c:v>
                </c:pt>
                <c:pt idx="3">
                  <c:v>2.0000000000002274</c:v>
                </c:pt>
                <c:pt idx="4">
                  <c:v>4.0000000000004547</c:v>
                </c:pt>
                <c:pt idx="5">
                  <c:v>1.0000000000001137</c:v>
                </c:pt>
                <c:pt idx="6">
                  <c:v>9.0000000000010232</c:v>
                </c:pt>
                <c:pt idx="7">
                  <c:v>7.0000000000007958</c:v>
                </c:pt>
                <c:pt idx="8">
                  <c:v>3.0000000000003411</c:v>
                </c:pt>
                <c:pt idx="9">
                  <c:v>2.0000000000002274</c:v>
                </c:pt>
                <c:pt idx="10">
                  <c:v>2.0000000000002274</c:v>
                </c:pt>
                <c:pt idx="11">
                  <c:v>2.0000000000002274</c:v>
                </c:pt>
                <c:pt idx="12">
                  <c:v>7.0000000000007958</c:v>
                </c:pt>
                <c:pt idx="13">
                  <c:v>19.00000000000216</c:v>
                </c:pt>
                <c:pt idx="14">
                  <c:v>19.00000000000216</c:v>
                </c:pt>
                <c:pt idx="15">
                  <c:v>20.000000000002274</c:v>
                </c:pt>
                <c:pt idx="16">
                  <c:v>20.000000000002274</c:v>
                </c:pt>
                <c:pt idx="17">
                  <c:v>20.000000000002274</c:v>
                </c:pt>
                <c:pt idx="18">
                  <c:v>15.000000000001707</c:v>
                </c:pt>
                <c:pt idx="19">
                  <c:v>15.000000000001704</c:v>
                </c:pt>
                <c:pt idx="20">
                  <c:v>15.000000000001707</c:v>
                </c:pt>
                <c:pt idx="21">
                  <c:v>1.0000000000001137</c:v>
                </c:pt>
                <c:pt idx="22">
                  <c:v>1.0000000000001137</c:v>
                </c:pt>
                <c:pt idx="23">
                  <c:v>1.0000000000001137</c:v>
                </c:pt>
                <c:pt idx="24">
                  <c:v>1.0000000000001137</c:v>
                </c:pt>
                <c:pt idx="25">
                  <c:v>1.0000000000001137</c:v>
                </c:pt>
                <c:pt idx="26">
                  <c:v>10.000000000001137</c:v>
                </c:pt>
                <c:pt idx="27">
                  <c:v>13.000000000001478</c:v>
                </c:pt>
                <c:pt idx="28">
                  <c:v>13.000000000001478</c:v>
                </c:pt>
                <c:pt idx="29">
                  <c:v>13.000000000001478</c:v>
                </c:pt>
                <c:pt idx="30">
                  <c:v>10.000000000001137</c:v>
                </c:pt>
                <c:pt idx="31">
                  <c:v>2.0000000000002274</c:v>
                </c:pt>
                <c:pt idx="32">
                  <c:v>3.0000000000003411</c:v>
                </c:pt>
                <c:pt idx="33">
                  <c:v>1.0000000000001137</c:v>
                </c:pt>
                <c:pt idx="34">
                  <c:v>3.0000000000003411</c:v>
                </c:pt>
                <c:pt idx="35">
                  <c:v>2.5000000000002842</c:v>
                </c:pt>
                <c:pt idx="36">
                  <c:v>3.0000000000003411</c:v>
                </c:pt>
                <c:pt idx="37">
                  <c:v>10.000000000001137</c:v>
                </c:pt>
                <c:pt idx="38">
                  <c:v>14.000000000001593</c:v>
                </c:pt>
                <c:pt idx="39">
                  <c:v>18.000000000002046</c:v>
                </c:pt>
                <c:pt idx="40">
                  <c:v>19.00000000000216</c:v>
                </c:pt>
                <c:pt idx="41">
                  <c:v>22.000000000002501</c:v>
                </c:pt>
                <c:pt idx="42">
                  <c:v>20.000000000002274</c:v>
                </c:pt>
                <c:pt idx="43">
                  <c:v>18.000000000002046</c:v>
                </c:pt>
                <c:pt idx="44">
                  <c:v>16.000000000001819</c:v>
                </c:pt>
                <c:pt idx="45">
                  <c:v>6.0000000000006821</c:v>
                </c:pt>
                <c:pt idx="46">
                  <c:v>5.0000000000005684</c:v>
                </c:pt>
                <c:pt idx="47">
                  <c:v>1.0000000000001137</c:v>
                </c:pt>
                <c:pt idx="48">
                  <c:v>5.0000000000005684</c:v>
                </c:pt>
                <c:pt idx="49">
                  <c:v>8.0000000000009095</c:v>
                </c:pt>
                <c:pt idx="50">
                  <c:v>7.0000000000007958</c:v>
                </c:pt>
                <c:pt idx="51">
                  <c:v>8.0000000000009095</c:v>
                </c:pt>
                <c:pt idx="52">
                  <c:v>2.0000000000002274</c:v>
                </c:pt>
                <c:pt idx="53">
                  <c:v>1.0000000000001137</c:v>
                </c:pt>
                <c:pt idx="54">
                  <c:v>2.5000000000002842</c:v>
                </c:pt>
                <c:pt idx="55">
                  <c:v>4.0000000000004547</c:v>
                </c:pt>
                <c:pt idx="56">
                  <c:v>16.000000000001819</c:v>
                </c:pt>
                <c:pt idx="57">
                  <c:v>13.00000000000148</c:v>
                </c:pt>
                <c:pt idx="58">
                  <c:v>11.000000000001251</c:v>
                </c:pt>
                <c:pt idx="59">
                  <c:v>14.000000000001593</c:v>
                </c:pt>
                <c:pt idx="60">
                  <c:v>13.000000000001478</c:v>
                </c:pt>
                <c:pt idx="61">
                  <c:v>14.000000000001593</c:v>
                </c:pt>
                <c:pt idx="62">
                  <c:v>11.000000000001251</c:v>
                </c:pt>
                <c:pt idx="63">
                  <c:v>12.000000000001364</c:v>
                </c:pt>
                <c:pt idx="64">
                  <c:v>12.000000000001364</c:v>
                </c:pt>
                <c:pt idx="65">
                  <c:v>11.000000000001251</c:v>
                </c:pt>
                <c:pt idx="66">
                  <c:v>10.000000000001137</c:v>
                </c:pt>
                <c:pt idx="67">
                  <c:v>10.000000000001137</c:v>
                </c:pt>
                <c:pt idx="68">
                  <c:v>8.0000000000009095</c:v>
                </c:pt>
                <c:pt idx="69">
                  <c:v>8.0000000000009113</c:v>
                </c:pt>
              </c:numCache>
            </c:numRef>
          </c:val>
          <c:extLst>
            <c:ext xmlns:c16="http://schemas.microsoft.com/office/drawing/2014/chart" uri="{C3380CC4-5D6E-409C-BE32-E72D297353CC}">
              <c16:uniqueId val="{00000002-4EA5-4AD4-ABB1-D77B35CB68E5}"/>
            </c:ext>
          </c:extLst>
        </c:ser>
        <c:dLbls>
          <c:showLegendKey val="0"/>
          <c:showVal val="0"/>
          <c:showCatName val="0"/>
          <c:showSerName val="0"/>
          <c:showPercent val="0"/>
          <c:showBubbleSize val="0"/>
        </c:dLbls>
        <c:axId val="99380760"/>
        <c:axId val="1"/>
      </c:areaChart>
      <c:catAx>
        <c:axId val="99380760"/>
        <c:scaling>
          <c:orientation val="minMax"/>
        </c:scaling>
        <c:delete val="0"/>
        <c:axPos val="b"/>
        <c:numFmt formatCode="General" sourceLinked="1"/>
        <c:majorTickMark val="none"/>
        <c:minorTickMark val="none"/>
        <c:tickLblPos val="none"/>
        <c:spPr>
          <a:ln w="12699">
            <a:solidFill>
              <a:schemeClr val="tx1"/>
            </a:solidFill>
            <a:prstDash val="solid"/>
          </a:ln>
        </c:spPr>
        <c:crossAx val="1"/>
        <c:crossesAt val="0"/>
        <c:auto val="1"/>
        <c:lblAlgn val="ctr"/>
        <c:lblOffset val="100"/>
        <c:tickLblSkip val="1"/>
        <c:tickMarkSkip val="1"/>
        <c:noMultiLvlLbl val="0"/>
      </c:catAx>
      <c:valAx>
        <c:axId val="1"/>
        <c:scaling>
          <c:orientation val="minMax"/>
          <c:max val="35"/>
          <c:min val="0"/>
        </c:scaling>
        <c:delete val="0"/>
        <c:axPos val="l"/>
        <c:numFmt formatCode="#,##0_);\(#,##0\)" sourceLinked="0"/>
        <c:majorTickMark val="out"/>
        <c:minorTickMark val="none"/>
        <c:tickLblPos val="nextTo"/>
        <c:spPr>
          <a:ln w="12699">
            <a:solidFill>
              <a:schemeClr val="tx1"/>
            </a:solidFill>
            <a:prstDash val="solid"/>
          </a:ln>
        </c:spPr>
        <c:txPr>
          <a:bodyPr rot="0" vert="horz"/>
          <a:lstStyle/>
          <a:p>
            <a:pPr>
              <a:defRPr sz="1000" b="0" i="0" u="none" strike="noStrike" baseline="0">
                <a:solidFill>
                  <a:schemeClr val="tx1"/>
                </a:solidFill>
                <a:latin typeface="Arial"/>
                <a:ea typeface="Arial"/>
                <a:cs typeface="Arial"/>
              </a:defRPr>
            </a:pPr>
            <a:endParaRPr lang="en-US"/>
          </a:p>
        </c:txPr>
        <c:crossAx val="99380760"/>
        <c:crosses val="autoZero"/>
        <c:crossBetween val="midCat"/>
        <c:majorUnit val="5"/>
      </c:valAx>
      <c:spPr>
        <a:noFill/>
        <a:ln w="25399">
          <a:noFill/>
        </a:ln>
      </c:spPr>
    </c:plotArea>
    <c:plotVisOnly val="1"/>
    <c:dispBlanksAs val="zero"/>
    <c:showDLblsOverMax val="0"/>
  </c:chart>
  <c:spPr>
    <a:noFill/>
    <a:ln>
      <a:noFill/>
    </a:ln>
  </c:spPr>
  <c:txPr>
    <a:bodyPr/>
    <a:lstStyle/>
    <a:p>
      <a:pPr>
        <a:defRPr sz="1200" b="1" i="0" u="none" strike="noStrike" baseline="0">
          <a:solidFill>
            <a:schemeClr val="tx1"/>
          </a:solidFill>
          <a:latin typeface="Calibri"/>
          <a:ea typeface="Calibri"/>
          <a:cs typeface="Calibri"/>
        </a:defRPr>
      </a:pPr>
      <a:endParaRPr lang="en-US"/>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sv-SE"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D59B4B55-E8C9-4E83-B796-C537FD9043C0}" type="datetimeFigureOut">
              <a:rPr lang="sv-SE" smtClean="0"/>
              <a:t>2018-09-10</a:t>
            </a:fld>
            <a:endParaRPr lang="sv-SE"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sv-SE"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sv-SE"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BAAEBFBB-75D8-458B-BC84-0A8A1514F4C4}" type="slidenum">
              <a:rPr lang="sv-SE" smtClean="0"/>
              <a:t>‹#›</a:t>
            </a:fld>
            <a:endParaRPr lang="sv-SE" dirty="0"/>
          </a:p>
        </p:txBody>
      </p:sp>
    </p:spTree>
    <p:extLst>
      <p:ext uri="{BB962C8B-B14F-4D97-AF65-F5344CB8AC3E}">
        <p14:creationId xmlns:p14="http://schemas.microsoft.com/office/powerpoint/2010/main" val="3539904227"/>
      </p:ext>
    </p:extLst>
  </p:cSld>
  <p:clrMap bg1="lt1" tx1="dk1" bg2="lt2" tx2="dk2" accent1="accent1" accent2="accent2" accent3="accent3" accent4="accent4" accent5="accent5" accent6="accent6" hlink="hlink" folHlink="folHlink"/>
  <p:notesStyle>
    <a:lvl1pPr marL="0" algn="l" defTabSz="914296" rtl="0" eaLnBrk="1" latinLnBrk="0" hangingPunct="1">
      <a:defRPr sz="1200" kern="1200">
        <a:solidFill>
          <a:schemeClr val="tx1"/>
        </a:solidFill>
        <a:latin typeface="+mn-lt"/>
        <a:ea typeface="+mn-ea"/>
        <a:cs typeface="+mn-cs"/>
      </a:defRPr>
    </a:lvl1pPr>
    <a:lvl2pPr marL="457148" algn="l" defTabSz="914296" rtl="0" eaLnBrk="1" latinLnBrk="0" hangingPunct="1">
      <a:defRPr sz="1200" kern="1200">
        <a:solidFill>
          <a:schemeClr val="tx1"/>
        </a:solidFill>
        <a:latin typeface="+mn-lt"/>
        <a:ea typeface="+mn-ea"/>
        <a:cs typeface="+mn-cs"/>
      </a:defRPr>
    </a:lvl2pPr>
    <a:lvl3pPr marL="914296" algn="l" defTabSz="914296" rtl="0" eaLnBrk="1" latinLnBrk="0" hangingPunct="1">
      <a:defRPr sz="1200" kern="1200">
        <a:solidFill>
          <a:schemeClr val="tx1"/>
        </a:solidFill>
        <a:latin typeface="+mn-lt"/>
        <a:ea typeface="+mn-ea"/>
        <a:cs typeface="+mn-cs"/>
      </a:defRPr>
    </a:lvl3pPr>
    <a:lvl4pPr marL="1371444" algn="l" defTabSz="914296" rtl="0" eaLnBrk="1" latinLnBrk="0" hangingPunct="1">
      <a:defRPr sz="1200" kern="1200">
        <a:solidFill>
          <a:schemeClr val="tx1"/>
        </a:solidFill>
        <a:latin typeface="+mn-lt"/>
        <a:ea typeface="+mn-ea"/>
        <a:cs typeface="+mn-cs"/>
      </a:defRPr>
    </a:lvl4pPr>
    <a:lvl5pPr marL="1828592" algn="l" defTabSz="914296" rtl="0" eaLnBrk="1" latinLnBrk="0" hangingPunct="1">
      <a:defRPr sz="1200" kern="1200">
        <a:solidFill>
          <a:schemeClr val="tx1"/>
        </a:solidFill>
        <a:latin typeface="+mn-lt"/>
        <a:ea typeface="+mn-ea"/>
        <a:cs typeface="+mn-cs"/>
      </a:defRPr>
    </a:lvl5pPr>
    <a:lvl6pPr marL="2285740" algn="l" defTabSz="914296" rtl="0" eaLnBrk="1" latinLnBrk="0" hangingPunct="1">
      <a:defRPr sz="1200" kern="1200">
        <a:solidFill>
          <a:schemeClr val="tx1"/>
        </a:solidFill>
        <a:latin typeface="+mn-lt"/>
        <a:ea typeface="+mn-ea"/>
        <a:cs typeface="+mn-cs"/>
      </a:defRPr>
    </a:lvl6pPr>
    <a:lvl7pPr marL="2742888" algn="l" defTabSz="914296" rtl="0" eaLnBrk="1" latinLnBrk="0" hangingPunct="1">
      <a:defRPr sz="1200" kern="1200">
        <a:solidFill>
          <a:schemeClr val="tx1"/>
        </a:solidFill>
        <a:latin typeface="+mn-lt"/>
        <a:ea typeface="+mn-ea"/>
        <a:cs typeface="+mn-cs"/>
      </a:defRPr>
    </a:lvl7pPr>
    <a:lvl8pPr marL="3200036" algn="l" defTabSz="914296" rtl="0" eaLnBrk="1" latinLnBrk="0" hangingPunct="1">
      <a:defRPr sz="1200" kern="1200">
        <a:solidFill>
          <a:schemeClr val="tx1"/>
        </a:solidFill>
        <a:latin typeface="+mn-lt"/>
        <a:ea typeface="+mn-ea"/>
        <a:cs typeface="+mn-cs"/>
      </a:defRPr>
    </a:lvl8pPr>
    <a:lvl9pPr marL="3657184" algn="l" defTabSz="914296"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b="1" i="1" dirty="0"/>
          </a:p>
        </p:txBody>
      </p:sp>
      <p:sp>
        <p:nvSpPr>
          <p:cNvPr id="4" name="Slide Number Placeholder 3"/>
          <p:cNvSpPr>
            <a:spLocks noGrp="1"/>
          </p:cNvSpPr>
          <p:nvPr>
            <p:ph type="sldNum" sz="quarter" idx="10"/>
          </p:nvPr>
        </p:nvSpPr>
        <p:spPr/>
        <p:txBody>
          <a:bodyPr/>
          <a:lstStyle/>
          <a:p>
            <a:fld id="{BAAEBFBB-75D8-458B-BC84-0A8A1514F4C4}" type="slidenum">
              <a:rPr lang="sv-SE" smtClean="0"/>
              <a:t>1</a:t>
            </a:fld>
            <a:endParaRPr lang="sv-SE" dirty="0"/>
          </a:p>
        </p:txBody>
      </p:sp>
    </p:spTree>
    <p:extLst>
      <p:ext uri="{BB962C8B-B14F-4D97-AF65-F5344CB8AC3E}">
        <p14:creationId xmlns:p14="http://schemas.microsoft.com/office/powerpoint/2010/main" val="336306879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baseline="0" dirty="0"/>
              <a:t>In addition to increasing safety, this sums up well how Mining Automation systems bring value to our customers:</a:t>
            </a:r>
          </a:p>
          <a:p>
            <a:pPr marL="179645" indent="-179645">
              <a:buFont typeface="Arial" panose="020B0604020202020204" pitchFamily="34" charset="0"/>
              <a:buChar char="•"/>
            </a:pPr>
            <a:r>
              <a:rPr lang="en-AU" baseline="0" dirty="0"/>
              <a:t>Today: operations today typically look like this with highly variable output throughout a production day and with resources not being utilised effectively</a:t>
            </a:r>
          </a:p>
          <a:p>
            <a:pPr marL="179645" indent="-179645">
              <a:buFont typeface="Arial" panose="020B0604020202020204" pitchFamily="34" charset="0"/>
              <a:buChar char="•"/>
            </a:pPr>
            <a:r>
              <a:rPr lang="en-AU" baseline="0" dirty="0"/>
              <a:t>Information Management: with OptiMine, information management system, output is increased through more effective use of resources</a:t>
            </a:r>
          </a:p>
          <a:p>
            <a:pPr marL="179645" indent="-179645">
              <a:buFont typeface="Arial" panose="020B0604020202020204" pitchFamily="34" charset="0"/>
              <a:buChar char="•"/>
            </a:pPr>
            <a:r>
              <a:rPr lang="en-AU" baseline="0" dirty="0"/>
              <a:t>Automation: with AutoMine, automation systems bring a more continuous and increased output with production over shift changes.</a:t>
            </a:r>
          </a:p>
          <a:p>
            <a:endParaRPr lang="en-AU" baseline="0" dirty="0"/>
          </a:p>
          <a:p>
            <a:endParaRPr lang="en-AU" baseline="0" dirty="0"/>
          </a:p>
        </p:txBody>
      </p:sp>
      <p:sp>
        <p:nvSpPr>
          <p:cNvPr id="4" name="Slide Number Placeholder 3"/>
          <p:cNvSpPr>
            <a:spLocks noGrp="1"/>
          </p:cNvSpPr>
          <p:nvPr>
            <p:ph type="sldNum" sz="quarter" idx="10"/>
          </p:nvPr>
        </p:nvSpPr>
        <p:spPr/>
        <p:txBody>
          <a:bodyPr/>
          <a:lstStyle/>
          <a:p>
            <a:fld id="{BAAEBFBB-75D8-458B-BC84-0A8A1514F4C4}" type="slidenum">
              <a:rPr lang="sv-SE" smtClean="0"/>
              <a:t>10</a:t>
            </a:fld>
            <a:endParaRPr lang="sv-SE" dirty="0"/>
          </a:p>
        </p:txBody>
      </p:sp>
    </p:spTree>
    <p:extLst>
      <p:ext uri="{BB962C8B-B14F-4D97-AF65-F5344CB8AC3E}">
        <p14:creationId xmlns:p14="http://schemas.microsoft.com/office/powerpoint/2010/main" val="379056248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200" baseline="0" dirty="0">
              <a:solidFill>
                <a:srgbClr val="FF0000"/>
              </a:solidFill>
            </a:endParaRPr>
          </a:p>
        </p:txBody>
      </p:sp>
      <p:sp>
        <p:nvSpPr>
          <p:cNvPr id="4" name="Slide Number Placeholder 3"/>
          <p:cNvSpPr>
            <a:spLocks noGrp="1"/>
          </p:cNvSpPr>
          <p:nvPr>
            <p:ph type="sldNum" sz="quarter" idx="10"/>
          </p:nvPr>
        </p:nvSpPr>
        <p:spPr/>
        <p:txBody>
          <a:bodyPr/>
          <a:lstStyle/>
          <a:p>
            <a:fld id="{BAAEBFBB-75D8-458B-BC84-0A8A1514F4C4}" type="slidenum">
              <a:rPr lang="sv-SE" smtClean="0">
                <a:solidFill>
                  <a:prstClr val="black"/>
                </a:solidFill>
              </a:rPr>
              <a:pPr/>
              <a:t>11</a:t>
            </a:fld>
            <a:endParaRPr lang="sv-SE" dirty="0">
              <a:solidFill>
                <a:prstClr val="black"/>
              </a:solidFill>
            </a:endParaRPr>
          </a:p>
        </p:txBody>
      </p:sp>
    </p:spTree>
    <p:extLst>
      <p:ext uri="{BB962C8B-B14F-4D97-AF65-F5344CB8AC3E}">
        <p14:creationId xmlns:p14="http://schemas.microsoft.com/office/powerpoint/2010/main" val="31162560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baseline="0" dirty="0"/>
              <a:t>In addition to increasing safety, this sums up well how Mining Automation systems bring value to our customers:</a:t>
            </a:r>
          </a:p>
          <a:p>
            <a:pPr marL="179645" indent="-179645">
              <a:buFont typeface="Arial" panose="020B0604020202020204" pitchFamily="34" charset="0"/>
              <a:buChar char="•"/>
            </a:pPr>
            <a:r>
              <a:rPr lang="en-AU" baseline="0" dirty="0"/>
              <a:t>Today: operations today typically look like this with highly variable output throughout a production day and with resources not being utilised effectively</a:t>
            </a:r>
          </a:p>
          <a:p>
            <a:pPr marL="179645" indent="-179645">
              <a:buFont typeface="Arial" panose="020B0604020202020204" pitchFamily="34" charset="0"/>
              <a:buChar char="•"/>
            </a:pPr>
            <a:r>
              <a:rPr lang="en-AU" baseline="0" dirty="0"/>
              <a:t>Information Management: with OptiMine, information management system, output is increased through more effective use of resources</a:t>
            </a:r>
          </a:p>
          <a:p>
            <a:pPr marL="179645" indent="-179645">
              <a:buFont typeface="Arial" panose="020B0604020202020204" pitchFamily="34" charset="0"/>
              <a:buChar char="•"/>
            </a:pPr>
            <a:r>
              <a:rPr lang="en-AU" baseline="0" dirty="0"/>
              <a:t>Automation: with AutoMine, automation systems bring a more continuous and increased output with production over shift changes.</a:t>
            </a:r>
          </a:p>
          <a:p>
            <a:endParaRPr lang="en-AU" baseline="0" dirty="0"/>
          </a:p>
          <a:p>
            <a:endParaRPr lang="en-AU" baseline="0" dirty="0"/>
          </a:p>
        </p:txBody>
      </p:sp>
      <p:sp>
        <p:nvSpPr>
          <p:cNvPr id="4" name="Slide Number Placeholder 3"/>
          <p:cNvSpPr>
            <a:spLocks noGrp="1"/>
          </p:cNvSpPr>
          <p:nvPr>
            <p:ph type="sldNum" sz="quarter" idx="10"/>
          </p:nvPr>
        </p:nvSpPr>
        <p:spPr/>
        <p:txBody>
          <a:bodyPr/>
          <a:lstStyle/>
          <a:p>
            <a:fld id="{BAAEBFBB-75D8-458B-BC84-0A8A1514F4C4}" type="slidenum">
              <a:rPr lang="sv-SE" smtClean="0"/>
              <a:t>12</a:t>
            </a:fld>
            <a:endParaRPr lang="sv-SE" dirty="0"/>
          </a:p>
        </p:txBody>
      </p:sp>
    </p:spTree>
    <p:extLst>
      <p:ext uri="{BB962C8B-B14F-4D97-AF65-F5344CB8AC3E}">
        <p14:creationId xmlns:p14="http://schemas.microsoft.com/office/powerpoint/2010/main" val="341286362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baseline="0" dirty="0"/>
              <a:t>In addition to increasing safety, this sums up well how Mining Automation systems bring value to our customers:</a:t>
            </a:r>
          </a:p>
          <a:p>
            <a:pPr marL="179645" indent="-179645">
              <a:buFont typeface="Arial" panose="020B0604020202020204" pitchFamily="34" charset="0"/>
              <a:buChar char="•"/>
            </a:pPr>
            <a:r>
              <a:rPr lang="en-AU" baseline="0" dirty="0"/>
              <a:t>Today: operations today typically look like this with highly variable output throughout a production day and with resources not being utilised effectively</a:t>
            </a:r>
          </a:p>
          <a:p>
            <a:pPr marL="179645" indent="-179645">
              <a:buFont typeface="Arial" panose="020B0604020202020204" pitchFamily="34" charset="0"/>
              <a:buChar char="•"/>
            </a:pPr>
            <a:r>
              <a:rPr lang="en-AU" baseline="0" dirty="0"/>
              <a:t>Information Management: with OptiMine, information management system, output is increased through more effective use of resources</a:t>
            </a:r>
          </a:p>
          <a:p>
            <a:pPr marL="179645" indent="-179645">
              <a:buFont typeface="Arial" panose="020B0604020202020204" pitchFamily="34" charset="0"/>
              <a:buChar char="•"/>
            </a:pPr>
            <a:r>
              <a:rPr lang="en-AU" baseline="0" dirty="0"/>
              <a:t>Automation: with AutoMine, automation systems bring a more continuous and increased output with production over shift changes.</a:t>
            </a:r>
          </a:p>
          <a:p>
            <a:endParaRPr lang="en-AU" baseline="0" dirty="0"/>
          </a:p>
          <a:p>
            <a:endParaRPr lang="en-AU" baseline="0" dirty="0"/>
          </a:p>
        </p:txBody>
      </p:sp>
      <p:sp>
        <p:nvSpPr>
          <p:cNvPr id="4" name="Slide Number Placeholder 3"/>
          <p:cNvSpPr>
            <a:spLocks noGrp="1"/>
          </p:cNvSpPr>
          <p:nvPr>
            <p:ph type="sldNum" sz="quarter" idx="10"/>
          </p:nvPr>
        </p:nvSpPr>
        <p:spPr/>
        <p:txBody>
          <a:bodyPr/>
          <a:lstStyle/>
          <a:p>
            <a:fld id="{BAAEBFBB-75D8-458B-BC84-0A8A1514F4C4}" type="slidenum">
              <a:rPr lang="sv-SE" smtClean="0"/>
              <a:t>13</a:t>
            </a:fld>
            <a:endParaRPr lang="sv-SE" dirty="0"/>
          </a:p>
        </p:txBody>
      </p:sp>
    </p:spTree>
    <p:extLst>
      <p:ext uri="{BB962C8B-B14F-4D97-AF65-F5344CB8AC3E}">
        <p14:creationId xmlns:p14="http://schemas.microsoft.com/office/powerpoint/2010/main" val="309022691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baseline="0" dirty="0"/>
              <a:t>In addition to increasing safety, this sums up well how Mining Automation systems bring value to our customers:</a:t>
            </a:r>
          </a:p>
          <a:p>
            <a:pPr marL="179645" indent="-179645">
              <a:buFont typeface="Arial" panose="020B0604020202020204" pitchFamily="34" charset="0"/>
              <a:buChar char="•"/>
            </a:pPr>
            <a:r>
              <a:rPr lang="en-AU" baseline="0" dirty="0"/>
              <a:t>Today: operations today typically look like this with highly variable output throughout a production day and with resources not being utilised effectively</a:t>
            </a:r>
          </a:p>
          <a:p>
            <a:pPr marL="179645" indent="-179645">
              <a:buFont typeface="Arial" panose="020B0604020202020204" pitchFamily="34" charset="0"/>
              <a:buChar char="•"/>
            </a:pPr>
            <a:r>
              <a:rPr lang="en-AU" baseline="0" dirty="0"/>
              <a:t>Information Management: with OptiMine, information management system, output is increased through more effective use of resources</a:t>
            </a:r>
          </a:p>
          <a:p>
            <a:pPr marL="179645" indent="-179645">
              <a:buFont typeface="Arial" panose="020B0604020202020204" pitchFamily="34" charset="0"/>
              <a:buChar char="•"/>
            </a:pPr>
            <a:r>
              <a:rPr lang="en-AU" baseline="0" dirty="0"/>
              <a:t>Automation: with AutoMine, automation systems bring a more continuous and increased output with production over shift changes.</a:t>
            </a:r>
          </a:p>
          <a:p>
            <a:endParaRPr lang="en-AU" baseline="0" dirty="0"/>
          </a:p>
          <a:p>
            <a:endParaRPr lang="en-AU" baseline="0" dirty="0"/>
          </a:p>
        </p:txBody>
      </p:sp>
      <p:sp>
        <p:nvSpPr>
          <p:cNvPr id="4" name="Slide Number Placeholder 3"/>
          <p:cNvSpPr>
            <a:spLocks noGrp="1"/>
          </p:cNvSpPr>
          <p:nvPr>
            <p:ph type="sldNum" sz="quarter" idx="10"/>
          </p:nvPr>
        </p:nvSpPr>
        <p:spPr/>
        <p:txBody>
          <a:bodyPr/>
          <a:lstStyle/>
          <a:p>
            <a:fld id="{BAAEBFBB-75D8-458B-BC84-0A8A1514F4C4}" type="slidenum">
              <a:rPr lang="sv-SE" smtClean="0"/>
              <a:t>14</a:t>
            </a:fld>
            <a:endParaRPr lang="sv-SE" dirty="0"/>
          </a:p>
        </p:txBody>
      </p:sp>
    </p:spTree>
    <p:extLst>
      <p:ext uri="{BB962C8B-B14F-4D97-AF65-F5344CB8AC3E}">
        <p14:creationId xmlns:p14="http://schemas.microsoft.com/office/powerpoint/2010/main" val="382457093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baseline="0" dirty="0"/>
              <a:t>In addition to increasing safety, this sums up well how Mining Automation systems bring value to our customers:</a:t>
            </a:r>
          </a:p>
          <a:p>
            <a:pPr marL="179645" indent="-179645">
              <a:buFont typeface="Arial" panose="020B0604020202020204" pitchFamily="34" charset="0"/>
              <a:buChar char="•"/>
            </a:pPr>
            <a:r>
              <a:rPr lang="en-AU" baseline="0" dirty="0"/>
              <a:t>Today: operations today typically look like this with highly variable output throughout a production day and with resources not being utilised effectively</a:t>
            </a:r>
          </a:p>
          <a:p>
            <a:pPr marL="179645" indent="-179645">
              <a:buFont typeface="Arial" panose="020B0604020202020204" pitchFamily="34" charset="0"/>
              <a:buChar char="•"/>
            </a:pPr>
            <a:r>
              <a:rPr lang="en-AU" baseline="0" dirty="0"/>
              <a:t>Information Management: with OptiMine, information management system, output is increased through more effective use of resources</a:t>
            </a:r>
          </a:p>
          <a:p>
            <a:pPr marL="179645" indent="-179645">
              <a:buFont typeface="Arial" panose="020B0604020202020204" pitchFamily="34" charset="0"/>
              <a:buChar char="•"/>
            </a:pPr>
            <a:r>
              <a:rPr lang="en-AU" baseline="0" dirty="0"/>
              <a:t>Automation: with AutoMine, automation systems bring a more continuous and increased output with production over shift changes.</a:t>
            </a:r>
          </a:p>
          <a:p>
            <a:endParaRPr lang="en-AU" baseline="0" dirty="0"/>
          </a:p>
          <a:p>
            <a:endParaRPr lang="en-AU" baseline="0" dirty="0"/>
          </a:p>
        </p:txBody>
      </p:sp>
      <p:sp>
        <p:nvSpPr>
          <p:cNvPr id="4" name="Slide Number Placeholder 3"/>
          <p:cNvSpPr>
            <a:spLocks noGrp="1"/>
          </p:cNvSpPr>
          <p:nvPr>
            <p:ph type="sldNum" sz="quarter" idx="10"/>
          </p:nvPr>
        </p:nvSpPr>
        <p:spPr/>
        <p:txBody>
          <a:bodyPr/>
          <a:lstStyle/>
          <a:p>
            <a:fld id="{BAAEBFBB-75D8-458B-BC84-0A8A1514F4C4}" type="slidenum">
              <a:rPr lang="sv-SE" smtClean="0"/>
              <a:t>15</a:t>
            </a:fld>
            <a:endParaRPr lang="sv-SE" dirty="0"/>
          </a:p>
        </p:txBody>
      </p:sp>
    </p:spTree>
    <p:extLst>
      <p:ext uri="{BB962C8B-B14F-4D97-AF65-F5344CB8AC3E}">
        <p14:creationId xmlns:p14="http://schemas.microsoft.com/office/powerpoint/2010/main" val="16743138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baseline="0" dirty="0"/>
              <a:t>In addition to increasing safety, this sums up well how Mining Automation systems bring value to our customers:</a:t>
            </a:r>
          </a:p>
          <a:p>
            <a:pPr marL="179645" indent="-179645">
              <a:buFont typeface="Arial" panose="020B0604020202020204" pitchFamily="34" charset="0"/>
              <a:buChar char="•"/>
            </a:pPr>
            <a:r>
              <a:rPr lang="en-AU" baseline="0" dirty="0"/>
              <a:t>Today: operations today typically look like this with highly variable output throughout a production day and with resources not being utilised effectively</a:t>
            </a:r>
          </a:p>
          <a:p>
            <a:pPr marL="179645" indent="-179645">
              <a:buFont typeface="Arial" panose="020B0604020202020204" pitchFamily="34" charset="0"/>
              <a:buChar char="•"/>
            </a:pPr>
            <a:r>
              <a:rPr lang="en-AU" baseline="0" dirty="0"/>
              <a:t>Information Management: with OptiMine, information management system, output is increased through more effective use of resources</a:t>
            </a:r>
          </a:p>
          <a:p>
            <a:pPr marL="179645" indent="-179645">
              <a:buFont typeface="Arial" panose="020B0604020202020204" pitchFamily="34" charset="0"/>
              <a:buChar char="•"/>
            </a:pPr>
            <a:r>
              <a:rPr lang="en-AU" baseline="0" dirty="0"/>
              <a:t>Automation: with AutoMine, automation systems bring a more continuous and increased output with production over shift changes.</a:t>
            </a:r>
          </a:p>
          <a:p>
            <a:endParaRPr lang="en-AU" baseline="0" dirty="0"/>
          </a:p>
          <a:p>
            <a:endParaRPr lang="en-AU" baseline="0" dirty="0"/>
          </a:p>
        </p:txBody>
      </p:sp>
      <p:sp>
        <p:nvSpPr>
          <p:cNvPr id="4" name="Slide Number Placeholder 3"/>
          <p:cNvSpPr>
            <a:spLocks noGrp="1"/>
          </p:cNvSpPr>
          <p:nvPr>
            <p:ph type="sldNum" sz="quarter" idx="10"/>
          </p:nvPr>
        </p:nvSpPr>
        <p:spPr/>
        <p:txBody>
          <a:bodyPr/>
          <a:lstStyle/>
          <a:p>
            <a:fld id="{BAAEBFBB-75D8-458B-BC84-0A8A1514F4C4}" type="slidenum">
              <a:rPr lang="sv-SE" smtClean="0"/>
              <a:t>16</a:t>
            </a:fld>
            <a:endParaRPr lang="sv-SE" dirty="0"/>
          </a:p>
        </p:txBody>
      </p:sp>
    </p:spTree>
    <p:extLst>
      <p:ext uri="{BB962C8B-B14F-4D97-AF65-F5344CB8AC3E}">
        <p14:creationId xmlns:p14="http://schemas.microsoft.com/office/powerpoint/2010/main" val="10603835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baseline="0" dirty="0"/>
              <a:t>In addition to increasing safety, this sums up well how Mining Automation systems bring value to our customers:</a:t>
            </a:r>
          </a:p>
          <a:p>
            <a:pPr marL="179645" indent="-179645">
              <a:buFont typeface="Arial" panose="020B0604020202020204" pitchFamily="34" charset="0"/>
              <a:buChar char="•"/>
            </a:pPr>
            <a:r>
              <a:rPr lang="en-AU" baseline="0" dirty="0"/>
              <a:t>Today: operations today typically look like this with highly variable output throughout a production day and with resources not being utilised effectively</a:t>
            </a:r>
          </a:p>
          <a:p>
            <a:pPr marL="179645" indent="-179645">
              <a:buFont typeface="Arial" panose="020B0604020202020204" pitchFamily="34" charset="0"/>
              <a:buChar char="•"/>
            </a:pPr>
            <a:r>
              <a:rPr lang="en-AU" baseline="0" dirty="0"/>
              <a:t>Information Management: with OptiMine, information management system, output is increased through more effective use of resources</a:t>
            </a:r>
          </a:p>
          <a:p>
            <a:pPr marL="179645" indent="-179645">
              <a:buFont typeface="Arial" panose="020B0604020202020204" pitchFamily="34" charset="0"/>
              <a:buChar char="•"/>
            </a:pPr>
            <a:r>
              <a:rPr lang="en-AU" baseline="0" dirty="0"/>
              <a:t>Automation: with AutoMine, automation systems bring a more continuous and increased output with production over shift changes.</a:t>
            </a:r>
          </a:p>
          <a:p>
            <a:endParaRPr lang="en-AU" baseline="0" dirty="0"/>
          </a:p>
          <a:p>
            <a:endParaRPr lang="en-AU" baseline="0" dirty="0"/>
          </a:p>
        </p:txBody>
      </p:sp>
      <p:sp>
        <p:nvSpPr>
          <p:cNvPr id="4" name="Slide Number Placeholder 3"/>
          <p:cNvSpPr>
            <a:spLocks noGrp="1"/>
          </p:cNvSpPr>
          <p:nvPr>
            <p:ph type="sldNum" sz="quarter" idx="10"/>
          </p:nvPr>
        </p:nvSpPr>
        <p:spPr/>
        <p:txBody>
          <a:bodyPr/>
          <a:lstStyle/>
          <a:p>
            <a:fld id="{BAAEBFBB-75D8-458B-BC84-0A8A1514F4C4}" type="slidenum">
              <a:rPr lang="sv-SE" smtClean="0"/>
              <a:t>17</a:t>
            </a:fld>
            <a:endParaRPr lang="sv-SE" dirty="0"/>
          </a:p>
        </p:txBody>
      </p:sp>
    </p:spTree>
    <p:extLst>
      <p:ext uri="{BB962C8B-B14F-4D97-AF65-F5344CB8AC3E}">
        <p14:creationId xmlns:p14="http://schemas.microsoft.com/office/powerpoint/2010/main" val="146467919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baseline="0" dirty="0"/>
              <a:t>In addition to increasing safety, this sums up well how Mining Automation systems bring value to our customers:</a:t>
            </a:r>
          </a:p>
          <a:p>
            <a:pPr marL="179645" indent="-179645">
              <a:buFont typeface="Arial" panose="020B0604020202020204" pitchFamily="34" charset="0"/>
              <a:buChar char="•"/>
            </a:pPr>
            <a:r>
              <a:rPr lang="en-AU" baseline="0" dirty="0"/>
              <a:t>Today: operations today typically look like this with highly variable output throughout a production day and with resources not being utilised effectively</a:t>
            </a:r>
          </a:p>
          <a:p>
            <a:pPr marL="179645" indent="-179645">
              <a:buFont typeface="Arial" panose="020B0604020202020204" pitchFamily="34" charset="0"/>
              <a:buChar char="•"/>
            </a:pPr>
            <a:r>
              <a:rPr lang="en-AU" baseline="0" dirty="0"/>
              <a:t>Information Management: with OptiMine, information management system, output is increased through more effective use of resources</a:t>
            </a:r>
          </a:p>
          <a:p>
            <a:pPr marL="179645" indent="-179645">
              <a:buFont typeface="Arial" panose="020B0604020202020204" pitchFamily="34" charset="0"/>
              <a:buChar char="•"/>
            </a:pPr>
            <a:r>
              <a:rPr lang="en-AU" baseline="0" dirty="0"/>
              <a:t>Automation: with AutoMine, automation systems bring a more continuous and increased output with production over shift changes.</a:t>
            </a:r>
          </a:p>
          <a:p>
            <a:endParaRPr lang="en-AU" baseline="0" dirty="0"/>
          </a:p>
          <a:p>
            <a:endParaRPr lang="en-AU" baseline="0" dirty="0"/>
          </a:p>
        </p:txBody>
      </p:sp>
      <p:sp>
        <p:nvSpPr>
          <p:cNvPr id="4" name="Slide Number Placeholder 3"/>
          <p:cNvSpPr>
            <a:spLocks noGrp="1"/>
          </p:cNvSpPr>
          <p:nvPr>
            <p:ph type="sldNum" sz="quarter" idx="10"/>
          </p:nvPr>
        </p:nvSpPr>
        <p:spPr/>
        <p:txBody>
          <a:bodyPr/>
          <a:lstStyle/>
          <a:p>
            <a:fld id="{BAAEBFBB-75D8-458B-BC84-0A8A1514F4C4}" type="slidenum">
              <a:rPr lang="sv-SE" smtClean="0"/>
              <a:t>18</a:t>
            </a:fld>
            <a:endParaRPr lang="sv-SE" dirty="0"/>
          </a:p>
        </p:txBody>
      </p:sp>
    </p:spTree>
    <p:extLst>
      <p:ext uri="{BB962C8B-B14F-4D97-AF65-F5344CB8AC3E}">
        <p14:creationId xmlns:p14="http://schemas.microsoft.com/office/powerpoint/2010/main" val="22579294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BAAEBFBB-75D8-458B-BC84-0A8A1514F4C4}" type="slidenum">
              <a:rPr lang="sv-SE" smtClean="0"/>
              <a:pPr/>
              <a:t>20</a:t>
            </a:fld>
            <a:endParaRPr lang="sv-SE" dirty="0"/>
          </a:p>
        </p:txBody>
      </p:sp>
    </p:spTree>
    <p:extLst>
      <p:ext uri="{BB962C8B-B14F-4D97-AF65-F5344CB8AC3E}">
        <p14:creationId xmlns:p14="http://schemas.microsoft.com/office/powerpoint/2010/main" val="22085656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49294">
              <a:defRPr/>
            </a:pPr>
            <a:r>
              <a:rPr lang="en-US"/>
              <a:t>Sandvik’s objective is zero harm to our people, the environment we work in, our customers and our suppliers. </a:t>
            </a:r>
            <a:br>
              <a:rPr lang="en-US"/>
            </a:br>
            <a:br>
              <a:rPr lang="en-US"/>
            </a:br>
            <a:r>
              <a:rPr lang="en-US"/>
              <a:t>(Go through safety instructions)</a:t>
            </a:r>
          </a:p>
          <a:p>
            <a:endParaRPr lang="en-US"/>
          </a:p>
        </p:txBody>
      </p:sp>
      <p:sp>
        <p:nvSpPr>
          <p:cNvPr id="4" name="Slide Number Placeholder 3"/>
          <p:cNvSpPr>
            <a:spLocks noGrp="1"/>
          </p:cNvSpPr>
          <p:nvPr>
            <p:ph type="sldNum" sz="quarter" idx="10"/>
          </p:nvPr>
        </p:nvSpPr>
        <p:spPr/>
        <p:txBody>
          <a:bodyPr/>
          <a:lstStyle/>
          <a:p>
            <a:fld id="{BAAEBFBB-75D8-458B-BC84-0A8A1514F4C4}" type="slidenum">
              <a:rPr lang="sv-SE" smtClean="0"/>
              <a:t>2</a:t>
            </a:fld>
            <a:endParaRPr lang="sv-SE"/>
          </a:p>
        </p:txBody>
      </p:sp>
    </p:spTree>
    <p:extLst>
      <p:ext uri="{BB962C8B-B14F-4D97-AF65-F5344CB8AC3E}">
        <p14:creationId xmlns:p14="http://schemas.microsoft.com/office/powerpoint/2010/main" val="133258986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BAAEBFBB-75D8-458B-BC84-0A8A1514F4C4}" type="slidenum">
              <a:rPr lang="sv-SE" smtClean="0">
                <a:solidFill>
                  <a:prstClr val="black"/>
                </a:solidFill>
              </a:rPr>
              <a:pPr/>
              <a:t>21</a:t>
            </a:fld>
            <a:endParaRPr lang="sv-SE" dirty="0">
              <a:solidFill>
                <a:prstClr val="black"/>
              </a:solidFill>
            </a:endParaRPr>
          </a:p>
        </p:txBody>
      </p:sp>
    </p:spTree>
    <p:extLst>
      <p:ext uri="{BB962C8B-B14F-4D97-AF65-F5344CB8AC3E}">
        <p14:creationId xmlns:p14="http://schemas.microsoft.com/office/powerpoint/2010/main" val="201996451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AU" baseline="0" dirty="0"/>
          </a:p>
        </p:txBody>
      </p:sp>
      <p:sp>
        <p:nvSpPr>
          <p:cNvPr id="4" name="Slide Number Placeholder 3"/>
          <p:cNvSpPr>
            <a:spLocks noGrp="1"/>
          </p:cNvSpPr>
          <p:nvPr>
            <p:ph type="sldNum" sz="quarter" idx="10"/>
          </p:nvPr>
        </p:nvSpPr>
        <p:spPr/>
        <p:txBody>
          <a:bodyPr/>
          <a:lstStyle/>
          <a:p>
            <a:fld id="{BAAEBFBB-75D8-458B-BC84-0A8A1514F4C4}" type="slidenum">
              <a:rPr lang="sv-SE" smtClean="0"/>
              <a:t>22</a:t>
            </a:fld>
            <a:endParaRPr lang="sv-SE" dirty="0"/>
          </a:p>
        </p:txBody>
      </p:sp>
    </p:spTree>
    <p:extLst>
      <p:ext uri="{BB962C8B-B14F-4D97-AF65-F5344CB8AC3E}">
        <p14:creationId xmlns:p14="http://schemas.microsoft.com/office/powerpoint/2010/main" val="38405995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BAAEBFBB-75D8-458B-BC84-0A8A1514F4C4}" type="slidenum">
              <a:rPr lang="sv-SE" smtClean="0"/>
              <a:t>3</a:t>
            </a:fld>
            <a:endParaRPr lang="sv-SE" dirty="0"/>
          </a:p>
        </p:txBody>
      </p:sp>
    </p:spTree>
    <p:extLst>
      <p:ext uri="{BB962C8B-B14F-4D97-AF65-F5344CB8AC3E}">
        <p14:creationId xmlns:p14="http://schemas.microsoft.com/office/powerpoint/2010/main" val="287929339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
        <p:nvSpPr>
          <p:cNvPr id="4" name="Slide Number Placeholder 3"/>
          <p:cNvSpPr>
            <a:spLocks noGrp="1"/>
          </p:cNvSpPr>
          <p:nvPr>
            <p:ph type="sldNum" sz="quarter" idx="10"/>
          </p:nvPr>
        </p:nvSpPr>
        <p:spPr/>
        <p:txBody>
          <a:bodyPr/>
          <a:lstStyle/>
          <a:p>
            <a:fld id="{BAAEBFBB-75D8-458B-BC84-0A8A1514F4C4}" type="slidenum">
              <a:rPr lang="sv-SE" smtClean="0"/>
              <a:t>4</a:t>
            </a:fld>
            <a:endParaRPr lang="sv-SE" dirty="0"/>
          </a:p>
        </p:txBody>
      </p:sp>
    </p:spTree>
    <p:extLst>
      <p:ext uri="{BB962C8B-B14F-4D97-AF65-F5344CB8AC3E}">
        <p14:creationId xmlns:p14="http://schemas.microsoft.com/office/powerpoint/2010/main" val="49960774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9F263A5-035B-49D6-9991-65D4FC5F5D34}" type="slidenum">
              <a:rPr lang="sv-SE" smtClean="0"/>
              <a:pPr/>
              <a:t>5</a:t>
            </a:fld>
            <a:endParaRPr lang="sv-SE"/>
          </a:p>
        </p:txBody>
      </p:sp>
    </p:spTree>
    <p:extLst>
      <p:ext uri="{BB962C8B-B14F-4D97-AF65-F5344CB8AC3E}">
        <p14:creationId xmlns:p14="http://schemas.microsoft.com/office/powerpoint/2010/main" val="267334959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baseline="0" dirty="0"/>
          </a:p>
          <a:p>
            <a:endParaRPr lang="en-AU" baseline="0" dirty="0"/>
          </a:p>
        </p:txBody>
      </p:sp>
      <p:sp>
        <p:nvSpPr>
          <p:cNvPr id="4" name="Slide Number Placeholder 3"/>
          <p:cNvSpPr>
            <a:spLocks noGrp="1"/>
          </p:cNvSpPr>
          <p:nvPr>
            <p:ph type="sldNum" sz="quarter" idx="10"/>
          </p:nvPr>
        </p:nvSpPr>
        <p:spPr/>
        <p:txBody>
          <a:bodyPr/>
          <a:lstStyle/>
          <a:p>
            <a:fld id="{BAAEBFBB-75D8-458B-BC84-0A8A1514F4C4}" type="slidenum">
              <a:rPr lang="sv-SE" smtClean="0"/>
              <a:t>6</a:t>
            </a:fld>
            <a:endParaRPr lang="sv-SE" dirty="0"/>
          </a:p>
        </p:txBody>
      </p:sp>
    </p:spTree>
    <p:extLst>
      <p:ext uri="{BB962C8B-B14F-4D97-AF65-F5344CB8AC3E}">
        <p14:creationId xmlns:p14="http://schemas.microsoft.com/office/powerpoint/2010/main" val="30127380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8108"/>
            <a:r>
              <a:rPr lang="en-AU" baseline="0" dirty="0"/>
              <a:t>Firstly, our Mining Automation systems are all about application of automation and Information Management technologies to operate and manage fleets of mining equipment.</a:t>
            </a:r>
          </a:p>
          <a:p>
            <a:pPr defTabSz="958108"/>
            <a:endParaRPr lang="en-AU" baseline="0" dirty="0"/>
          </a:p>
          <a:p>
            <a:r>
              <a:rPr lang="en-AU" dirty="0"/>
              <a:t>We have 2</a:t>
            </a:r>
            <a:r>
              <a:rPr lang="en-AU" baseline="0" dirty="0"/>
              <a:t> product families: </a:t>
            </a:r>
          </a:p>
          <a:p>
            <a:pPr marL="179645" indent="-179645">
              <a:buFontTx/>
              <a:buChar char="-"/>
            </a:pPr>
            <a:r>
              <a:rPr lang="en-AU" baseline="0" dirty="0"/>
              <a:t>OptiMine – Information Management system for managing a fleet of conventional manually operated equipment</a:t>
            </a:r>
          </a:p>
          <a:p>
            <a:pPr marL="179645" indent="-179645">
              <a:buFontTx/>
              <a:buChar char="-"/>
            </a:pPr>
            <a:r>
              <a:rPr lang="en-AU" baseline="0" dirty="0"/>
              <a:t>AutoMine – systems for </a:t>
            </a:r>
            <a:r>
              <a:rPr lang="en-AU" baseline="0" dirty="0" err="1"/>
              <a:t>teleremote</a:t>
            </a:r>
            <a:r>
              <a:rPr lang="en-AU" baseline="0" dirty="0"/>
              <a:t> and autonomous equipment</a:t>
            </a:r>
          </a:p>
          <a:p>
            <a:endParaRPr lang="en-AU" dirty="0"/>
          </a:p>
        </p:txBody>
      </p:sp>
      <p:sp>
        <p:nvSpPr>
          <p:cNvPr id="4" name="Slide Number Placeholder 3"/>
          <p:cNvSpPr>
            <a:spLocks noGrp="1"/>
          </p:cNvSpPr>
          <p:nvPr>
            <p:ph type="sldNum" sz="quarter" idx="10"/>
          </p:nvPr>
        </p:nvSpPr>
        <p:spPr/>
        <p:txBody>
          <a:bodyPr/>
          <a:lstStyle/>
          <a:p>
            <a:fld id="{BAAEBFBB-75D8-458B-BC84-0A8A1514F4C4}" type="slidenum">
              <a:rPr lang="sv-SE" smtClean="0"/>
              <a:t>7</a:t>
            </a:fld>
            <a:endParaRPr lang="sv-SE" dirty="0"/>
          </a:p>
        </p:txBody>
      </p:sp>
    </p:spTree>
    <p:extLst>
      <p:ext uri="{BB962C8B-B14F-4D97-AF65-F5344CB8AC3E}">
        <p14:creationId xmlns:p14="http://schemas.microsoft.com/office/powerpoint/2010/main" val="31430188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79413" y="685800"/>
            <a:ext cx="6099175" cy="3430588"/>
          </a:xfrm>
        </p:spPr>
      </p:sp>
      <p:sp>
        <p:nvSpPr>
          <p:cNvPr id="3" name="Notes Placeholder 2"/>
          <p:cNvSpPr>
            <a:spLocks noGrp="1"/>
          </p:cNvSpPr>
          <p:nvPr>
            <p:ph type="body" idx="1"/>
          </p:nvPr>
        </p:nvSpPr>
        <p:spPr/>
        <p:txBody>
          <a:bodyPr/>
          <a:lstStyle/>
          <a:p>
            <a:r>
              <a:rPr lang="en-AU" baseline="0" dirty="0"/>
              <a:t>The AutoMine product family is all about taking the operator off the equipment and enabling operation from a remote and safer location.  We have systems for:</a:t>
            </a:r>
          </a:p>
          <a:p>
            <a:pPr marL="165830" indent="-165830">
              <a:buFontTx/>
              <a:buChar char="-"/>
            </a:pPr>
            <a:r>
              <a:rPr lang="en-AU" baseline="0" dirty="0"/>
              <a:t>Loaders &amp; trucks:</a:t>
            </a:r>
          </a:p>
          <a:p>
            <a:pPr marL="608045" lvl="1" indent="-165830">
              <a:buFontTx/>
              <a:buChar char="-"/>
            </a:pPr>
            <a:r>
              <a:rPr lang="en-AU" baseline="0" dirty="0"/>
              <a:t>From single unit to fleet automation systems enabling operations to be run from a surface control room</a:t>
            </a:r>
          </a:p>
          <a:p>
            <a:pPr marL="608045" lvl="1" indent="-165830">
              <a:buFontTx/>
              <a:buChar char="-"/>
            </a:pPr>
            <a:r>
              <a:rPr lang="en-AU" baseline="0" dirty="0"/>
              <a:t>Operators have mainly a supervision role – </a:t>
            </a:r>
          </a:p>
          <a:p>
            <a:pPr marL="608045" lvl="1" indent="-165830">
              <a:buFontTx/>
              <a:buChar char="-"/>
            </a:pPr>
            <a:r>
              <a:rPr lang="en-AU" baseline="0" dirty="0"/>
              <a:t>For loaders, buckets are loaded with an automated bucket filling assistant function or by </a:t>
            </a:r>
            <a:r>
              <a:rPr lang="en-AU" baseline="0" dirty="0" err="1"/>
              <a:t>teleremote</a:t>
            </a:r>
            <a:r>
              <a:rPr lang="en-AU" baseline="0" dirty="0"/>
              <a:t> operation, with tramming &amp; dumping fully automated</a:t>
            </a:r>
          </a:p>
          <a:p>
            <a:pPr marL="608045" lvl="1" indent="-165830">
              <a:buFontTx/>
              <a:buChar char="-"/>
            </a:pPr>
            <a:r>
              <a:rPr lang="en-AU" baseline="0" dirty="0"/>
              <a:t>Similarly for trucks, automated tramming and dumping, operator supervises truck loading by manually operated loaders or controls truck loading with chutes or </a:t>
            </a:r>
            <a:r>
              <a:rPr lang="en-AU" baseline="0" dirty="0" err="1"/>
              <a:t>platefeeders</a:t>
            </a:r>
            <a:endParaRPr lang="en-AU" baseline="0" dirty="0"/>
          </a:p>
          <a:p>
            <a:pPr marL="165830" indent="-165830">
              <a:buFontTx/>
              <a:buChar char="-"/>
            </a:pPr>
            <a:r>
              <a:rPr lang="en-AU" baseline="0" dirty="0"/>
              <a:t>Underground drills:</a:t>
            </a:r>
          </a:p>
          <a:p>
            <a:pPr marL="608045" lvl="1" indent="-165830">
              <a:buFontTx/>
              <a:buChar char="-"/>
            </a:pPr>
            <a:r>
              <a:rPr lang="en-AU" baseline="0" dirty="0" err="1"/>
              <a:t>Telemote</a:t>
            </a:r>
            <a:r>
              <a:rPr lang="en-AU" baseline="0" dirty="0"/>
              <a:t> control of production drill rigs in the DL400 series </a:t>
            </a:r>
            <a:r>
              <a:rPr lang="en-AU" strike="noStrike" baseline="0" dirty="0"/>
              <a:t>(DL411, DL421, DL431)</a:t>
            </a:r>
          </a:p>
          <a:p>
            <a:pPr marL="608045" lvl="1" indent="-165830">
              <a:buFontTx/>
              <a:buChar char="-"/>
            </a:pPr>
            <a:r>
              <a:rPr lang="en-AU" baseline="0" dirty="0"/>
              <a:t>Control panels from each rig are duplicated in the control room + a video and communication system is provided to bring the </a:t>
            </a:r>
            <a:r>
              <a:rPr lang="en-AU" baseline="0" dirty="0" err="1"/>
              <a:t>teleremote</a:t>
            </a:r>
            <a:r>
              <a:rPr lang="en-AU" baseline="0" dirty="0"/>
              <a:t> operation capability.</a:t>
            </a:r>
          </a:p>
          <a:p>
            <a:pPr marL="608045" lvl="1" indent="-165830">
              <a:buFontTx/>
              <a:buChar char="-"/>
            </a:pPr>
            <a:r>
              <a:rPr lang="en-AU" baseline="0" dirty="0"/>
              <a:t>When combined with one-hole data or full-fan data drilling, a single operator can operate and supervise several rigs. Relocation of rigs between rings is still done from the cabin of the rig.</a:t>
            </a:r>
          </a:p>
          <a:p>
            <a:pPr marL="165830" indent="-165830">
              <a:buFontTx/>
              <a:buChar char="-"/>
            </a:pPr>
            <a:r>
              <a:rPr lang="en-AU" baseline="0" dirty="0"/>
              <a:t>Surface drills:</a:t>
            </a:r>
          </a:p>
          <a:p>
            <a:pPr marL="608045" lvl="1" indent="-165830">
              <a:buFontTx/>
              <a:buChar char="-"/>
            </a:pPr>
            <a:r>
              <a:rPr lang="en-AU" baseline="0" dirty="0" err="1"/>
              <a:t>Teleremote</a:t>
            </a:r>
            <a:r>
              <a:rPr lang="en-AU" baseline="0" dirty="0"/>
              <a:t> control of 1 to 3 rigs from a single operator station.</a:t>
            </a:r>
          </a:p>
          <a:p>
            <a:pPr marL="608045" lvl="1" indent="-165830">
              <a:buFontTx/>
              <a:buChar char="-"/>
            </a:pPr>
            <a:r>
              <a:rPr lang="en-AU" baseline="0" dirty="0"/>
              <a:t>System is compatible with </a:t>
            </a:r>
            <a:r>
              <a:rPr lang="en-AU" baseline="0" dirty="0" err="1"/>
              <a:t>Pantera</a:t>
            </a:r>
            <a:r>
              <a:rPr lang="en-AU" baseline="0" dirty="0"/>
              <a:t> </a:t>
            </a:r>
            <a:r>
              <a:rPr lang="en-AU" baseline="0" dirty="0" err="1"/>
              <a:t>tophammer</a:t>
            </a:r>
            <a:r>
              <a:rPr lang="en-AU" baseline="0" dirty="0"/>
              <a:t> &amp; DTH rigs as well as the new DR461i rotary drill</a:t>
            </a:r>
          </a:p>
          <a:p>
            <a:pPr marL="608045" lvl="1" indent="-165830">
              <a:buFontTx/>
              <a:buChar char="-"/>
            </a:pPr>
            <a:endParaRPr lang="en-AU" baseline="0" dirty="0"/>
          </a:p>
          <a:p>
            <a:pPr marL="608045" lvl="1" indent="-165830">
              <a:buFontTx/>
              <a:buChar char="-"/>
            </a:pPr>
            <a:endParaRPr lang="en-AU" baseline="0" dirty="0"/>
          </a:p>
          <a:p>
            <a:pPr marL="608045" lvl="1" indent="-165830">
              <a:buFontTx/>
              <a:buChar char="-"/>
            </a:pPr>
            <a:endParaRPr lang="en-AU" baseline="0" dirty="0"/>
          </a:p>
          <a:p>
            <a:pPr marL="608045" lvl="1" indent="-165830">
              <a:buFontTx/>
              <a:buChar char="-"/>
            </a:pPr>
            <a:endParaRPr lang="en-AU" baseline="0" dirty="0"/>
          </a:p>
        </p:txBody>
      </p:sp>
      <p:sp>
        <p:nvSpPr>
          <p:cNvPr id="4" name="Slide Number Placeholder 3"/>
          <p:cNvSpPr>
            <a:spLocks noGrp="1"/>
          </p:cNvSpPr>
          <p:nvPr>
            <p:ph type="sldNum" sz="quarter" idx="10"/>
          </p:nvPr>
        </p:nvSpPr>
        <p:spPr/>
        <p:txBody>
          <a:bodyPr/>
          <a:lstStyle/>
          <a:p>
            <a:fld id="{BAAEBFBB-75D8-458B-BC84-0A8A1514F4C4}" type="slidenum">
              <a:rPr lang="sv-SE" smtClean="0">
                <a:solidFill>
                  <a:prstClr val="black"/>
                </a:solidFill>
              </a:rPr>
              <a:pPr/>
              <a:t>8</a:t>
            </a:fld>
            <a:endParaRPr lang="sv-SE" dirty="0">
              <a:solidFill>
                <a:prstClr val="black"/>
              </a:solidFill>
            </a:endParaRPr>
          </a:p>
        </p:txBody>
      </p:sp>
    </p:spTree>
    <p:extLst>
      <p:ext uri="{BB962C8B-B14F-4D97-AF65-F5344CB8AC3E}">
        <p14:creationId xmlns:p14="http://schemas.microsoft.com/office/powerpoint/2010/main" val="343063058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normAutofit/>
          </a:bodyPr>
          <a:lstStyle/>
          <a:p>
            <a:endParaRPr lang="fi-FI" dirty="0"/>
          </a:p>
        </p:txBody>
      </p:sp>
      <p:sp>
        <p:nvSpPr>
          <p:cNvPr id="4" name="Dian numeron paikkamerkki 3"/>
          <p:cNvSpPr>
            <a:spLocks noGrp="1"/>
          </p:cNvSpPr>
          <p:nvPr>
            <p:ph type="sldNum" sz="quarter" idx="10"/>
          </p:nvPr>
        </p:nvSpPr>
        <p:spPr/>
        <p:txBody>
          <a:bodyPr/>
          <a:lstStyle/>
          <a:p>
            <a:fld id="{BAAEBFBB-75D8-458B-BC84-0A8A1514F4C4}" type="slidenum">
              <a:rPr lang="sv-SE" smtClean="0"/>
              <a:pPr/>
              <a:t>9</a:t>
            </a:fld>
            <a:endParaRPr lang="sv-SE"/>
          </a:p>
        </p:txBody>
      </p:sp>
    </p:spTree>
    <p:extLst>
      <p:ext uri="{BB962C8B-B14F-4D97-AF65-F5344CB8AC3E}">
        <p14:creationId xmlns:p14="http://schemas.microsoft.com/office/powerpoint/2010/main" val="232717304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image" Target="../media/image7.jpeg"/><Relationship Id="rId1" Type="http://schemas.openxmlformats.org/officeDocument/2006/relationships/slideMaster" Target="../slideMasters/slideMaster1.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7.wmf"/><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image" Target="../media/image7.jpeg"/><Relationship Id="rId1" Type="http://schemas.openxmlformats.org/officeDocument/2006/relationships/slideMaster" Target="../slideMasters/slideMaster5.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Startpage, pictur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7252" y="790303"/>
            <a:ext cx="9180000" cy="2148261"/>
          </a:xfrm>
          <a:prstGeom prst="rect">
            <a:avLst/>
          </a:prstGeom>
        </p:spPr>
      </p:pic>
      <p:sp>
        <p:nvSpPr>
          <p:cNvPr id="2" name="Rubrik 1"/>
          <p:cNvSpPr>
            <a:spLocks noGrp="1"/>
          </p:cNvSpPr>
          <p:nvPr>
            <p:ph type="ctrTitle" hasCustomPrompt="1"/>
          </p:nvPr>
        </p:nvSpPr>
        <p:spPr>
          <a:xfrm>
            <a:off x="360000" y="180000"/>
            <a:ext cx="7200000" cy="360000"/>
          </a:xfrm>
        </p:spPr>
        <p:txBody>
          <a:bodyPr/>
          <a:lstStyle>
            <a:lvl1pPr>
              <a:defRPr baseline="0"/>
            </a:lvl1pPr>
          </a:lstStyle>
          <a:p>
            <a:r>
              <a:rPr lang="en-US" noProof="0" dirty="0"/>
              <a:t>Headline First line</a:t>
            </a:r>
          </a:p>
        </p:txBody>
      </p:sp>
      <p:sp>
        <p:nvSpPr>
          <p:cNvPr id="3" name="Underrubrik 2"/>
          <p:cNvSpPr>
            <a:spLocks noGrp="1"/>
          </p:cNvSpPr>
          <p:nvPr>
            <p:ph type="subTitle" idx="1" hasCustomPrompt="1"/>
          </p:nvPr>
        </p:nvSpPr>
        <p:spPr>
          <a:xfrm>
            <a:off x="360000" y="540000"/>
            <a:ext cx="7200000" cy="360000"/>
          </a:xfrm>
        </p:spPr>
        <p:txBody>
          <a:bodyPr>
            <a:noAutofit/>
          </a:bodyPr>
          <a:lstStyle>
            <a:lvl1pPr marL="0" indent="0" algn="l">
              <a:lnSpc>
                <a:spcPct val="100000"/>
              </a:lnSpc>
              <a:spcAft>
                <a:spcPts val="0"/>
              </a:spcAft>
              <a:buNone/>
              <a:defRPr sz="2800" cap="all" baseline="0">
                <a:solidFill>
                  <a:schemeClr val="accent2"/>
                </a:solidFill>
              </a:defRPr>
            </a:lvl1pPr>
            <a:lvl2pPr marL="457148" indent="0" algn="ctr">
              <a:buNone/>
              <a:defRPr>
                <a:solidFill>
                  <a:schemeClr val="tx1">
                    <a:tint val="75000"/>
                  </a:schemeClr>
                </a:solidFill>
              </a:defRPr>
            </a:lvl2pPr>
            <a:lvl3pPr marL="914296" indent="0" algn="ctr">
              <a:buNone/>
              <a:defRPr>
                <a:solidFill>
                  <a:schemeClr val="tx1">
                    <a:tint val="75000"/>
                  </a:schemeClr>
                </a:solidFill>
              </a:defRPr>
            </a:lvl3pPr>
            <a:lvl4pPr marL="1371444" indent="0" algn="ctr">
              <a:buNone/>
              <a:defRPr>
                <a:solidFill>
                  <a:schemeClr val="tx1">
                    <a:tint val="75000"/>
                  </a:schemeClr>
                </a:solidFill>
              </a:defRPr>
            </a:lvl4pPr>
            <a:lvl5pPr marL="1828592" indent="0" algn="ctr">
              <a:buNone/>
              <a:defRPr>
                <a:solidFill>
                  <a:schemeClr val="tx1">
                    <a:tint val="75000"/>
                  </a:schemeClr>
                </a:solidFill>
              </a:defRPr>
            </a:lvl5pPr>
            <a:lvl6pPr marL="2285740" indent="0" algn="ctr">
              <a:buNone/>
              <a:defRPr>
                <a:solidFill>
                  <a:schemeClr val="tx1">
                    <a:tint val="75000"/>
                  </a:schemeClr>
                </a:solidFill>
              </a:defRPr>
            </a:lvl6pPr>
            <a:lvl7pPr marL="2742888" indent="0" algn="ctr">
              <a:buNone/>
              <a:defRPr>
                <a:solidFill>
                  <a:schemeClr val="tx1">
                    <a:tint val="75000"/>
                  </a:schemeClr>
                </a:solidFill>
              </a:defRPr>
            </a:lvl7pPr>
            <a:lvl8pPr marL="3200036" indent="0" algn="ctr">
              <a:buNone/>
              <a:defRPr>
                <a:solidFill>
                  <a:schemeClr val="tx1">
                    <a:tint val="75000"/>
                  </a:schemeClr>
                </a:solidFill>
              </a:defRPr>
            </a:lvl8pPr>
            <a:lvl9pPr marL="3657184" indent="0" algn="ctr">
              <a:buNone/>
              <a:defRPr>
                <a:solidFill>
                  <a:schemeClr val="tx1">
                    <a:tint val="75000"/>
                  </a:schemeClr>
                </a:solidFill>
              </a:defRPr>
            </a:lvl9pPr>
          </a:lstStyle>
          <a:p>
            <a:r>
              <a:rPr lang="en-US" noProof="0" dirty="0"/>
              <a:t>Headline Second line</a:t>
            </a:r>
          </a:p>
        </p:txBody>
      </p:sp>
      <p:sp>
        <p:nvSpPr>
          <p:cNvPr id="4" name="Platshållare för datum 3"/>
          <p:cNvSpPr>
            <a:spLocks noGrp="1"/>
          </p:cNvSpPr>
          <p:nvPr>
            <p:ph type="dt" sz="half" idx="10"/>
          </p:nvPr>
        </p:nvSpPr>
        <p:spPr/>
        <p:txBody>
          <a:bodyPr/>
          <a:lstStyle/>
          <a:p>
            <a:fld id="{FD53EE5B-179B-42EF-B88C-5BE3C7D22739}" type="datetime1">
              <a:rPr lang="en-US" smtClean="0"/>
              <a:t>9/10/2018</a:t>
            </a:fld>
            <a:endParaRPr lang="en-US" dirty="0"/>
          </a:p>
        </p:txBody>
      </p:sp>
      <p:sp>
        <p:nvSpPr>
          <p:cNvPr id="5" name="Platshållare för sidfot 4"/>
          <p:cNvSpPr>
            <a:spLocks noGrp="1"/>
          </p:cNvSpPr>
          <p:nvPr>
            <p:ph type="ftr" sz="quarter" idx="11"/>
          </p:nvPr>
        </p:nvSpPr>
        <p:spPr/>
        <p:txBody>
          <a:bodyPr/>
          <a:lstStyle/>
          <a:p>
            <a:r>
              <a:rPr lang="en-US" dirty="0"/>
              <a:t>SANDVIK: Title of presentation</a:t>
            </a:r>
          </a:p>
        </p:txBody>
      </p:sp>
      <p:sp>
        <p:nvSpPr>
          <p:cNvPr id="6" name="Platshållare för bildnummer 5"/>
          <p:cNvSpPr>
            <a:spLocks noGrp="1"/>
          </p:cNvSpPr>
          <p:nvPr>
            <p:ph type="sldNum" sz="quarter" idx="12"/>
          </p:nvPr>
        </p:nvSpPr>
        <p:spPr/>
        <p:txBody>
          <a:bodyPr/>
          <a:lstStyle/>
          <a:p>
            <a:fld id="{469B62F1-B431-48B6-8270-02431A1685B7}" type="slidenum">
              <a:rPr lang="en-US" smtClean="0"/>
              <a:t>‹#›</a:t>
            </a:fld>
            <a:endParaRPr lang="en-US" dirty="0"/>
          </a:p>
        </p:txBody>
      </p:sp>
      <p:pic>
        <p:nvPicPr>
          <p:cNvPr id="9" name="Bildobjekt 8" descr="SAV_Logo_cyan_RGB300.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894137" y="275166"/>
            <a:ext cx="889863" cy="323998"/>
          </a:xfrm>
          <a:prstGeom prst="rect">
            <a:avLst/>
          </a:prstGeom>
        </p:spPr>
      </p:pic>
      <p:sp>
        <p:nvSpPr>
          <p:cNvPr id="11" name="Picture Placeholder 7"/>
          <p:cNvSpPr>
            <a:spLocks noGrp="1"/>
          </p:cNvSpPr>
          <p:nvPr>
            <p:ph type="pic" sz="quarter" idx="13"/>
          </p:nvPr>
        </p:nvSpPr>
        <p:spPr>
          <a:xfrm>
            <a:off x="0" y="1345764"/>
            <a:ext cx="9144000" cy="3797738"/>
          </a:xfrm>
          <a:custGeom>
            <a:avLst/>
            <a:gdLst>
              <a:gd name="connsiteX0" fmla="*/ 632660 w 9144000"/>
              <a:gd name="connsiteY0" fmla="*/ 0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632660 h 3795886"/>
              <a:gd name="connsiteX8" fmla="*/ 632660 w 9144000"/>
              <a:gd name="connsiteY8" fmla="*/ 0 h 3795886"/>
              <a:gd name="connsiteX0" fmla="*/ 2769178 w 9144000"/>
              <a:gd name="connsiteY0" fmla="*/ 207698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632660 h 3795886"/>
              <a:gd name="connsiteX8" fmla="*/ 2769178 w 9144000"/>
              <a:gd name="connsiteY8" fmla="*/ 207698 h 3795886"/>
              <a:gd name="connsiteX0" fmla="*/ 2769178 w 9144000"/>
              <a:gd name="connsiteY0" fmla="*/ 207698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1397835 h 3795886"/>
              <a:gd name="connsiteX8" fmla="*/ 2769178 w 9144000"/>
              <a:gd name="connsiteY8" fmla="*/ 207698 h 3795886"/>
              <a:gd name="connsiteX0" fmla="*/ 2769178 w 9144000"/>
              <a:gd name="connsiteY0" fmla="*/ 207698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1581985 h 3795886"/>
              <a:gd name="connsiteX8" fmla="*/ 2769178 w 9144000"/>
              <a:gd name="connsiteY8" fmla="*/ 207698 h 3795886"/>
              <a:gd name="connsiteX0" fmla="*/ 2750128 w 9144000"/>
              <a:gd name="connsiteY0" fmla="*/ 1323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1581985 h 3795886"/>
              <a:gd name="connsiteX8" fmla="*/ 2750128 w 9144000"/>
              <a:gd name="connsiteY8" fmla="*/ 1323 h 3795886"/>
              <a:gd name="connsiteX0" fmla="*/ 2753303 w 9144000"/>
              <a:gd name="connsiteY0" fmla="*/ 48948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1581985 h 3795886"/>
              <a:gd name="connsiteX8" fmla="*/ 2753303 w 9144000"/>
              <a:gd name="connsiteY8" fmla="*/ 48948 h 3795886"/>
              <a:gd name="connsiteX0" fmla="*/ 2743778 w 9144000"/>
              <a:gd name="connsiteY0" fmla="*/ 0 h 3797738"/>
              <a:gd name="connsiteX1" fmla="*/ 8511340 w 9144000"/>
              <a:gd name="connsiteY1" fmla="*/ 1852 h 3797738"/>
              <a:gd name="connsiteX2" fmla="*/ 9144000 w 9144000"/>
              <a:gd name="connsiteY2" fmla="*/ 634512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8511340 w 9144000"/>
              <a:gd name="connsiteY1" fmla="*/ 185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20715 w 9144000"/>
              <a:gd name="connsiteY1" fmla="*/ 52890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20715 w 9144000"/>
              <a:gd name="connsiteY1" fmla="*/ 52890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14365 w 9144000"/>
              <a:gd name="connsiteY1" fmla="*/ 57335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20715 w 9144000"/>
              <a:gd name="connsiteY1" fmla="*/ 532077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04840 w 9144000"/>
              <a:gd name="connsiteY1" fmla="*/ 627327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17540 w 9144000"/>
              <a:gd name="connsiteY1" fmla="*/ 52890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44000" h="3797738">
                <a:moveTo>
                  <a:pt x="2743778" y="0"/>
                </a:moveTo>
                <a:lnTo>
                  <a:pt x="7317540" y="528902"/>
                </a:lnTo>
                <a:lnTo>
                  <a:pt x="9144000" y="529737"/>
                </a:lnTo>
                <a:lnTo>
                  <a:pt x="9144000" y="3797738"/>
                </a:lnTo>
                <a:lnTo>
                  <a:pt x="9144000" y="3797738"/>
                </a:lnTo>
                <a:lnTo>
                  <a:pt x="0" y="3797738"/>
                </a:lnTo>
                <a:lnTo>
                  <a:pt x="0" y="3797738"/>
                </a:lnTo>
                <a:lnTo>
                  <a:pt x="0" y="1583837"/>
                </a:lnTo>
                <a:lnTo>
                  <a:pt x="2743778" y="0"/>
                </a:lnTo>
                <a:close/>
              </a:path>
            </a:pathLst>
          </a:custGeom>
          <a:noFill/>
        </p:spPr>
        <p:txBody>
          <a:bodyPr/>
          <a:lstStyle>
            <a:lvl1pPr marL="0" indent="0">
              <a:buNone/>
              <a:defRPr/>
            </a:lvl1pPr>
          </a:lstStyle>
          <a:p>
            <a:r>
              <a:rPr lang="en-US"/>
              <a:t>Click icon to add picture</a:t>
            </a:r>
            <a:endParaRPr lang="sv-SE" dirty="0"/>
          </a:p>
        </p:txBody>
      </p:sp>
      <p:sp>
        <p:nvSpPr>
          <p:cNvPr id="12" name="Rectangular Callout 11"/>
          <p:cNvSpPr/>
          <p:nvPr userDrawn="1"/>
        </p:nvSpPr>
        <p:spPr>
          <a:xfrm>
            <a:off x="9432540" y="-535"/>
            <a:ext cx="1440000" cy="2939097"/>
          </a:xfrm>
          <a:prstGeom prst="wedgeRectCallout">
            <a:avLst>
              <a:gd name="adj1" fmla="val -60810"/>
              <a:gd name="adj2" fmla="val -20925"/>
            </a:avLst>
          </a:prstGeom>
          <a:solidFill>
            <a:srgbClr val="7F7F7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l"/>
            <a:r>
              <a:rPr lang="en-US" sz="800" noProof="0" dirty="0"/>
              <a:t>We use a two-color</a:t>
            </a:r>
            <a:r>
              <a:rPr lang="en-US" sz="800" baseline="0" noProof="0" dirty="0"/>
              <a:t> headline system to highlight our rational and emotional side alike. The first line appears in blue (the rational side), the second line in orange (the emotional side) and the duality principle is reflected in the wording of the headline.</a:t>
            </a:r>
          </a:p>
          <a:p>
            <a:pPr algn="l"/>
            <a:endParaRPr lang="en-US" sz="1000" b="1" baseline="0" noProof="0" dirty="0"/>
          </a:p>
          <a:p>
            <a:pPr algn="l"/>
            <a:r>
              <a:rPr lang="en-US" sz="800" b="1" baseline="0" noProof="0" dirty="0"/>
              <a:t>This system refers to the first page title only, all other headlines are blue.</a:t>
            </a:r>
          </a:p>
          <a:p>
            <a:pPr algn="l"/>
            <a:endParaRPr lang="en-US" sz="1000" b="1" baseline="0" noProof="0" dirty="0"/>
          </a:p>
          <a:p>
            <a:pPr algn="l"/>
            <a:r>
              <a:rPr lang="en-US" sz="800" b="0" baseline="0" noProof="0" dirty="0"/>
              <a:t>Learn more about our verbal identity in the Sandvik Brand Identity Directives, which you can download at the Intranet &gt; home.sandvik.com/brand</a:t>
            </a:r>
            <a:endParaRPr lang="en-US" sz="800" noProof="0" dirty="0"/>
          </a:p>
        </p:txBody>
      </p:sp>
    </p:spTree>
    <p:extLst>
      <p:ext uri="{BB962C8B-B14F-4D97-AF65-F5344CB8AC3E}">
        <p14:creationId xmlns:p14="http://schemas.microsoft.com/office/powerpoint/2010/main" val="1363667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Rubrik 1"/>
          <p:cNvSpPr>
            <a:spLocks noGrp="1"/>
          </p:cNvSpPr>
          <p:nvPr>
            <p:ph type="title" hasCustomPrompt="1"/>
          </p:nvPr>
        </p:nvSpPr>
        <p:spPr>
          <a:xfrm>
            <a:off x="360000" y="414000"/>
            <a:ext cx="8424000" cy="360000"/>
          </a:xfrm>
        </p:spPr>
        <p:txBody>
          <a:bodyPr/>
          <a:lstStyle>
            <a:lvl1pPr>
              <a:defRPr/>
            </a:lvl1pPr>
          </a:lstStyle>
          <a:p>
            <a:r>
              <a:rPr lang="en-US" noProof="0" dirty="0"/>
              <a:t>Headline one line</a:t>
            </a:r>
          </a:p>
        </p:txBody>
      </p:sp>
      <p:sp>
        <p:nvSpPr>
          <p:cNvPr id="3" name="Platshållare för innehåll 2"/>
          <p:cNvSpPr>
            <a:spLocks noGrp="1"/>
          </p:cNvSpPr>
          <p:nvPr>
            <p:ph idx="1" hasCustomPrompt="1"/>
          </p:nvPr>
        </p:nvSpPr>
        <p:spPr/>
        <p:txBody>
          <a:bodyPr/>
          <a:lstStyle>
            <a:lvl1pPr>
              <a:buClr>
                <a:schemeClr val="tx1"/>
              </a:buClr>
              <a:defRPr/>
            </a:lvl1pPr>
            <a:lvl2pPr marL="539939" indent="-161982">
              <a:buClr>
                <a:schemeClr val="tx1"/>
              </a:buClr>
              <a:buFont typeface="Arial" panose="020B0604020202020204" pitchFamily="34" charset="0"/>
              <a:buChar char="−"/>
              <a:defRPr/>
            </a:lvl2pPr>
          </a:lstStyle>
          <a:p>
            <a:pPr lvl="0"/>
            <a:r>
              <a:rPr lang="en-US" dirty="0"/>
              <a:t>Click to edit Master text styles</a:t>
            </a:r>
          </a:p>
          <a:p>
            <a:pPr lvl="1"/>
            <a:r>
              <a:rPr lang="en-US" dirty="0"/>
              <a:t>Second level</a:t>
            </a:r>
          </a:p>
        </p:txBody>
      </p:sp>
      <p:sp>
        <p:nvSpPr>
          <p:cNvPr id="4" name="Platshållare för datum 3"/>
          <p:cNvSpPr>
            <a:spLocks noGrp="1"/>
          </p:cNvSpPr>
          <p:nvPr>
            <p:ph type="dt" sz="half" idx="10"/>
          </p:nvPr>
        </p:nvSpPr>
        <p:spPr/>
        <p:txBody>
          <a:bodyPr/>
          <a:lstStyle/>
          <a:p>
            <a:fld id="{C29E6C7A-CD18-4FE5-9CB6-16EC811B9DFD}" type="datetime1">
              <a:rPr lang="en-US" smtClean="0"/>
              <a:t>9/10/2018</a:t>
            </a:fld>
            <a:endParaRPr lang="en-US" dirty="0"/>
          </a:p>
        </p:txBody>
      </p:sp>
      <p:sp>
        <p:nvSpPr>
          <p:cNvPr id="5" name="Platshållare för sidfot 4"/>
          <p:cNvSpPr>
            <a:spLocks noGrp="1"/>
          </p:cNvSpPr>
          <p:nvPr>
            <p:ph type="ftr" sz="quarter" idx="11"/>
          </p:nvPr>
        </p:nvSpPr>
        <p:spPr/>
        <p:txBody>
          <a:bodyPr/>
          <a:lstStyle/>
          <a:p>
            <a:r>
              <a:rPr lang="en-US" dirty="0"/>
              <a:t>SANDVIK: Title of presentation</a:t>
            </a:r>
          </a:p>
        </p:txBody>
      </p:sp>
      <p:sp>
        <p:nvSpPr>
          <p:cNvPr id="6" name="Platshållare för bildnummer 5"/>
          <p:cNvSpPr>
            <a:spLocks noGrp="1"/>
          </p:cNvSpPr>
          <p:nvPr>
            <p:ph type="sldNum" sz="quarter" idx="12"/>
          </p:nvPr>
        </p:nvSpPr>
        <p:spPr/>
        <p:txBody>
          <a:bodyPr/>
          <a:lstStyle/>
          <a:p>
            <a:fld id="{469B62F1-B431-48B6-8270-02431A1685B7}" type="slidenum">
              <a:rPr lang="en-US" smtClean="0"/>
              <a:t>‹#›</a:t>
            </a:fld>
            <a:endParaRPr lang="en-US" dirty="0"/>
          </a:p>
        </p:txBody>
      </p:sp>
    </p:spTree>
    <p:extLst>
      <p:ext uri="{BB962C8B-B14F-4D97-AF65-F5344CB8AC3E}">
        <p14:creationId xmlns:p14="http://schemas.microsoft.com/office/powerpoint/2010/main" val="51917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ontent - subhead">
    <p:spTree>
      <p:nvGrpSpPr>
        <p:cNvPr id="1" name=""/>
        <p:cNvGrpSpPr/>
        <p:nvPr/>
      </p:nvGrpSpPr>
      <p:grpSpPr>
        <a:xfrm>
          <a:off x="0" y="0"/>
          <a:ext cx="0" cy="0"/>
          <a:chOff x="0" y="0"/>
          <a:chExt cx="0" cy="0"/>
        </a:xfrm>
      </p:grpSpPr>
      <p:sp>
        <p:nvSpPr>
          <p:cNvPr id="2" name="Rubrik 1"/>
          <p:cNvSpPr>
            <a:spLocks noGrp="1"/>
          </p:cNvSpPr>
          <p:nvPr>
            <p:ph type="title" hasCustomPrompt="1"/>
          </p:nvPr>
        </p:nvSpPr>
        <p:spPr>
          <a:xfrm>
            <a:off x="360000" y="414000"/>
            <a:ext cx="8424000" cy="360000"/>
          </a:xfrm>
        </p:spPr>
        <p:txBody>
          <a:bodyPr/>
          <a:lstStyle>
            <a:lvl1pPr>
              <a:defRPr/>
            </a:lvl1pPr>
          </a:lstStyle>
          <a:p>
            <a:r>
              <a:rPr lang="en-US" noProof="0" dirty="0"/>
              <a:t>Headline one line</a:t>
            </a:r>
          </a:p>
        </p:txBody>
      </p:sp>
      <p:sp>
        <p:nvSpPr>
          <p:cNvPr id="3" name="Platshållare för innehåll 2"/>
          <p:cNvSpPr>
            <a:spLocks noGrp="1"/>
          </p:cNvSpPr>
          <p:nvPr>
            <p:ph idx="1" hasCustomPrompt="1"/>
          </p:nvPr>
        </p:nvSpPr>
        <p:spPr>
          <a:xfrm>
            <a:off x="360000" y="1530000"/>
            <a:ext cx="8424000" cy="2844000"/>
          </a:xfrm>
        </p:spPr>
        <p:txBody>
          <a:bodyPr/>
          <a:lstStyle>
            <a:lvl1pPr>
              <a:buClr>
                <a:schemeClr val="tx1"/>
              </a:buClr>
              <a:defRPr/>
            </a:lvl1pPr>
            <a:lvl2pPr marL="539939" indent="-161982">
              <a:buClr>
                <a:schemeClr val="tx1"/>
              </a:buClr>
              <a:buFont typeface="Arial" panose="020B0604020202020204" pitchFamily="34" charset="0"/>
              <a:buChar char="−"/>
              <a:defRPr/>
            </a:lvl2pPr>
          </a:lstStyle>
          <a:p>
            <a:pPr lvl="0"/>
            <a:r>
              <a:rPr lang="en-US" dirty="0"/>
              <a:t>Click to edit Master text styles</a:t>
            </a:r>
          </a:p>
          <a:p>
            <a:pPr lvl="1"/>
            <a:r>
              <a:rPr lang="en-US" dirty="0"/>
              <a:t>Second level</a:t>
            </a:r>
          </a:p>
        </p:txBody>
      </p:sp>
      <p:sp>
        <p:nvSpPr>
          <p:cNvPr id="4" name="Platshållare för datum 3"/>
          <p:cNvSpPr>
            <a:spLocks noGrp="1"/>
          </p:cNvSpPr>
          <p:nvPr>
            <p:ph type="dt" sz="half" idx="10"/>
          </p:nvPr>
        </p:nvSpPr>
        <p:spPr/>
        <p:txBody>
          <a:bodyPr/>
          <a:lstStyle/>
          <a:p>
            <a:fld id="{9567CFF2-0FC3-45CF-A5BF-BAC9AD3AD346}" type="datetime1">
              <a:rPr lang="en-US" smtClean="0"/>
              <a:t>9/10/2018</a:t>
            </a:fld>
            <a:endParaRPr lang="en-US" dirty="0"/>
          </a:p>
        </p:txBody>
      </p:sp>
      <p:sp>
        <p:nvSpPr>
          <p:cNvPr id="5" name="Platshållare för sidfot 4"/>
          <p:cNvSpPr>
            <a:spLocks noGrp="1"/>
          </p:cNvSpPr>
          <p:nvPr>
            <p:ph type="ftr" sz="quarter" idx="11"/>
          </p:nvPr>
        </p:nvSpPr>
        <p:spPr/>
        <p:txBody>
          <a:bodyPr/>
          <a:lstStyle/>
          <a:p>
            <a:r>
              <a:rPr lang="en-US" dirty="0"/>
              <a:t>SANDVIK: Title of presentation</a:t>
            </a:r>
          </a:p>
        </p:txBody>
      </p:sp>
      <p:sp>
        <p:nvSpPr>
          <p:cNvPr id="6" name="Platshållare för bildnummer 5"/>
          <p:cNvSpPr>
            <a:spLocks noGrp="1"/>
          </p:cNvSpPr>
          <p:nvPr>
            <p:ph type="sldNum" sz="quarter" idx="12"/>
          </p:nvPr>
        </p:nvSpPr>
        <p:spPr/>
        <p:txBody>
          <a:bodyPr/>
          <a:lstStyle/>
          <a:p>
            <a:fld id="{469B62F1-B431-48B6-8270-02431A1685B7}" type="slidenum">
              <a:rPr lang="en-US" smtClean="0"/>
              <a:t>‹#›</a:t>
            </a:fld>
            <a:endParaRPr lang="en-US" dirty="0"/>
          </a:p>
        </p:txBody>
      </p:sp>
      <p:sp>
        <p:nvSpPr>
          <p:cNvPr id="8" name="Platshållare för text 7"/>
          <p:cNvSpPr>
            <a:spLocks noGrp="1"/>
          </p:cNvSpPr>
          <p:nvPr>
            <p:ph type="body" sz="quarter" idx="13" hasCustomPrompt="1"/>
          </p:nvPr>
        </p:nvSpPr>
        <p:spPr>
          <a:xfrm>
            <a:off x="360000" y="1080000"/>
            <a:ext cx="8424000" cy="270000"/>
          </a:xfrm>
        </p:spPr>
        <p:txBody>
          <a:bodyPr>
            <a:noAutofit/>
          </a:bodyPr>
          <a:lstStyle>
            <a:lvl1pPr marL="0" indent="0">
              <a:lnSpc>
                <a:spcPct val="100000"/>
              </a:lnSpc>
              <a:buNone/>
              <a:defRPr sz="1800" b="0" cap="all" baseline="0">
                <a:solidFill>
                  <a:schemeClr val="accent2"/>
                </a:solidFill>
              </a:defRPr>
            </a:lvl1pPr>
          </a:lstStyle>
          <a:p>
            <a:pPr lvl="0"/>
            <a:r>
              <a:rPr lang="en-US" noProof="0" dirty="0"/>
              <a:t>Subheading</a:t>
            </a:r>
          </a:p>
        </p:txBody>
      </p:sp>
    </p:spTree>
    <p:extLst>
      <p:ext uri="{BB962C8B-B14F-4D97-AF65-F5344CB8AC3E}">
        <p14:creationId xmlns:p14="http://schemas.microsoft.com/office/powerpoint/2010/main" val="92497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Rubrik 1"/>
          <p:cNvSpPr>
            <a:spLocks noGrp="1"/>
          </p:cNvSpPr>
          <p:nvPr>
            <p:ph type="title" hasCustomPrompt="1"/>
          </p:nvPr>
        </p:nvSpPr>
        <p:spPr/>
        <p:txBody>
          <a:bodyPr/>
          <a:lstStyle>
            <a:lvl1pPr>
              <a:defRPr/>
            </a:lvl1pPr>
          </a:lstStyle>
          <a:p>
            <a:r>
              <a:rPr lang="en-US" noProof="0" dirty="0"/>
              <a:t>Headline one line</a:t>
            </a:r>
          </a:p>
        </p:txBody>
      </p:sp>
      <p:sp>
        <p:nvSpPr>
          <p:cNvPr id="3" name="Platshållare för innehåll 2"/>
          <p:cNvSpPr>
            <a:spLocks noGrp="1"/>
          </p:cNvSpPr>
          <p:nvPr>
            <p:ph sz="half" idx="1" hasCustomPrompt="1"/>
          </p:nvPr>
        </p:nvSpPr>
        <p:spPr>
          <a:xfrm>
            <a:off x="360000" y="1134000"/>
            <a:ext cx="4122000" cy="3240000"/>
          </a:xfrm>
        </p:spPr>
        <p:txBody>
          <a:bodyPr>
            <a:noAutofit/>
          </a:bodyPr>
          <a:lstStyle>
            <a:lvl1pPr>
              <a:defRPr sz="1800"/>
            </a:lvl1pPr>
            <a:lvl2pPr marL="539939" indent="-161982">
              <a:buFont typeface="Arial" panose="020B0604020202020204" pitchFamily="34" charset="0"/>
              <a:buChar char="−"/>
              <a:defRPr sz="1600"/>
            </a:lvl2pPr>
            <a:lvl3pPr>
              <a:defRPr sz="1400"/>
            </a:lvl3pPr>
            <a:lvl4pPr>
              <a:defRPr sz="1200"/>
            </a:lvl4pPr>
            <a:lvl5pPr>
              <a:defRPr sz="10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p:txBody>
      </p:sp>
      <p:sp>
        <p:nvSpPr>
          <p:cNvPr id="4" name="Platshållare för innehåll 3"/>
          <p:cNvSpPr>
            <a:spLocks noGrp="1"/>
          </p:cNvSpPr>
          <p:nvPr>
            <p:ph sz="half" idx="2" hasCustomPrompt="1"/>
          </p:nvPr>
        </p:nvSpPr>
        <p:spPr>
          <a:xfrm>
            <a:off x="4662000" y="1134000"/>
            <a:ext cx="4122000" cy="3240000"/>
          </a:xfrm>
        </p:spPr>
        <p:txBody>
          <a:bodyPr>
            <a:noAutofit/>
          </a:bodyPr>
          <a:lstStyle>
            <a:lvl1pPr>
              <a:defRPr sz="1800"/>
            </a:lvl1pPr>
            <a:lvl2pPr marL="539939" indent="-161982">
              <a:buFont typeface="Arial" panose="020B0604020202020204" pitchFamily="34" charset="0"/>
              <a:buChar char="−"/>
              <a:defRPr sz="1600"/>
            </a:lvl2pPr>
            <a:lvl3pPr>
              <a:defRPr sz="1400"/>
            </a:lvl3pPr>
            <a:lvl4pPr>
              <a:defRPr sz="1200"/>
            </a:lvl4pPr>
            <a:lvl5pPr>
              <a:defRPr sz="10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p:txBody>
      </p:sp>
      <p:sp>
        <p:nvSpPr>
          <p:cNvPr id="5" name="Platshållare för datum 4"/>
          <p:cNvSpPr>
            <a:spLocks noGrp="1"/>
          </p:cNvSpPr>
          <p:nvPr>
            <p:ph type="dt" sz="half" idx="10"/>
          </p:nvPr>
        </p:nvSpPr>
        <p:spPr/>
        <p:txBody>
          <a:bodyPr/>
          <a:lstStyle/>
          <a:p>
            <a:fld id="{099FC9A5-D370-4F2A-A29B-6BAB358185B7}" type="datetime1">
              <a:rPr lang="en-US" smtClean="0"/>
              <a:t>9/10/2018</a:t>
            </a:fld>
            <a:endParaRPr lang="en-US" dirty="0"/>
          </a:p>
        </p:txBody>
      </p:sp>
      <p:sp>
        <p:nvSpPr>
          <p:cNvPr id="6" name="Platshållare för sidfot 5"/>
          <p:cNvSpPr>
            <a:spLocks noGrp="1"/>
          </p:cNvSpPr>
          <p:nvPr>
            <p:ph type="ftr" sz="quarter" idx="11"/>
          </p:nvPr>
        </p:nvSpPr>
        <p:spPr/>
        <p:txBody>
          <a:bodyPr/>
          <a:lstStyle/>
          <a:p>
            <a:r>
              <a:rPr lang="en-US" dirty="0"/>
              <a:t>SANDVIK: Title of presentation</a:t>
            </a:r>
          </a:p>
        </p:txBody>
      </p:sp>
      <p:sp>
        <p:nvSpPr>
          <p:cNvPr id="7" name="Platshållare för bildnummer 6"/>
          <p:cNvSpPr>
            <a:spLocks noGrp="1"/>
          </p:cNvSpPr>
          <p:nvPr>
            <p:ph type="sldNum" sz="quarter" idx="12"/>
          </p:nvPr>
        </p:nvSpPr>
        <p:spPr/>
        <p:txBody>
          <a:bodyPr/>
          <a:lstStyle/>
          <a:p>
            <a:fld id="{469B62F1-B431-48B6-8270-02431A1685B7}" type="slidenum">
              <a:rPr lang="en-US" smtClean="0"/>
              <a:t>‹#›</a:t>
            </a:fld>
            <a:endParaRPr lang="en-US" dirty="0"/>
          </a:p>
        </p:txBody>
      </p:sp>
    </p:spTree>
    <p:extLst>
      <p:ext uri="{BB962C8B-B14F-4D97-AF65-F5344CB8AC3E}">
        <p14:creationId xmlns:p14="http://schemas.microsoft.com/office/powerpoint/2010/main" val="2736173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ntent no title">
    <p:spTree>
      <p:nvGrpSpPr>
        <p:cNvPr id="1" name=""/>
        <p:cNvGrpSpPr/>
        <p:nvPr/>
      </p:nvGrpSpPr>
      <p:grpSpPr>
        <a:xfrm>
          <a:off x="0" y="0"/>
          <a:ext cx="0" cy="0"/>
          <a:chOff x="0" y="0"/>
          <a:chExt cx="0" cy="0"/>
        </a:xfrm>
      </p:grpSpPr>
      <p:sp>
        <p:nvSpPr>
          <p:cNvPr id="3" name="Platshållare för innehåll 2"/>
          <p:cNvSpPr>
            <a:spLocks noGrp="1"/>
          </p:cNvSpPr>
          <p:nvPr>
            <p:ph sz="half" idx="1" hasCustomPrompt="1"/>
          </p:nvPr>
        </p:nvSpPr>
        <p:spPr>
          <a:xfrm>
            <a:off x="360000" y="414000"/>
            <a:ext cx="4122000" cy="3960000"/>
          </a:xfrm>
        </p:spPr>
        <p:txBody>
          <a:bodyPr>
            <a:noAutofit/>
          </a:bodyPr>
          <a:lstStyle>
            <a:lvl1pPr>
              <a:defRPr sz="1800"/>
            </a:lvl1pPr>
            <a:lvl2pPr marL="539939" indent="-161982">
              <a:buFont typeface="Arial" panose="020B0604020202020204" pitchFamily="34" charset="0"/>
              <a:buChar char="−"/>
              <a:defRPr sz="1600"/>
            </a:lvl2pPr>
            <a:lvl3pPr>
              <a:defRPr sz="1400"/>
            </a:lvl3pPr>
            <a:lvl4pPr>
              <a:defRPr sz="1200"/>
            </a:lvl4pPr>
            <a:lvl5pPr>
              <a:defRPr sz="10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p:txBody>
      </p:sp>
      <p:sp>
        <p:nvSpPr>
          <p:cNvPr id="4" name="Platshållare för innehåll 3"/>
          <p:cNvSpPr>
            <a:spLocks noGrp="1"/>
          </p:cNvSpPr>
          <p:nvPr>
            <p:ph sz="half" idx="2" hasCustomPrompt="1"/>
          </p:nvPr>
        </p:nvSpPr>
        <p:spPr>
          <a:xfrm>
            <a:off x="4662000" y="414000"/>
            <a:ext cx="4122000" cy="3960000"/>
          </a:xfrm>
        </p:spPr>
        <p:txBody>
          <a:bodyPr>
            <a:noAutofit/>
          </a:bodyPr>
          <a:lstStyle>
            <a:lvl1pPr>
              <a:defRPr sz="1800"/>
            </a:lvl1pPr>
            <a:lvl2pPr marL="539939" indent="-161982">
              <a:buFont typeface="Arial" panose="020B0604020202020204" pitchFamily="34" charset="0"/>
              <a:buChar char="−"/>
              <a:defRPr sz="1600"/>
            </a:lvl2pPr>
            <a:lvl3pPr>
              <a:defRPr sz="1400"/>
            </a:lvl3pPr>
            <a:lvl4pPr>
              <a:defRPr sz="1200"/>
            </a:lvl4pPr>
            <a:lvl5pPr>
              <a:defRPr sz="10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p:txBody>
      </p:sp>
      <p:sp>
        <p:nvSpPr>
          <p:cNvPr id="5" name="Platshållare för datum 4"/>
          <p:cNvSpPr>
            <a:spLocks noGrp="1"/>
          </p:cNvSpPr>
          <p:nvPr>
            <p:ph type="dt" sz="half" idx="10"/>
          </p:nvPr>
        </p:nvSpPr>
        <p:spPr/>
        <p:txBody>
          <a:bodyPr/>
          <a:lstStyle/>
          <a:p>
            <a:fld id="{45C6DC22-FF31-46C8-A0FB-4EE9094BA6B9}" type="datetime1">
              <a:rPr lang="en-US" smtClean="0"/>
              <a:t>9/10/2018</a:t>
            </a:fld>
            <a:endParaRPr lang="en-US" dirty="0"/>
          </a:p>
        </p:txBody>
      </p:sp>
      <p:sp>
        <p:nvSpPr>
          <p:cNvPr id="6" name="Platshållare för sidfot 5"/>
          <p:cNvSpPr>
            <a:spLocks noGrp="1"/>
          </p:cNvSpPr>
          <p:nvPr>
            <p:ph type="ftr" sz="quarter" idx="11"/>
          </p:nvPr>
        </p:nvSpPr>
        <p:spPr/>
        <p:txBody>
          <a:bodyPr/>
          <a:lstStyle/>
          <a:p>
            <a:r>
              <a:rPr lang="en-US" dirty="0"/>
              <a:t>SANDVIK: Title of presentation</a:t>
            </a:r>
          </a:p>
        </p:txBody>
      </p:sp>
      <p:sp>
        <p:nvSpPr>
          <p:cNvPr id="7" name="Platshållare för bildnummer 6"/>
          <p:cNvSpPr>
            <a:spLocks noGrp="1"/>
          </p:cNvSpPr>
          <p:nvPr>
            <p:ph type="sldNum" sz="quarter" idx="12"/>
          </p:nvPr>
        </p:nvSpPr>
        <p:spPr/>
        <p:txBody>
          <a:bodyPr/>
          <a:lstStyle/>
          <a:p>
            <a:fld id="{469B62F1-B431-48B6-8270-02431A1685B7}" type="slidenum">
              <a:rPr lang="en-US" smtClean="0"/>
              <a:t>‹#›</a:t>
            </a:fld>
            <a:endParaRPr lang="en-US" dirty="0"/>
          </a:p>
        </p:txBody>
      </p:sp>
    </p:spTree>
    <p:extLst>
      <p:ext uri="{BB962C8B-B14F-4D97-AF65-F5344CB8AC3E}">
        <p14:creationId xmlns:p14="http://schemas.microsoft.com/office/powerpoint/2010/main" val="1323511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Rubrik 1"/>
          <p:cNvSpPr>
            <a:spLocks noGrp="1"/>
          </p:cNvSpPr>
          <p:nvPr>
            <p:ph type="title" hasCustomPrompt="1"/>
          </p:nvPr>
        </p:nvSpPr>
        <p:spPr>
          <a:xfrm>
            <a:off x="360000" y="414000"/>
            <a:ext cx="8424000" cy="360000"/>
          </a:xfrm>
        </p:spPr>
        <p:txBody>
          <a:bodyPr/>
          <a:lstStyle>
            <a:lvl1pPr>
              <a:defRPr/>
            </a:lvl1pPr>
          </a:lstStyle>
          <a:p>
            <a:r>
              <a:rPr lang="en-US" noProof="0" dirty="0"/>
              <a:t>Headline one line</a:t>
            </a:r>
          </a:p>
        </p:txBody>
      </p:sp>
      <p:sp>
        <p:nvSpPr>
          <p:cNvPr id="3" name="Platshållare för text 2"/>
          <p:cNvSpPr>
            <a:spLocks noGrp="1"/>
          </p:cNvSpPr>
          <p:nvPr>
            <p:ph type="body" idx="1" hasCustomPrompt="1"/>
          </p:nvPr>
        </p:nvSpPr>
        <p:spPr>
          <a:xfrm>
            <a:off x="360000" y="1080000"/>
            <a:ext cx="4122000" cy="270000"/>
          </a:xfrm>
        </p:spPr>
        <p:txBody>
          <a:bodyPr anchor="t">
            <a:noAutofit/>
          </a:bodyPr>
          <a:lstStyle>
            <a:lvl1pPr marL="0" indent="0">
              <a:lnSpc>
                <a:spcPct val="100000"/>
              </a:lnSpc>
              <a:buNone/>
              <a:defRPr sz="1800" b="0" cap="all" baseline="0">
                <a:solidFill>
                  <a:schemeClr val="accent2"/>
                </a:solidFill>
              </a:defRPr>
            </a:lvl1pPr>
            <a:lvl2pPr marL="457148" indent="0">
              <a:buNone/>
              <a:defRPr sz="2000" b="1"/>
            </a:lvl2pPr>
            <a:lvl3pPr marL="914296" indent="0">
              <a:buNone/>
              <a:defRPr sz="1800" b="1"/>
            </a:lvl3pPr>
            <a:lvl4pPr marL="1371444" indent="0">
              <a:buNone/>
              <a:defRPr sz="1600" b="1"/>
            </a:lvl4pPr>
            <a:lvl5pPr marL="1828592" indent="0">
              <a:buNone/>
              <a:defRPr sz="1600" b="1"/>
            </a:lvl5pPr>
            <a:lvl6pPr marL="2285740" indent="0">
              <a:buNone/>
              <a:defRPr sz="1600" b="1"/>
            </a:lvl6pPr>
            <a:lvl7pPr marL="2742888" indent="0">
              <a:buNone/>
              <a:defRPr sz="1600" b="1"/>
            </a:lvl7pPr>
            <a:lvl8pPr marL="3200036" indent="0">
              <a:buNone/>
              <a:defRPr sz="1600" b="1"/>
            </a:lvl8pPr>
            <a:lvl9pPr marL="3657184" indent="0">
              <a:buNone/>
              <a:defRPr sz="1600" b="1"/>
            </a:lvl9pPr>
          </a:lstStyle>
          <a:p>
            <a:pPr lvl="0"/>
            <a:r>
              <a:rPr lang="en-US" noProof="0" dirty="0"/>
              <a:t>Subheading</a:t>
            </a:r>
          </a:p>
        </p:txBody>
      </p:sp>
      <p:sp>
        <p:nvSpPr>
          <p:cNvPr id="4" name="Platshållare för innehåll 3"/>
          <p:cNvSpPr>
            <a:spLocks noGrp="1"/>
          </p:cNvSpPr>
          <p:nvPr>
            <p:ph sz="half" idx="2" hasCustomPrompt="1"/>
          </p:nvPr>
        </p:nvSpPr>
        <p:spPr>
          <a:xfrm>
            <a:off x="360000" y="1530000"/>
            <a:ext cx="4122000" cy="2844000"/>
          </a:xfrm>
        </p:spPr>
        <p:txBody>
          <a:bodyPr>
            <a:noAutofit/>
          </a:bodyPr>
          <a:lstStyle>
            <a:lvl1pPr>
              <a:defRPr sz="1800"/>
            </a:lvl1pPr>
            <a:lvl2pPr marL="539939" indent="-161982">
              <a:buFont typeface="Arial" panose="020B0604020202020204" pitchFamily="34" charset="0"/>
              <a:buChar char="−"/>
              <a:defRPr sz="1600"/>
            </a:lvl2pPr>
            <a:lvl3pPr>
              <a:defRPr sz="1400"/>
            </a:lvl3pPr>
            <a:lvl4pPr>
              <a:defRPr sz="1200"/>
            </a:lvl4pPr>
            <a:lvl5pPr>
              <a:defRPr sz="10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p:txBody>
      </p:sp>
      <p:sp>
        <p:nvSpPr>
          <p:cNvPr id="5" name="Platshållare för text 4"/>
          <p:cNvSpPr>
            <a:spLocks noGrp="1"/>
          </p:cNvSpPr>
          <p:nvPr>
            <p:ph type="body" sz="quarter" idx="3" hasCustomPrompt="1"/>
          </p:nvPr>
        </p:nvSpPr>
        <p:spPr>
          <a:xfrm>
            <a:off x="4662000" y="1080000"/>
            <a:ext cx="4122000" cy="270000"/>
          </a:xfrm>
        </p:spPr>
        <p:txBody>
          <a:bodyPr anchor="t">
            <a:noAutofit/>
          </a:bodyPr>
          <a:lstStyle>
            <a:lvl1pPr marL="0" indent="0">
              <a:lnSpc>
                <a:spcPct val="100000"/>
              </a:lnSpc>
              <a:buNone/>
              <a:defRPr sz="1800" b="0" cap="all" baseline="0">
                <a:solidFill>
                  <a:schemeClr val="accent2"/>
                </a:solidFill>
              </a:defRPr>
            </a:lvl1pPr>
            <a:lvl2pPr marL="457148" indent="0">
              <a:buNone/>
              <a:defRPr sz="2000" b="1"/>
            </a:lvl2pPr>
            <a:lvl3pPr marL="914296" indent="0">
              <a:buNone/>
              <a:defRPr sz="1800" b="1"/>
            </a:lvl3pPr>
            <a:lvl4pPr marL="1371444" indent="0">
              <a:buNone/>
              <a:defRPr sz="1600" b="1"/>
            </a:lvl4pPr>
            <a:lvl5pPr marL="1828592" indent="0">
              <a:buNone/>
              <a:defRPr sz="1600" b="1"/>
            </a:lvl5pPr>
            <a:lvl6pPr marL="2285740" indent="0">
              <a:buNone/>
              <a:defRPr sz="1600" b="1"/>
            </a:lvl6pPr>
            <a:lvl7pPr marL="2742888" indent="0">
              <a:buNone/>
              <a:defRPr sz="1600" b="1"/>
            </a:lvl7pPr>
            <a:lvl8pPr marL="3200036" indent="0">
              <a:buNone/>
              <a:defRPr sz="1600" b="1"/>
            </a:lvl8pPr>
            <a:lvl9pPr marL="3657184" indent="0">
              <a:buNone/>
              <a:defRPr sz="1600" b="1"/>
            </a:lvl9pPr>
          </a:lstStyle>
          <a:p>
            <a:pPr lvl="0"/>
            <a:r>
              <a:rPr lang="en-US" noProof="0" dirty="0"/>
              <a:t>Subheading</a:t>
            </a:r>
          </a:p>
        </p:txBody>
      </p:sp>
      <p:sp>
        <p:nvSpPr>
          <p:cNvPr id="6" name="Platshållare för innehåll 5"/>
          <p:cNvSpPr>
            <a:spLocks noGrp="1"/>
          </p:cNvSpPr>
          <p:nvPr>
            <p:ph sz="quarter" idx="4" hasCustomPrompt="1"/>
          </p:nvPr>
        </p:nvSpPr>
        <p:spPr>
          <a:xfrm>
            <a:off x="4662000" y="1530000"/>
            <a:ext cx="4122000" cy="2844000"/>
          </a:xfrm>
        </p:spPr>
        <p:txBody>
          <a:bodyPr>
            <a:noAutofit/>
          </a:bodyPr>
          <a:lstStyle>
            <a:lvl1pPr>
              <a:defRPr sz="1800"/>
            </a:lvl1pPr>
            <a:lvl2pPr marL="539939" indent="-161982">
              <a:buFont typeface="Arial" panose="020B0604020202020204" pitchFamily="34" charset="0"/>
              <a:buChar char="−"/>
              <a:defRPr sz="1600"/>
            </a:lvl2pPr>
            <a:lvl3pPr>
              <a:defRPr sz="1400"/>
            </a:lvl3pPr>
            <a:lvl4pPr>
              <a:defRPr sz="1200"/>
            </a:lvl4pPr>
            <a:lvl5pPr>
              <a:defRPr sz="10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p:txBody>
      </p:sp>
      <p:sp>
        <p:nvSpPr>
          <p:cNvPr id="7" name="Platshållare för datum 6"/>
          <p:cNvSpPr>
            <a:spLocks noGrp="1"/>
          </p:cNvSpPr>
          <p:nvPr>
            <p:ph type="dt" sz="half" idx="10"/>
          </p:nvPr>
        </p:nvSpPr>
        <p:spPr/>
        <p:txBody>
          <a:bodyPr/>
          <a:lstStyle/>
          <a:p>
            <a:fld id="{3BFC0077-3493-4E36-8354-3833B53CD4EF}" type="datetime1">
              <a:rPr lang="en-US" smtClean="0"/>
              <a:t>9/10/2018</a:t>
            </a:fld>
            <a:endParaRPr lang="en-US" dirty="0"/>
          </a:p>
        </p:txBody>
      </p:sp>
      <p:sp>
        <p:nvSpPr>
          <p:cNvPr id="8" name="Platshållare för sidfot 7"/>
          <p:cNvSpPr>
            <a:spLocks noGrp="1"/>
          </p:cNvSpPr>
          <p:nvPr>
            <p:ph type="ftr" sz="quarter" idx="11"/>
          </p:nvPr>
        </p:nvSpPr>
        <p:spPr/>
        <p:txBody>
          <a:bodyPr/>
          <a:lstStyle/>
          <a:p>
            <a:r>
              <a:rPr lang="en-US" dirty="0"/>
              <a:t>SANDVIK: Title of presentation</a:t>
            </a:r>
          </a:p>
        </p:txBody>
      </p:sp>
      <p:sp>
        <p:nvSpPr>
          <p:cNvPr id="9" name="Platshållare för bildnummer 8"/>
          <p:cNvSpPr>
            <a:spLocks noGrp="1"/>
          </p:cNvSpPr>
          <p:nvPr>
            <p:ph type="sldNum" sz="quarter" idx="12"/>
          </p:nvPr>
        </p:nvSpPr>
        <p:spPr/>
        <p:txBody>
          <a:bodyPr/>
          <a:lstStyle/>
          <a:p>
            <a:fld id="{469B62F1-B431-48B6-8270-02431A1685B7}" type="slidenum">
              <a:rPr lang="en-US" smtClean="0"/>
              <a:t>‹#›</a:t>
            </a:fld>
            <a:endParaRPr lang="en-US" dirty="0"/>
          </a:p>
        </p:txBody>
      </p:sp>
    </p:spTree>
    <p:extLst>
      <p:ext uri="{BB962C8B-B14F-4D97-AF65-F5344CB8AC3E}">
        <p14:creationId xmlns:p14="http://schemas.microsoft.com/office/powerpoint/2010/main" val="2752971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wo content text">
    <p:spTree>
      <p:nvGrpSpPr>
        <p:cNvPr id="1" name=""/>
        <p:cNvGrpSpPr/>
        <p:nvPr/>
      </p:nvGrpSpPr>
      <p:grpSpPr>
        <a:xfrm>
          <a:off x="0" y="0"/>
          <a:ext cx="0" cy="0"/>
          <a:chOff x="0" y="0"/>
          <a:chExt cx="0" cy="0"/>
        </a:xfrm>
      </p:grpSpPr>
      <p:sp>
        <p:nvSpPr>
          <p:cNvPr id="2" name="Rubrik 1"/>
          <p:cNvSpPr>
            <a:spLocks noGrp="1"/>
          </p:cNvSpPr>
          <p:nvPr>
            <p:ph type="title" hasCustomPrompt="1"/>
          </p:nvPr>
        </p:nvSpPr>
        <p:spPr>
          <a:xfrm>
            <a:off x="360000" y="414000"/>
            <a:ext cx="8424000" cy="360000"/>
          </a:xfrm>
        </p:spPr>
        <p:txBody>
          <a:bodyPr/>
          <a:lstStyle>
            <a:lvl1pPr>
              <a:defRPr/>
            </a:lvl1pPr>
          </a:lstStyle>
          <a:p>
            <a:r>
              <a:rPr lang="en-US" noProof="0" dirty="0"/>
              <a:t>Headline one line</a:t>
            </a:r>
          </a:p>
        </p:txBody>
      </p:sp>
      <p:sp>
        <p:nvSpPr>
          <p:cNvPr id="3" name="Platshållare för text 2"/>
          <p:cNvSpPr>
            <a:spLocks noGrp="1"/>
          </p:cNvSpPr>
          <p:nvPr>
            <p:ph type="body" idx="1" hasCustomPrompt="1"/>
          </p:nvPr>
        </p:nvSpPr>
        <p:spPr>
          <a:xfrm>
            <a:off x="360000" y="1080000"/>
            <a:ext cx="8424000" cy="270000"/>
          </a:xfrm>
        </p:spPr>
        <p:txBody>
          <a:bodyPr anchor="t">
            <a:noAutofit/>
          </a:bodyPr>
          <a:lstStyle>
            <a:lvl1pPr marL="0" indent="0">
              <a:lnSpc>
                <a:spcPct val="100000"/>
              </a:lnSpc>
              <a:buNone/>
              <a:defRPr sz="1800" b="0" cap="all" baseline="0">
                <a:solidFill>
                  <a:schemeClr val="accent2"/>
                </a:solidFill>
              </a:defRPr>
            </a:lvl1pPr>
            <a:lvl2pPr marL="457148" indent="0">
              <a:buNone/>
              <a:defRPr sz="2000" b="1"/>
            </a:lvl2pPr>
            <a:lvl3pPr marL="914296" indent="0">
              <a:buNone/>
              <a:defRPr sz="1800" b="1"/>
            </a:lvl3pPr>
            <a:lvl4pPr marL="1371444" indent="0">
              <a:buNone/>
              <a:defRPr sz="1600" b="1"/>
            </a:lvl4pPr>
            <a:lvl5pPr marL="1828592" indent="0">
              <a:buNone/>
              <a:defRPr sz="1600" b="1"/>
            </a:lvl5pPr>
            <a:lvl6pPr marL="2285740" indent="0">
              <a:buNone/>
              <a:defRPr sz="1600" b="1"/>
            </a:lvl6pPr>
            <a:lvl7pPr marL="2742888" indent="0">
              <a:buNone/>
              <a:defRPr sz="1600" b="1"/>
            </a:lvl7pPr>
            <a:lvl8pPr marL="3200036" indent="0">
              <a:buNone/>
              <a:defRPr sz="1600" b="1"/>
            </a:lvl8pPr>
            <a:lvl9pPr marL="3657184" indent="0">
              <a:buNone/>
              <a:defRPr sz="1600" b="1"/>
            </a:lvl9pPr>
          </a:lstStyle>
          <a:p>
            <a:pPr lvl="0"/>
            <a:r>
              <a:rPr lang="en-US" noProof="0" dirty="0"/>
              <a:t>Subheading</a:t>
            </a:r>
          </a:p>
        </p:txBody>
      </p:sp>
      <p:sp>
        <p:nvSpPr>
          <p:cNvPr id="7" name="Platshållare för datum 6"/>
          <p:cNvSpPr>
            <a:spLocks noGrp="1"/>
          </p:cNvSpPr>
          <p:nvPr>
            <p:ph type="dt" sz="half" idx="10"/>
          </p:nvPr>
        </p:nvSpPr>
        <p:spPr/>
        <p:txBody>
          <a:bodyPr/>
          <a:lstStyle/>
          <a:p>
            <a:fld id="{6715932F-B69C-4BB0-8584-8D9CB8E2177D}" type="datetime1">
              <a:rPr lang="en-US" smtClean="0"/>
              <a:t>9/10/2018</a:t>
            </a:fld>
            <a:endParaRPr lang="en-US" dirty="0"/>
          </a:p>
        </p:txBody>
      </p:sp>
      <p:sp>
        <p:nvSpPr>
          <p:cNvPr id="8" name="Platshållare för sidfot 7"/>
          <p:cNvSpPr>
            <a:spLocks noGrp="1"/>
          </p:cNvSpPr>
          <p:nvPr>
            <p:ph type="ftr" sz="quarter" idx="11"/>
          </p:nvPr>
        </p:nvSpPr>
        <p:spPr/>
        <p:txBody>
          <a:bodyPr/>
          <a:lstStyle/>
          <a:p>
            <a:r>
              <a:rPr lang="en-US" dirty="0"/>
              <a:t>SANDVIK: Title of presentation</a:t>
            </a:r>
          </a:p>
        </p:txBody>
      </p:sp>
      <p:sp>
        <p:nvSpPr>
          <p:cNvPr id="9" name="Platshållare för bildnummer 8"/>
          <p:cNvSpPr>
            <a:spLocks noGrp="1"/>
          </p:cNvSpPr>
          <p:nvPr>
            <p:ph type="sldNum" sz="quarter" idx="12"/>
          </p:nvPr>
        </p:nvSpPr>
        <p:spPr/>
        <p:txBody>
          <a:bodyPr/>
          <a:lstStyle/>
          <a:p>
            <a:fld id="{469B62F1-B431-48B6-8270-02431A1685B7}" type="slidenum">
              <a:rPr lang="en-US" smtClean="0"/>
              <a:t>‹#›</a:t>
            </a:fld>
            <a:endParaRPr lang="en-US" dirty="0"/>
          </a:p>
        </p:txBody>
      </p:sp>
      <p:sp>
        <p:nvSpPr>
          <p:cNvPr id="11" name="Platshållare för text 10"/>
          <p:cNvSpPr>
            <a:spLocks noGrp="1"/>
          </p:cNvSpPr>
          <p:nvPr>
            <p:ph type="body" sz="quarter" idx="13" hasCustomPrompt="1"/>
          </p:nvPr>
        </p:nvSpPr>
        <p:spPr>
          <a:xfrm>
            <a:off x="360000" y="1530000"/>
            <a:ext cx="4122000" cy="2844000"/>
          </a:xfrm>
        </p:spPr>
        <p:txBody>
          <a:bodyPr/>
          <a:lstStyle>
            <a:lvl2pPr marL="539939" indent="-161982">
              <a:buFont typeface="Arial" panose="020B0604020202020204" pitchFamily="34" charset="0"/>
              <a:buChar char="−"/>
              <a:defRPr/>
            </a:lvl2pPr>
          </a:lstStyle>
          <a:p>
            <a:pPr lvl="0"/>
            <a:r>
              <a:rPr lang="en-US" dirty="0"/>
              <a:t>Click to edit Master text styles</a:t>
            </a:r>
          </a:p>
          <a:p>
            <a:pPr lvl="1"/>
            <a:r>
              <a:rPr lang="en-US" dirty="0"/>
              <a:t>Second level</a:t>
            </a:r>
          </a:p>
        </p:txBody>
      </p:sp>
      <p:sp>
        <p:nvSpPr>
          <p:cNvPr id="13" name="Platshållare för text 12"/>
          <p:cNvSpPr>
            <a:spLocks noGrp="1"/>
          </p:cNvSpPr>
          <p:nvPr>
            <p:ph type="body" sz="quarter" idx="14" hasCustomPrompt="1"/>
          </p:nvPr>
        </p:nvSpPr>
        <p:spPr>
          <a:xfrm>
            <a:off x="4662000" y="1530000"/>
            <a:ext cx="4122000" cy="2844000"/>
          </a:xfrm>
        </p:spPr>
        <p:txBody>
          <a:bodyPr/>
          <a:lstStyle>
            <a:lvl2pPr marL="539939" indent="-161982">
              <a:buFont typeface="Arial" panose="020B0604020202020204" pitchFamily="34" charset="0"/>
              <a:buChar char="−"/>
              <a:defRPr/>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921489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4 pictures">
    <p:spTree>
      <p:nvGrpSpPr>
        <p:cNvPr id="1" name=""/>
        <p:cNvGrpSpPr/>
        <p:nvPr/>
      </p:nvGrpSpPr>
      <p:grpSpPr>
        <a:xfrm>
          <a:off x="0" y="0"/>
          <a:ext cx="0" cy="0"/>
          <a:chOff x="0" y="0"/>
          <a:chExt cx="0" cy="0"/>
        </a:xfrm>
      </p:grpSpPr>
      <p:sp>
        <p:nvSpPr>
          <p:cNvPr id="2" name="Rubrik 1"/>
          <p:cNvSpPr>
            <a:spLocks noGrp="1"/>
          </p:cNvSpPr>
          <p:nvPr>
            <p:ph type="title" hasCustomPrompt="1"/>
          </p:nvPr>
        </p:nvSpPr>
        <p:spPr>
          <a:xfrm>
            <a:off x="360000" y="414000"/>
            <a:ext cx="4122000" cy="900000"/>
          </a:xfrm>
        </p:spPr>
        <p:txBody>
          <a:bodyPr/>
          <a:lstStyle>
            <a:lvl1pPr>
              <a:defRPr/>
            </a:lvl1pPr>
          </a:lstStyle>
          <a:p>
            <a:r>
              <a:rPr lang="en-US" noProof="0" dirty="0"/>
              <a:t>Headline over</a:t>
            </a:r>
            <a:br>
              <a:rPr lang="en-US" noProof="0" dirty="0"/>
            </a:br>
            <a:r>
              <a:rPr lang="en-US" noProof="0" dirty="0"/>
              <a:t>two lines</a:t>
            </a:r>
          </a:p>
        </p:txBody>
      </p:sp>
      <p:sp>
        <p:nvSpPr>
          <p:cNvPr id="3" name="Platshållare för text 2"/>
          <p:cNvSpPr>
            <a:spLocks noGrp="1"/>
          </p:cNvSpPr>
          <p:nvPr>
            <p:ph type="body" idx="1" hasCustomPrompt="1"/>
          </p:nvPr>
        </p:nvSpPr>
        <p:spPr>
          <a:xfrm>
            <a:off x="360000" y="1440000"/>
            <a:ext cx="4122000" cy="270000"/>
          </a:xfrm>
        </p:spPr>
        <p:txBody>
          <a:bodyPr anchor="t">
            <a:noAutofit/>
          </a:bodyPr>
          <a:lstStyle>
            <a:lvl1pPr marL="0" indent="0">
              <a:lnSpc>
                <a:spcPct val="100000"/>
              </a:lnSpc>
              <a:buNone/>
              <a:defRPr sz="1800" b="0" cap="all" baseline="0">
                <a:solidFill>
                  <a:schemeClr val="accent2"/>
                </a:solidFill>
              </a:defRPr>
            </a:lvl1pPr>
            <a:lvl2pPr marL="457148" indent="0">
              <a:buNone/>
              <a:defRPr sz="2000" b="1"/>
            </a:lvl2pPr>
            <a:lvl3pPr marL="914296" indent="0">
              <a:buNone/>
              <a:defRPr sz="1800" b="1"/>
            </a:lvl3pPr>
            <a:lvl4pPr marL="1371444" indent="0">
              <a:buNone/>
              <a:defRPr sz="1600" b="1"/>
            </a:lvl4pPr>
            <a:lvl5pPr marL="1828592" indent="0">
              <a:buNone/>
              <a:defRPr sz="1600" b="1"/>
            </a:lvl5pPr>
            <a:lvl6pPr marL="2285740" indent="0">
              <a:buNone/>
              <a:defRPr sz="1600" b="1"/>
            </a:lvl6pPr>
            <a:lvl7pPr marL="2742888" indent="0">
              <a:buNone/>
              <a:defRPr sz="1600" b="1"/>
            </a:lvl7pPr>
            <a:lvl8pPr marL="3200036" indent="0">
              <a:buNone/>
              <a:defRPr sz="1600" b="1"/>
            </a:lvl8pPr>
            <a:lvl9pPr marL="3657184" indent="0">
              <a:buNone/>
              <a:defRPr sz="1600" b="1"/>
            </a:lvl9pPr>
          </a:lstStyle>
          <a:p>
            <a:pPr lvl="0"/>
            <a:r>
              <a:rPr lang="en-US" noProof="0" dirty="0"/>
              <a:t>Subheading (if needed)</a:t>
            </a:r>
          </a:p>
        </p:txBody>
      </p:sp>
      <p:sp>
        <p:nvSpPr>
          <p:cNvPr id="7" name="Platshållare för datum 6"/>
          <p:cNvSpPr>
            <a:spLocks noGrp="1"/>
          </p:cNvSpPr>
          <p:nvPr>
            <p:ph type="dt" sz="half" idx="10"/>
          </p:nvPr>
        </p:nvSpPr>
        <p:spPr/>
        <p:txBody>
          <a:bodyPr/>
          <a:lstStyle/>
          <a:p>
            <a:fld id="{22B2939B-B46D-4CD6-860D-D01AABEBC57B}" type="datetime1">
              <a:rPr lang="en-US" smtClean="0"/>
              <a:t>9/10/2018</a:t>
            </a:fld>
            <a:endParaRPr lang="en-US" dirty="0"/>
          </a:p>
        </p:txBody>
      </p:sp>
      <p:sp>
        <p:nvSpPr>
          <p:cNvPr id="8" name="Platshållare för sidfot 7"/>
          <p:cNvSpPr>
            <a:spLocks noGrp="1"/>
          </p:cNvSpPr>
          <p:nvPr>
            <p:ph type="ftr" sz="quarter" idx="11"/>
          </p:nvPr>
        </p:nvSpPr>
        <p:spPr/>
        <p:txBody>
          <a:bodyPr/>
          <a:lstStyle/>
          <a:p>
            <a:r>
              <a:rPr lang="en-US" dirty="0"/>
              <a:t>SANDVIK: Title of presentation</a:t>
            </a:r>
          </a:p>
        </p:txBody>
      </p:sp>
      <p:sp>
        <p:nvSpPr>
          <p:cNvPr id="9" name="Platshållare för bildnummer 8"/>
          <p:cNvSpPr>
            <a:spLocks noGrp="1"/>
          </p:cNvSpPr>
          <p:nvPr>
            <p:ph type="sldNum" sz="quarter" idx="12"/>
          </p:nvPr>
        </p:nvSpPr>
        <p:spPr/>
        <p:txBody>
          <a:bodyPr/>
          <a:lstStyle/>
          <a:p>
            <a:fld id="{469B62F1-B431-48B6-8270-02431A1685B7}" type="slidenum">
              <a:rPr lang="en-US" smtClean="0"/>
              <a:t>‹#›</a:t>
            </a:fld>
            <a:endParaRPr lang="en-US" dirty="0"/>
          </a:p>
        </p:txBody>
      </p:sp>
      <p:sp>
        <p:nvSpPr>
          <p:cNvPr id="11" name="Platshållare för text 10"/>
          <p:cNvSpPr>
            <a:spLocks noGrp="1"/>
          </p:cNvSpPr>
          <p:nvPr>
            <p:ph type="body" sz="quarter" idx="13" hasCustomPrompt="1"/>
          </p:nvPr>
        </p:nvSpPr>
        <p:spPr>
          <a:xfrm>
            <a:off x="360000" y="1890000"/>
            <a:ext cx="4122000" cy="2484000"/>
          </a:xfrm>
        </p:spPr>
        <p:txBody>
          <a:bodyPr/>
          <a:lstStyle>
            <a:lvl2pPr marL="539939" indent="-161982">
              <a:buFont typeface="Arial" panose="020B0604020202020204" pitchFamily="34" charset="0"/>
              <a:buChar char="−"/>
              <a:defRPr/>
            </a:lvl2pPr>
          </a:lstStyle>
          <a:p>
            <a:pPr lvl="0"/>
            <a:r>
              <a:rPr lang="en-US" dirty="0"/>
              <a:t>Click to edit Master text styles</a:t>
            </a:r>
          </a:p>
          <a:p>
            <a:pPr lvl="1"/>
            <a:r>
              <a:rPr lang="en-US" dirty="0"/>
              <a:t>Second level</a:t>
            </a:r>
          </a:p>
        </p:txBody>
      </p:sp>
      <p:sp>
        <p:nvSpPr>
          <p:cNvPr id="5" name="Picture Placeholder 4"/>
          <p:cNvSpPr>
            <a:spLocks noGrp="1"/>
          </p:cNvSpPr>
          <p:nvPr>
            <p:ph type="pic" sz="quarter" idx="23"/>
          </p:nvPr>
        </p:nvSpPr>
        <p:spPr>
          <a:xfrm>
            <a:off x="6814801" y="2484000"/>
            <a:ext cx="1971675" cy="1890000"/>
          </a:xfrm>
        </p:spPr>
        <p:txBody>
          <a:bodyPr/>
          <a:lstStyle>
            <a:lvl1pPr marL="0" indent="0">
              <a:buNone/>
              <a:defRPr/>
            </a:lvl1pPr>
          </a:lstStyle>
          <a:p>
            <a:r>
              <a:rPr lang="en-US"/>
              <a:t>Click icon to add picture</a:t>
            </a:r>
            <a:endParaRPr lang="sv-SE" dirty="0"/>
          </a:p>
        </p:txBody>
      </p:sp>
      <p:sp>
        <p:nvSpPr>
          <p:cNvPr id="14" name="Picture Placeholder 4"/>
          <p:cNvSpPr>
            <a:spLocks noGrp="1"/>
          </p:cNvSpPr>
          <p:nvPr>
            <p:ph type="pic" sz="quarter" idx="24"/>
          </p:nvPr>
        </p:nvSpPr>
        <p:spPr>
          <a:xfrm>
            <a:off x="6814801" y="414000"/>
            <a:ext cx="1971675" cy="1890000"/>
          </a:xfrm>
        </p:spPr>
        <p:txBody>
          <a:bodyPr/>
          <a:lstStyle>
            <a:lvl1pPr marL="0" indent="0">
              <a:buNone/>
              <a:defRPr/>
            </a:lvl1pPr>
          </a:lstStyle>
          <a:p>
            <a:r>
              <a:rPr lang="en-US"/>
              <a:t>Click icon to add picture</a:t>
            </a:r>
            <a:endParaRPr lang="sv-SE" dirty="0"/>
          </a:p>
        </p:txBody>
      </p:sp>
      <p:sp>
        <p:nvSpPr>
          <p:cNvPr id="15" name="Picture Placeholder 4"/>
          <p:cNvSpPr>
            <a:spLocks noGrp="1"/>
          </p:cNvSpPr>
          <p:nvPr>
            <p:ph type="pic" sz="quarter" idx="25"/>
          </p:nvPr>
        </p:nvSpPr>
        <p:spPr>
          <a:xfrm>
            <a:off x="4662000" y="2484000"/>
            <a:ext cx="1972800" cy="1890000"/>
          </a:xfrm>
        </p:spPr>
        <p:txBody>
          <a:bodyPr/>
          <a:lstStyle>
            <a:lvl1pPr marL="0" indent="0">
              <a:buNone/>
              <a:defRPr/>
            </a:lvl1pPr>
          </a:lstStyle>
          <a:p>
            <a:r>
              <a:rPr lang="en-US"/>
              <a:t>Click icon to add picture</a:t>
            </a:r>
            <a:endParaRPr lang="sv-SE" dirty="0"/>
          </a:p>
        </p:txBody>
      </p:sp>
      <p:sp>
        <p:nvSpPr>
          <p:cNvPr id="16" name="Picture Placeholder 4"/>
          <p:cNvSpPr>
            <a:spLocks noGrp="1"/>
          </p:cNvSpPr>
          <p:nvPr>
            <p:ph type="pic" sz="quarter" idx="26"/>
          </p:nvPr>
        </p:nvSpPr>
        <p:spPr>
          <a:xfrm>
            <a:off x="4662000" y="412650"/>
            <a:ext cx="1972800" cy="1890000"/>
          </a:xfrm>
        </p:spPr>
        <p:txBody>
          <a:bodyPr/>
          <a:lstStyle>
            <a:lvl1pPr marL="0" indent="0">
              <a:buNone/>
              <a:defRPr/>
            </a:lvl1pPr>
          </a:lstStyle>
          <a:p>
            <a:r>
              <a:rPr lang="en-US"/>
              <a:t>Click icon to add picture</a:t>
            </a:r>
            <a:endParaRPr lang="sv-SE" dirty="0"/>
          </a:p>
        </p:txBody>
      </p:sp>
    </p:spTree>
    <p:extLst>
      <p:ext uri="{BB962C8B-B14F-4D97-AF65-F5344CB8AC3E}">
        <p14:creationId xmlns:p14="http://schemas.microsoft.com/office/powerpoint/2010/main" val="28554533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 pictures">
    <p:spTree>
      <p:nvGrpSpPr>
        <p:cNvPr id="1" name=""/>
        <p:cNvGrpSpPr/>
        <p:nvPr/>
      </p:nvGrpSpPr>
      <p:grpSpPr>
        <a:xfrm>
          <a:off x="0" y="0"/>
          <a:ext cx="0" cy="0"/>
          <a:chOff x="0" y="0"/>
          <a:chExt cx="0" cy="0"/>
        </a:xfrm>
      </p:grpSpPr>
      <p:sp>
        <p:nvSpPr>
          <p:cNvPr id="2" name="Rubrik 1"/>
          <p:cNvSpPr>
            <a:spLocks noGrp="1"/>
          </p:cNvSpPr>
          <p:nvPr>
            <p:ph type="title" hasCustomPrompt="1"/>
          </p:nvPr>
        </p:nvSpPr>
        <p:spPr>
          <a:xfrm>
            <a:off x="360000" y="414000"/>
            <a:ext cx="4122000" cy="900000"/>
          </a:xfrm>
        </p:spPr>
        <p:txBody>
          <a:bodyPr/>
          <a:lstStyle>
            <a:lvl1pPr>
              <a:defRPr/>
            </a:lvl1pPr>
          </a:lstStyle>
          <a:p>
            <a:r>
              <a:rPr lang="en-US" noProof="0" dirty="0"/>
              <a:t>Headline over</a:t>
            </a:r>
            <a:br>
              <a:rPr lang="en-US" noProof="0" dirty="0"/>
            </a:br>
            <a:r>
              <a:rPr lang="en-US" noProof="0" dirty="0"/>
              <a:t>two lines</a:t>
            </a:r>
          </a:p>
        </p:txBody>
      </p:sp>
      <p:sp>
        <p:nvSpPr>
          <p:cNvPr id="3" name="Platshållare för text 2"/>
          <p:cNvSpPr>
            <a:spLocks noGrp="1"/>
          </p:cNvSpPr>
          <p:nvPr>
            <p:ph type="body" idx="1" hasCustomPrompt="1"/>
          </p:nvPr>
        </p:nvSpPr>
        <p:spPr>
          <a:xfrm>
            <a:off x="360000" y="1440000"/>
            <a:ext cx="4122000" cy="270000"/>
          </a:xfrm>
        </p:spPr>
        <p:txBody>
          <a:bodyPr anchor="t">
            <a:noAutofit/>
          </a:bodyPr>
          <a:lstStyle>
            <a:lvl1pPr marL="0" indent="0">
              <a:lnSpc>
                <a:spcPct val="100000"/>
              </a:lnSpc>
              <a:buNone/>
              <a:defRPr sz="1800" b="0" cap="all" baseline="0">
                <a:solidFill>
                  <a:schemeClr val="accent2"/>
                </a:solidFill>
              </a:defRPr>
            </a:lvl1pPr>
            <a:lvl2pPr marL="457148" indent="0">
              <a:buNone/>
              <a:defRPr sz="2000" b="1"/>
            </a:lvl2pPr>
            <a:lvl3pPr marL="914296" indent="0">
              <a:buNone/>
              <a:defRPr sz="1800" b="1"/>
            </a:lvl3pPr>
            <a:lvl4pPr marL="1371444" indent="0">
              <a:buNone/>
              <a:defRPr sz="1600" b="1"/>
            </a:lvl4pPr>
            <a:lvl5pPr marL="1828592" indent="0">
              <a:buNone/>
              <a:defRPr sz="1600" b="1"/>
            </a:lvl5pPr>
            <a:lvl6pPr marL="2285740" indent="0">
              <a:buNone/>
              <a:defRPr sz="1600" b="1"/>
            </a:lvl6pPr>
            <a:lvl7pPr marL="2742888" indent="0">
              <a:buNone/>
              <a:defRPr sz="1600" b="1"/>
            </a:lvl7pPr>
            <a:lvl8pPr marL="3200036" indent="0">
              <a:buNone/>
              <a:defRPr sz="1600" b="1"/>
            </a:lvl8pPr>
            <a:lvl9pPr marL="3657184" indent="0">
              <a:buNone/>
              <a:defRPr sz="1600" b="1"/>
            </a:lvl9pPr>
          </a:lstStyle>
          <a:p>
            <a:pPr lvl="0"/>
            <a:r>
              <a:rPr lang="en-US" noProof="0" dirty="0"/>
              <a:t>Subheading (if needed)</a:t>
            </a:r>
          </a:p>
        </p:txBody>
      </p:sp>
      <p:sp>
        <p:nvSpPr>
          <p:cNvPr id="7" name="Platshållare för datum 6"/>
          <p:cNvSpPr>
            <a:spLocks noGrp="1"/>
          </p:cNvSpPr>
          <p:nvPr>
            <p:ph type="dt" sz="half" idx="10"/>
          </p:nvPr>
        </p:nvSpPr>
        <p:spPr/>
        <p:txBody>
          <a:bodyPr/>
          <a:lstStyle/>
          <a:p>
            <a:fld id="{728B4D1C-A571-4AE7-A009-B4F4C6620154}" type="datetime1">
              <a:rPr lang="en-US" smtClean="0"/>
              <a:t>9/10/2018</a:t>
            </a:fld>
            <a:endParaRPr lang="en-US" dirty="0"/>
          </a:p>
        </p:txBody>
      </p:sp>
      <p:sp>
        <p:nvSpPr>
          <p:cNvPr id="8" name="Platshållare för sidfot 7"/>
          <p:cNvSpPr>
            <a:spLocks noGrp="1"/>
          </p:cNvSpPr>
          <p:nvPr>
            <p:ph type="ftr" sz="quarter" idx="11"/>
          </p:nvPr>
        </p:nvSpPr>
        <p:spPr/>
        <p:txBody>
          <a:bodyPr/>
          <a:lstStyle/>
          <a:p>
            <a:r>
              <a:rPr lang="en-US" dirty="0"/>
              <a:t>SANDVIK: Title of presentation</a:t>
            </a:r>
          </a:p>
        </p:txBody>
      </p:sp>
      <p:sp>
        <p:nvSpPr>
          <p:cNvPr id="9" name="Platshållare för bildnummer 8"/>
          <p:cNvSpPr>
            <a:spLocks noGrp="1"/>
          </p:cNvSpPr>
          <p:nvPr>
            <p:ph type="sldNum" sz="quarter" idx="12"/>
          </p:nvPr>
        </p:nvSpPr>
        <p:spPr/>
        <p:txBody>
          <a:bodyPr/>
          <a:lstStyle/>
          <a:p>
            <a:fld id="{469B62F1-B431-48B6-8270-02431A1685B7}" type="slidenum">
              <a:rPr lang="en-US" smtClean="0"/>
              <a:t>‹#›</a:t>
            </a:fld>
            <a:endParaRPr lang="en-US" dirty="0"/>
          </a:p>
        </p:txBody>
      </p:sp>
      <p:sp>
        <p:nvSpPr>
          <p:cNvPr id="11" name="Platshållare för text 10"/>
          <p:cNvSpPr>
            <a:spLocks noGrp="1"/>
          </p:cNvSpPr>
          <p:nvPr>
            <p:ph type="body" sz="quarter" idx="13" hasCustomPrompt="1"/>
          </p:nvPr>
        </p:nvSpPr>
        <p:spPr>
          <a:xfrm>
            <a:off x="360000" y="1890000"/>
            <a:ext cx="4122000" cy="2484000"/>
          </a:xfrm>
        </p:spPr>
        <p:txBody>
          <a:bodyPr/>
          <a:lstStyle>
            <a:lvl2pPr marL="539939" indent="-161982">
              <a:buFont typeface="Arial" panose="020B0604020202020204" pitchFamily="34" charset="0"/>
              <a:buChar char="−"/>
              <a:defRPr/>
            </a:lvl2pPr>
          </a:lstStyle>
          <a:p>
            <a:pPr lvl="0"/>
            <a:r>
              <a:rPr lang="en-US" dirty="0"/>
              <a:t>Click to edit Master text styles</a:t>
            </a:r>
          </a:p>
          <a:p>
            <a:pPr lvl="1"/>
            <a:r>
              <a:rPr lang="en-US" dirty="0"/>
              <a:t>Second level</a:t>
            </a:r>
          </a:p>
        </p:txBody>
      </p:sp>
      <p:sp>
        <p:nvSpPr>
          <p:cNvPr id="5" name="Picture Placeholder 4"/>
          <p:cNvSpPr>
            <a:spLocks noGrp="1"/>
          </p:cNvSpPr>
          <p:nvPr>
            <p:ph type="pic" sz="quarter" idx="23"/>
          </p:nvPr>
        </p:nvSpPr>
        <p:spPr>
          <a:xfrm>
            <a:off x="4662000" y="414000"/>
            <a:ext cx="4122000" cy="1890000"/>
          </a:xfrm>
        </p:spPr>
        <p:txBody>
          <a:bodyPr/>
          <a:lstStyle>
            <a:lvl1pPr marL="0" indent="0">
              <a:buNone/>
              <a:defRPr/>
            </a:lvl1pPr>
          </a:lstStyle>
          <a:p>
            <a:r>
              <a:rPr lang="en-US" noProof="0"/>
              <a:t>Click icon to add picture</a:t>
            </a:r>
            <a:endParaRPr lang="en-US" noProof="0" dirty="0"/>
          </a:p>
        </p:txBody>
      </p:sp>
      <p:sp>
        <p:nvSpPr>
          <p:cNvPr id="10" name="Picture Placeholder 9"/>
          <p:cNvSpPr>
            <a:spLocks noGrp="1"/>
          </p:cNvSpPr>
          <p:nvPr>
            <p:ph type="pic" sz="quarter" idx="24"/>
          </p:nvPr>
        </p:nvSpPr>
        <p:spPr>
          <a:xfrm>
            <a:off x="4662001" y="2484000"/>
            <a:ext cx="1971675" cy="1890000"/>
          </a:xfrm>
        </p:spPr>
        <p:txBody>
          <a:bodyPr/>
          <a:lstStyle>
            <a:lvl1pPr marL="0" indent="0">
              <a:buNone/>
              <a:defRPr/>
            </a:lvl1pPr>
          </a:lstStyle>
          <a:p>
            <a:r>
              <a:rPr lang="en-US" noProof="0"/>
              <a:t>Click icon to add picture</a:t>
            </a:r>
            <a:endParaRPr lang="en-US" noProof="0" dirty="0"/>
          </a:p>
        </p:txBody>
      </p:sp>
      <p:sp>
        <p:nvSpPr>
          <p:cNvPr id="13" name="Picture Placeholder 12"/>
          <p:cNvSpPr>
            <a:spLocks noGrp="1"/>
          </p:cNvSpPr>
          <p:nvPr>
            <p:ph type="pic" sz="quarter" idx="25"/>
          </p:nvPr>
        </p:nvSpPr>
        <p:spPr>
          <a:xfrm>
            <a:off x="6814801" y="2484000"/>
            <a:ext cx="1971675" cy="1890000"/>
          </a:xfrm>
        </p:spPr>
        <p:txBody>
          <a:bodyPr/>
          <a:lstStyle>
            <a:lvl1pPr marL="0" indent="0">
              <a:buNone/>
              <a:defRPr/>
            </a:lvl1pPr>
          </a:lstStyle>
          <a:p>
            <a:r>
              <a:rPr lang="en-US" noProof="0"/>
              <a:t>Click icon to add picture</a:t>
            </a:r>
            <a:endParaRPr lang="en-US" noProof="0" dirty="0"/>
          </a:p>
        </p:txBody>
      </p:sp>
    </p:spTree>
    <p:extLst>
      <p:ext uri="{BB962C8B-B14F-4D97-AF65-F5344CB8AC3E}">
        <p14:creationId xmlns:p14="http://schemas.microsoft.com/office/powerpoint/2010/main" val="16451440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 pictures">
    <p:spTree>
      <p:nvGrpSpPr>
        <p:cNvPr id="1" name=""/>
        <p:cNvGrpSpPr/>
        <p:nvPr/>
      </p:nvGrpSpPr>
      <p:grpSpPr>
        <a:xfrm>
          <a:off x="0" y="0"/>
          <a:ext cx="0" cy="0"/>
          <a:chOff x="0" y="0"/>
          <a:chExt cx="0" cy="0"/>
        </a:xfrm>
      </p:grpSpPr>
      <p:sp>
        <p:nvSpPr>
          <p:cNvPr id="2" name="Rubrik 1"/>
          <p:cNvSpPr>
            <a:spLocks noGrp="1"/>
          </p:cNvSpPr>
          <p:nvPr>
            <p:ph type="title" hasCustomPrompt="1"/>
          </p:nvPr>
        </p:nvSpPr>
        <p:spPr>
          <a:xfrm>
            <a:off x="360000" y="414000"/>
            <a:ext cx="4122000" cy="900000"/>
          </a:xfrm>
        </p:spPr>
        <p:txBody>
          <a:bodyPr/>
          <a:lstStyle>
            <a:lvl1pPr>
              <a:defRPr/>
            </a:lvl1pPr>
          </a:lstStyle>
          <a:p>
            <a:r>
              <a:rPr lang="en-US" noProof="0" dirty="0"/>
              <a:t>Headline over</a:t>
            </a:r>
            <a:br>
              <a:rPr lang="en-US" noProof="0" dirty="0"/>
            </a:br>
            <a:r>
              <a:rPr lang="en-US" noProof="0" dirty="0"/>
              <a:t>two lines</a:t>
            </a:r>
          </a:p>
        </p:txBody>
      </p:sp>
      <p:sp>
        <p:nvSpPr>
          <p:cNvPr id="3" name="Platshållare för text 2"/>
          <p:cNvSpPr>
            <a:spLocks noGrp="1"/>
          </p:cNvSpPr>
          <p:nvPr>
            <p:ph type="body" idx="1" hasCustomPrompt="1"/>
          </p:nvPr>
        </p:nvSpPr>
        <p:spPr>
          <a:xfrm>
            <a:off x="360000" y="1440000"/>
            <a:ext cx="4122000" cy="270000"/>
          </a:xfrm>
        </p:spPr>
        <p:txBody>
          <a:bodyPr anchor="t">
            <a:noAutofit/>
          </a:bodyPr>
          <a:lstStyle>
            <a:lvl1pPr marL="0" indent="0">
              <a:lnSpc>
                <a:spcPct val="100000"/>
              </a:lnSpc>
              <a:buNone/>
              <a:defRPr sz="1800" b="0" cap="all" baseline="0">
                <a:solidFill>
                  <a:schemeClr val="accent2"/>
                </a:solidFill>
              </a:defRPr>
            </a:lvl1pPr>
            <a:lvl2pPr marL="457148" indent="0">
              <a:buNone/>
              <a:defRPr sz="2000" b="1"/>
            </a:lvl2pPr>
            <a:lvl3pPr marL="914296" indent="0">
              <a:buNone/>
              <a:defRPr sz="1800" b="1"/>
            </a:lvl3pPr>
            <a:lvl4pPr marL="1371444" indent="0">
              <a:buNone/>
              <a:defRPr sz="1600" b="1"/>
            </a:lvl4pPr>
            <a:lvl5pPr marL="1828592" indent="0">
              <a:buNone/>
              <a:defRPr sz="1600" b="1"/>
            </a:lvl5pPr>
            <a:lvl6pPr marL="2285740" indent="0">
              <a:buNone/>
              <a:defRPr sz="1600" b="1"/>
            </a:lvl6pPr>
            <a:lvl7pPr marL="2742888" indent="0">
              <a:buNone/>
              <a:defRPr sz="1600" b="1"/>
            </a:lvl7pPr>
            <a:lvl8pPr marL="3200036" indent="0">
              <a:buNone/>
              <a:defRPr sz="1600" b="1"/>
            </a:lvl8pPr>
            <a:lvl9pPr marL="3657184" indent="0">
              <a:buNone/>
              <a:defRPr sz="1600" b="1"/>
            </a:lvl9pPr>
          </a:lstStyle>
          <a:p>
            <a:pPr lvl="0"/>
            <a:r>
              <a:rPr lang="en-US" noProof="0" dirty="0"/>
              <a:t>Subheading (if needed)</a:t>
            </a:r>
          </a:p>
        </p:txBody>
      </p:sp>
      <p:sp>
        <p:nvSpPr>
          <p:cNvPr id="7" name="Platshållare för datum 6"/>
          <p:cNvSpPr>
            <a:spLocks noGrp="1"/>
          </p:cNvSpPr>
          <p:nvPr>
            <p:ph type="dt" sz="half" idx="10"/>
          </p:nvPr>
        </p:nvSpPr>
        <p:spPr/>
        <p:txBody>
          <a:bodyPr/>
          <a:lstStyle/>
          <a:p>
            <a:fld id="{9BCB198D-49D3-423D-A640-A92B0BCA9AA3}" type="datetime1">
              <a:rPr lang="en-US" smtClean="0"/>
              <a:t>9/10/2018</a:t>
            </a:fld>
            <a:endParaRPr lang="en-US" dirty="0"/>
          </a:p>
        </p:txBody>
      </p:sp>
      <p:sp>
        <p:nvSpPr>
          <p:cNvPr id="8" name="Platshållare för sidfot 7"/>
          <p:cNvSpPr>
            <a:spLocks noGrp="1"/>
          </p:cNvSpPr>
          <p:nvPr>
            <p:ph type="ftr" sz="quarter" idx="11"/>
          </p:nvPr>
        </p:nvSpPr>
        <p:spPr/>
        <p:txBody>
          <a:bodyPr/>
          <a:lstStyle/>
          <a:p>
            <a:r>
              <a:rPr lang="en-US" dirty="0"/>
              <a:t>SANDVIK: Title of presentation</a:t>
            </a:r>
          </a:p>
        </p:txBody>
      </p:sp>
      <p:sp>
        <p:nvSpPr>
          <p:cNvPr id="9" name="Platshållare för bildnummer 8"/>
          <p:cNvSpPr>
            <a:spLocks noGrp="1"/>
          </p:cNvSpPr>
          <p:nvPr>
            <p:ph type="sldNum" sz="quarter" idx="12"/>
          </p:nvPr>
        </p:nvSpPr>
        <p:spPr/>
        <p:txBody>
          <a:bodyPr/>
          <a:lstStyle/>
          <a:p>
            <a:fld id="{469B62F1-B431-48B6-8270-02431A1685B7}" type="slidenum">
              <a:rPr lang="en-US" smtClean="0"/>
              <a:t>‹#›</a:t>
            </a:fld>
            <a:endParaRPr lang="en-US" dirty="0"/>
          </a:p>
        </p:txBody>
      </p:sp>
      <p:sp>
        <p:nvSpPr>
          <p:cNvPr id="11" name="Platshållare för text 10"/>
          <p:cNvSpPr>
            <a:spLocks noGrp="1"/>
          </p:cNvSpPr>
          <p:nvPr>
            <p:ph type="body" sz="quarter" idx="13" hasCustomPrompt="1"/>
          </p:nvPr>
        </p:nvSpPr>
        <p:spPr>
          <a:xfrm>
            <a:off x="360000" y="1890000"/>
            <a:ext cx="4122000" cy="2484000"/>
          </a:xfrm>
        </p:spPr>
        <p:txBody>
          <a:bodyPr/>
          <a:lstStyle>
            <a:lvl2pPr marL="539939" indent="-161982">
              <a:buFont typeface="Arial" panose="020B0604020202020204" pitchFamily="34" charset="0"/>
              <a:buChar char="−"/>
              <a:defRPr/>
            </a:lvl2pPr>
          </a:lstStyle>
          <a:p>
            <a:pPr lvl="0"/>
            <a:r>
              <a:rPr lang="en-US" dirty="0"/>
              <a:t>Click to edit Master text styles</a:t>
            </a:r>
          </a:p>
          <a:p>
            <a:pPr lvl="1"/>
            <a:r>
              <a:rPr lang="en-US" dirty="0"/>
              <a:t>Second level</a:t>
            </a:r>
          </a:p>
        </p:txBody>
      </p:sp>
      <p:sp>
        <p:nvSpPr>
          <p:cNvPr id="5" name="Picture Placeholder 4"/>
          <p:cNvSpPr>
            <a:spLocks noGrp="1"/>
          </p:cNvSpPr>
          <p:nvPr>
            <p:ph type="pic" sz="quarter" idx="20"/>
          </p:nvPr>
        </p:nvSpPr>
        <p:spPr>
          <a:xfrm>
            <a:off x="4662000" y="2484000"/>
            <a:ext cx="4122000" cy="1890000"/>
          </a:xfrm>
        </p:spPr>
        <p:txBody>
          <a:bodyPr/>
          <a:lstStyle>
            <a:lvl1pPr marL="0" indent="0">
              <a:buNone/>
              <a:defRPr/>
            </a:lvl1pPr>
          </a:lstStyle>
          <a:p>
            <a:r>
              <a:rPr lang="en-US"/>
              <a:t>Click icon to add picture</a:t>
            </a:r>
            <a:endParaRPr lang="sv-SE" dirty="0"/>
          </a:p>
        </p:txBody>
      </p:sp>
      <p:sp>
        <p:nvSpPr>
          <p:cNvPr id="10" name="Picture Placeholder 9"/>
          <p:cNvSpPr>
            <a:spLocks noGrp="1"/>
          </p:cNvSpPr>
          <p:nvPr>
            <p:ph type="pic" sz="quarter" idx="21"/>
          </p:nvPr>
        </p:nvSpPr>
        <p:spPr>
          <a:xfrm>
            <a:off x="4662000" y="414000"/>
            <a:ext cx="4122000" cy="1890000"/>
          </a:xfrm>
        </p:spPr>
        <p:txBody>
          <a:bodyPr/>
          <a:lstStyle>
            <a:lvl1pPr marL="0" indent="0">
              <a:buNone/>
              <a:defRPr/>
            </a:lvl1pPr>
          </a:lstStyle>
          <a:p>
            <a:r>
              <a:rPr lang="en-US"/>
              <a:t>Click icon to add picture</a:t>
            </a:r>
            <a:endParaRPr lang="sv-SE" dirty="0"/>
          </a:p>
        </p:txBody>
      </p:sp>
    </p:spTree>
    <p:extLst>
      <p:ext uri="{BB962C8B-B14F-4D97-AF65-F5344CB8AC3E}">
        <p14:creationId xmlns:p14="http://schemas.microsoft.com/office/powerpoint/2010/main" val="4023407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 picture">
    <p:spTree>
      <p:nvGrpSpPr>
        <p:cNvPr id="1" name=""/>
        <p:cNvGrpSpPr/>
        <p:nvPr/>
      </p:nvGrpSpPr>
      <p:grpSpPr>
        <a:xfrm>
          <a:off x="0" y="0"/>
          <a:ext cx="0" cy="0"/>
          <a:chOff x="0" y="0"/>
          <a:chExt cx="0" cy="0"/>
        </a:xfrm>
      </p:grpSpPr>
      <p:sp>
        <p:nvSpPr>
          <p:cNvPr id="2" name="Rubrik 1"/>
          <p:cNvSpPr>
            <a:spLocks noGrp="1"/>
          </p:cNvSpPr>
          <p:nvPr>
            <p:ph type="title" hasCustomPrompt="1"/>
          </p:nvPr>
        </p:nvSpPr>
        <p:spPr>
          <a:xfrm>
            <a:off x="360000" y="414000"/>
            <a:ext cx="4122000" cy="900000"/>
          </a:xfrm>
        </p:spPr>
        <p:txBody>
          <a:bodyPr/>
          <a:lstStyle>
            <a:lvl1pPr>
              <a:defRPr/>
            </a:lvl1pPr>
          </a:lstStyle>
          <a:p>
            <a:r>
              <a:rPr lang="en-US" noProof="0" dirty="0"/>
              <a:t>Headline over</a:t>
            </a:r>
            <a:br>
              <a:rPr lang="en-US" noProof="0" dirty="0"/>
            </a:br>
            <a:r>
              <a:rPr lang="en-US" noProof="0" dirty="0"/>
              <a:t>two lines</a:t>
            </a:r>
          </a:p>
        </p:txBody>
      </p:sp>
      <p:sp>
        <p:nvSpPr>
          <p:cNvPr id="3" name="Platshållare för text 2"/>
          <p:cNvSpPr>
            <a:spLocks noGrp="1"/>
          </p:cNvSpPr>
          <p:nvPr>
            <p:ph type="body" idx="1" hasCustomPrompt="1"/>
          </p:nvPr>
        </p:nvSpPr>
        <p:spPr>
          <a:xfrm>
            <a:off x="360000" y="1440000"/>
            <a:ext cx="4122000" cy="270000"/>
          </a:xfrm>
        </p:spPr>
        <p:txBody>
          <a:bodyPr anchor="t">
            <a:noAutofit/>
          </a:bodyPr>
          <a:lstStyle>
            <a:lvl1pPr marL="0" indent="0">
              <a:lnSpc>
                <a:spcPct val="100000"/>
              </a:lnSpc>
              <a:buNone/>
              <a:defRPr sz="1800" b="0" cap="all" baseline="0">
                <a:solidFill>
                  <a:schemeClr val="accent2"/>
                </a:solidFill>
              </a:defRPr>
            </a:lvl1pPr>
            <a:lvl2pPr marL="457148" indent="0">
              <a:buNone/>
              <a:defRPr sz="2000" b="1"/>
            </a:lvl2pPr>
            <a:lvl3pPr marL="914296" indent="0">
              <a:buNone/>
              <a:defRPr sz="1800" b="1"/>
            </a:lvl3pPr>
            <a:lvl4pPr marL="1371444" indent="0">
              <a:buNone/>
              <a:defRPr sz="1600" b="1"/>
            </a:lvl4pPr>
            <a:lvl5pPr marL="1828592" indent="0">
              <a:buNone/>
              <a:defRPr sz="1600" b="1"/>
            </a:lvl5pPr>
            <a:lvl6pPr marL="2285740" indent="0">
              <a:buNone/>
              <a:defRPr sz="1600" b="1"/>
            </a:lvl6pPr>
            <a:lvl7pPr marL="2742888" indent="0">
              <a:buNone/>
              <a:defRPr sz="1600" b="1"/>
            </a:lvl7pPr>
            <a:lvl8pPr marL="3200036" indent="0">
              <a:buNone/>
              <a:defRPr sz="1600" b="1"/>
            </a:lvl8pPr>
            <a:lvl9pPr marL="3657184" indent="0">
              <a:buNone/>
              <a:defRPr sz="1600" b="1"/>
            </a:lvl9pPr>
          </a:lstStyle>
          <a:p>
            <a:pPr lvl="0"/>
            <a:r>
              <a:rPr lang="en-US" noProof="0" dirty="0"/>
              <a:t>Subheading (if needed)</a:t>
            </a:r>
          </a:p>
        </p:txBody>
      </p:sp>
      <p:sp>
        <p:nvSpPr>
          <p:cNvPr id="7" name="Platshållare för datum 6"/>
          <p:cNvSpPr>
            <a:spLocks noGrp="1"/>
          </p:cNvSpPr>
          <p:nvPr>
            <p:ph type="dt" sz="half" idx="10"/>
          </p:nvPr>
        </p:nvSpPr>
        <p:spPr/>
        <p:txBody>
          <a:bodyPr/>
          <a:lstStyle/>
          <a:p>
            <a:fld id="{C680051F-A4B1-4F1A-9B59-6BC4ADD1202D}" type="datetime1">
              <a:rPr lang="en-US" smtClean="0"/>
              <a:t>9/10/2018</a:t>
            </a:fld>
            <a:endParaRPr lang="en-US" dirty="0"/>
          </a:p>
        </p:txBody>
      </p:sp>
      <p:sp>
        <p:nvSpPr>
          <p:cNvPr id="8" name="Platshållare för sidfot 7"/>
          <p:cNvSpPr>
            <a:spLocks noGrp="1"/>
          </p:cNvSpPr>
          <p:nvPr>
            <p:ph type="ftr" sz="quarter" idx="11"/>
          </p:nvPr>
        </p:nvSpPr>
        <p:spPr/>
        <p:txBody>
          <a:bodyPr/>
          <a:lstStyle/>
          <a:p>
            <a:r>
              <a:rPr lang="en-US" dirty="0"/>
              <a:t>SANDVIK: Title of presentation</a:t>
            </a:r>
          </a:p>
        </p:txBody>
      </p:sp>
      <p:sp>
        <p:nvSpPr>
          <p:cNvPr id="9" name="Platshållare för bildnummer 8"/>
          <p:cNvSpPr>
            <a:spLocks noGrp="1"/>
          </p:cNvSpPr>
          <p:nvPr>
            <p:ph type="sldNum" sz="quarter" idx="12"/>
          </p:nvPr>
        </p:nvSpPr>
        <p:spPr/>
        <p:txBody>
          <a:bodyPr/>
          <a:lstStyle/>
          <a:p>
            <a:fld id="{469B62F1-B431-48B6-8270-02431A1685B7}" type="slidenum">
              <a:rPr lang="en-US" smtClean="0"/>
              <a:t>‹#›</a:t>
            </a:fld>
            <a:endParaRPr lang="en-US" dirty="0"/>
          </a:p>
        </p:txBody>
      </p:sp>
      <p:sp>
        <p:nvSpPr>
          <p:cNvPr id="11" name="Platshållare för text 10"/>
          <p:cNvSpPr>
            <a:spLocks noGrp="1"/>
          </p:cNvSpPr>
          <p:nvPr>
            <p:ph type="body" sz="quarter" idx="13" hasCustomPrompt="1"/>
          </p:nvPr>
        </p:nvSpPr>
        <p:spPr>
          <a:xfrm>
            <a:off x="360000" y="1890000"/>
            <a:ext cx="4122000" cy="2484000"/>
          </a:xfrm>
        </p:spPr>
        <p:txBody>
          <a:bodyPr/>
          <a:lstStyle>
            <a:lvl2pPr marL="539939" indent="-161982">
              <a:buFont typeface="Arial" panose="020B0604020202020204" pitchFamily="34" charset="0"/>
              <a:buChar char="−"/>
              <a:defRPr/>
            </a:lvl2pPr>
          </a:lstStyle>
          <a:p>
            <a:pPr lvl="0"/>
            <a:r>
              <a:rPr lang="en-US" dirty="0"/>
              <a:t>Click to edit Master text styles</a:t>
            </a:r>
          </a:p>
          <a:p>
            <a:pPr lvl="1"/>
            <a:r>
              <a:rPr lang="en-US" dirty="0"/>
              <a:t>Second level</a:t>
            </a:r>
          </a:p>
        </p:txBody>
      </p:sp>
      <p:sp>
        <p:nvSpPr>
          <p:cNvPr id="5" name="Picture Placeholder 4"/>
          <p:cNvSpPr>
            <a:spLocks noGrp="1"/>
          </p:cNvSpPr>
          <p:nvPr>
            <p:ph type="pic" sz="quarter" idx="14"/>
          </p:nvPr>
        </p:nvSpPr>
        <p:spPr>
          <a:xfrm>
            <a:off x="4662000" y="414000"/>
            <a:ext cx="4122000" cy="3960000"/>
          </a:xfrm>
        </p:spPr>
        <p:txBody>
          <a:bodyPr/>
          <a:lstStyle>
            <a:lvl1pPr marL="0" indent="0">
              <a:buNone/>
              <a:defRPr/>
            </a:lvl1pPr>
          </a:lstStyle>
          <a:p>
            <a:r>
              <a:rPr lang="en-US"/>
              <a:t>Click icon to add picture</a:t>
            </a:r>
            <a:endParaRPr lang="sv-SE" dirty="0"/>
          </a:p>
        </p:txBody>
      </p:sp>
    </p:spTree>
    <p:extLst>
      <p:ext uri="{BB962C8B-B14F-4D97-AF65-F5344CB8AC3E}">
        <p14:creationId xmlns:p14="http://schemas.microsoft.com/office/powerpoint/2010/main" val="3570098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tartpage 2, pictur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7252" y="1134000"/>
            <a:ext cx="9180000" cy="1350000"/>
          </a:xfrm>
          <a:prstGeom prst="rect">
            <a:avLst/>
          </a:prstGeom>
        </p:spPr>
      </p:pic>
      <p:sp>
        <p:nvSpPr>
          <p:cNvPr id="2" name="Rubrik 1"/>
          <p:cNvSpPr>
            <a:spLocks noGrp="1"/>
          </p:cNvSpPr>
          <p:nvPr>
            <p:ph type="ctrTitle" hasCustomPrompt="1"/>
          </p:nvPr>
        </p:nvSpPr>
        <p:spPr>
          <a:xfrm>
            <a:off x="360000" y="180000"/>
            <a:ext cx="7200000" cy="360000"/>
          </a:xfrm>
        </p:spPr>
        <p:txBody>
          <a:bodyPr/>
          <a:lstStyle>
            <a:lvl1pPr>
              <a:defRPr baseline="0"/>
            </a:lvl1pPr>
          </a:lstStyle>
          <a:p>
            <a:r>
              <a:rPr lang="en-US" noProof="0" dirty="0"/>
              <a:t>Headline First line</a:t>
            </a:r>
          </a:p>
        </p:txBody>
      </p:sp>
      <p:sp>
        <p:nvSpPr>
          <p:cNvPr id="3" name="Underrubrik 2"/>
          <p:cNvSpPr>
            <a:spLocks noGrp="1"/>
          </p:cNvSpPr>
          <p:nvPr>
            <p:ph type="subTitle" idx="1" hasCustomPrompt="1"/>
          </p:nvPr>
        </p:nvSpPr>
        <p:spPr>
          <a:xfrm>
            <a:off x="360000" y="540000"/>
            <a:ext cx="7200000" cy="360000"/>
          </a:xfrm>
        </p:spPr>
        <p:txBody>
          <a:bodyPr>
            <a:noAutofit/>
          </a:bodyPr>
          <a:lstStyle>
            <a:lvl1pPr marL="0" indent="0" algn="l">
              <a:lnSpc>
                <a:spcPct val="100000"/>
              </a:lnSpc>
              <a:spcAft>
                <a:spcPts val="0"/>
              </a:spcAft>
              <a:buNone/>
              <a:defRPr sz="2800" cap="all" baseline="0">
                <a:solidFill>
                  <a:schemeClr val="accent2"/>
                </a:solidFill>
              </a:defRPr>
            </a:lvl1pPr>
            <a:lvl2pPr marL="457148" indent="0" algn="ctr">
              <a:buNone/>
              <a:defRPr>
                <a:solidFill>
                  <a:schemeClr val="tx1">
                    <a:tint val="75000"/>
                  </a:schemeClr>
                </a:solidFill>
              </a:defRPr>
            </a:lvl2pPr>
            <a:lvl3pPr marL="914296" indent="0" algn="ctr">
              <a:buNone/>
              <a:defRPr>
                <a:solidFill>
                  <a:schemeClr val="tx1">
                    <a:tint val="75000"/>
                  </a:schemeClr>
                </a:solidFill>
              </a:defRPr>
            </a:lvl3pPr>
            <a:lvl4pPr marL="1371444" indent="0" algn="ctr">
              <a:buNone/>
              <a:defRPr>
                <a:solidFill>
                  <a:schemeClr val="tx1">
                    <a:tint val="75000"/>
                  </a:schemeClr>
                </a:solidFill>
              </a:defRPr>
            </a:lvl4pPr>
            <a:lvl5pPr marL="1828592" indent="0" algn="ctr">
              <a:buNone/>
              <a:defRPr>
                <a:solidFill>
                  <a:schemeClr val="tx1">
                    <a:tint val="75000"/>
                  </a:schemeClr>
                </a:solidFill>
              </a:defRPr>
            </a:lvl5pPr>
            <a:lvl6pPr marL="2285740" indent="0" algn="ctr">
              <a:buNone/>
              <a:defRPr>
                <a:solidFill>
                  <a:schemeClr val="tx1">
                    <a:tint val="75000"/>
                  </a:schemeClr>
                </a:solidFill>
              </a:defRPr>
            </a:lvl6pPr>
            <a:lvl7pPr marL="2742888" indent="0" algn="ctr">
              <a:buNone/>
              <a:defRPr>
                <a:solidFill>
                  <a:schemeClr val="tx1">
                    <a:tint val="75000"/>
                  </a:schemeClr>
                </a:solidFill>
              </a:defRPr>
            </a:lvl7pPr>
            <a:lvl8pPr marL="3200036" indent="0" algn="ctr">
              <a:buNone/>
              <a:defRPr>
                <a:solidFill>
                  <a:schemeClr val="tx1">
                    <a:tint val="75000"/>
                  </a:schemeClr>
                </a:solidFill>
              </a:defRPr>
            </a:lvl8pPr>
            <a:lvl9pPr marL="3657184" indent="0" algn="ctr">
              <a:buNone/>
              <a:defRPr>
                <a:solidFill>
                  <a:schemeClr val="tx1">
                    <a:tint val="75000"/>
                  </a:schemeClr>
                </a:solidFill>
              </a:defRPr>
            </a:lvl9pPr>
          </a:lstStyle>
          <a:p>
            <a:r>
              <a:rPr lang="en-US" noProof="0" dirty="0"/>
              <a:t>Headline Second line</a:t>
            </a:r>
          </a:p>
        </p:txBody>
      </p:sp>
      <p:sp>
        <p:nvSpPr>
          <p:cNvPr id="4" name="Platshållare för datum 3"/>
          <p:cNvSpPr>
            <a:spLocks noGrp="1"/>
          </p:cNvSpPr>
          <p:nvPr>
            <p:ph type="dt" sz="half" idx="10"/>
          </p:nvPr>
        </p:nvSpPr>
        <p:spPr/>
        <p:txBody>
          <a:bodyPr/>
          <a:lstStyle/>
          <a:p>
            <a:fld id="{FD53EE5B-179B-42EF-B88C-5BE3C7D22739}" type="datetime1">
              <a:rPr lang="en-US" smtClean="0"/>
              <a:t>9/10/2018</a:t>
            </a:fld>
            <a:endParaRPr lang="en-US" dirty="0"/>
          </a:p>
        </p:txBody>
      </p:sp>
      <p:sp>
        <p:nvSpPr>
          <p:cNvPr id="5" name="Platshållare för sidfot 4"/>
          <p:cNvSpPr>
            <a:spLocks noGrp="1"/>
          </p:cNvSpPr>
          <p:nvPr>
            <p:ph type="ftr" sz="quarter" idx="11"/>
          </p:nvPr>
        </p:nvSpPr>
        <p:spPr/>
        <p:txBody>
          <a:bodyPr/>
          <a:lstStyle/>
          <a:p>
            <a:r>
              <a:rPr lang="en-US" dirty="0"/>
              <a:t>SANDVIK: Title of presentation</a:t>
            </a:r>
          </a:p>
        </p:txBody>
      </p:sp>
      <p:sp>
        <p:nvSpPr>
          <p:cNvPr id="6" name="Platshållare för bildnummer 5"/>
          <p:cNvSpPr>
            <a:spLocks noGrp="1"/>
          </p:cNvSpPr>
          <p:nvPr>
            <p:ph type="sldNum" sz="quarter" idx="12"/>
          </p:nvPr>
        </p:nvSpPr>
        <p:spPr/>
        <p:txBody>
          <a:bodyPr/>
          <a:lstStyle/>
          <a:p>
            <a:fld id="{469B62F1-B431-48B6-8270-02431A1685B7}" type="slidenum">
              <a:rPr lang="en-US" smtClean="0"/>
              <a:t>‹#›</a:t>
            </a:fld>
            <a:endParaRPr lang="en-US" dirty="0"/>
          </a:p>
        </p:txBody>
      </p:sp>
      <p:pic>
        <p:nvPicPr>
          <p:cNvPr id="9" name="Bildobjekt 8" descr="SAV_Logo_cyan_RGB300.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894137" y="275166"/>
            <a:ext cx="889863" cy="323998"/>
          </a:xfrm>
          <a:prstGeom prst="rect">
            <a:avLst/>
          </a:prstGeom>
        </p:spPr>
      </p:pic>
      <p:sp>
        <p:nvSpPr>
          <p:cNvPr id="11" name="Picture Placeholder 7"/>
          <p:cNvSpPr>
            <a:spLocks noGrp="1"/>
          </p:cNvSpPr>
          <p:nvPr>
            <p:ph type="pic" sz="quarter" idx="13"/>
          </p:nvPr>
        </p:nvSpPr>
        <p:spPr>
          <a:xfrm>
            <a:off x="0" y="1953750"/>
            <a:ext cx="9144000" cy="3189752"/>
          </a:xfrm>
          <a:custGeom>
            <a:avLst/>
            <a:gdLst>
              <a:gd name="connsiteX0" fmla="*/ 530647 w 9144000"/>
              <a:gd name="connsiteY0" fmla="*/ 0 h 3183818"/>
              <a:gd name="connsiteX1" fmla="*/ 8613353 w 9144000"/>
              <a:gd name="connsiteY1" fmla="*/ 0 h 3183818"/>
              <a:gd name="connsiteX2" fmla="*/ 9144000 w 9144000"/>
              <a:gd name="connsiteY2" fmla="*/ 530647 h 3183818"/>
              <a:gd name="connsiteX3" fmla="*/ 9144000 w 9144000"/>
              <a:gd name="connsiteY3" fmla="*/ 3183818 h 3183818"/>
              <a:gd name="connsiteX4" fmla="*/ 9144000 w 9144000"/>
              <a:gd name="connsiteY4" fmla="*/ 3183818 h 3183818"/>
              <a:gd name="connsiteX5" fmla="*/ 0 w 9144000"/>
              <a:gd name="connsiteY5" fmla="*/ 3183818 h 3183818"/>
              <a:gd name="connsiteX6" fmla="*/ 0 w 9144000"/>
              <a:gd name="connsiteY6" fmla="*/ 3183818 h 3183818"/>
              <a:gd name="connsiteX7" fmla="*/ 0 w 9144000"/>
              <a:gd name="connsiteY7" fmla="*/ 530647 h 3183818"/>
              <a:gd name="connsiteX8" fmla="*/ 530647 w 9144000"/>
              <a:gd name="connsiteY8" fmla="*/ 0 h 3183818"/>
              <a:gd name="connsiteX0" fmla="*/ 4115249 w 9144000"/>
              <a:gd name="connsiteY0" fmla="*/ 278909 h 3183818"/>
              <a:gd name="connsiteX1" fmla="*/ 8613353 w 9144000"/>
              <a:gd name="connsiteY1" fmla="*/ 0 h 3183818"/>
              <a:gd name="connsiteX2" fmla="*/ 9144000 w 9144000"/>
              <a:gd name="connsiteY2" fmla="*/ 530647 h 3183818"/>
              <a:gd name="connsiteX3" fmla="*/ 9144000 w 9144000"/>
              <a:gd name="connsiteY3" fmla="*/ 3183818 h 3183818"/>
              <a:gd name="connsiteX4" fmla="*/ 9144000 w 9144000"/>
              <a:gd name="connsiteY4" fmla="*/ 3183818 h 3183818"/>
              <a:gd name="connsiteX5" fmla="*/ 0 w 9144000"/>
              <a:gd name="connsiteY5" fmla="*/ 3183818 h 3183818"/>
              <a:gd name="connsiteX6" fmla="*/ 0 w 9144000"/>
              <a:gd name="connsiteY6" fmla="*/ 3183818 h 3183818"/>
              <a:gd name="connsiteX7" fmla="*/ 0 w 9144000"/>
              <a:gd name="connsiteY7" fmla="*/ 530647 h 3183818"/>
              <a:gd name="connsiteX8" fmla="*/ 4115249 w 9144000"/>
              <a:gd name="connsiteY8" fmla="*/ 278909 h 3183818"/>
              <a:gd name="connsiteX0" fmla="*/ 4115249 w 9144000"/>
              <a:gd name="connsiteY0" fmla="*/ 284843 h 3189752"/>
              <a:gd name="connsiteX1" fmla="*/ 6856661 w 9144000"/>
              <a:gd name="connsiteY1" fmla="*/ 0 h 3189752"/>
              <a:gd name="connsiteX2" fmla="*/ 9144000 w 9144000"/>
              <a:gd name="connsiteY2" fmla="*/ 536581 h 3189752"/>
              <a:gd name="connsiteX3" fmla="*/ 9144000 w 9144000"/>
              <a:gd name="connsiteY3" fmla="*/ 3189752 h 3189752"/>
              <a:gd name="connsiteX4" fmla="*/ 9144000 w 9144000"/>
              <a:gd name="connsiteY4" fmla="*/ 3189752 h 3189752"/>
              <a:gd name="connsiteX5" fmla="*/ 0 w 9144000"/>
              <a:gd name="connsiteY5" fmla="*/ 3189752 h 3189752"/>
              <a:gd name="connsiteX6" fmla="*/ 0 w 9144000"/>
              <a:gd name="connsiteY6" fmla="*/ 3189752 h 3189752"/>
              <a:gd name="connsiteX7" fmla="*/ 0 w 9144000"/>
              <a:gd name="connsiteY7" fmla="*/ 536581 h 3189752"/>
              <a:gd name="connsiteX8" fmla="*/ 4115249 w 9144000"/>
              <a:gd name="connsiteY8" fmla="*/ 284843 h 3189752"/>
              <a:gd name="connsiteX0" fmla="*/ 4115249 w 9144000"/>
              <a:gd name="connsiteY0" fmla="*/ 284843 h 3189752"/>
              <a:gd name="connsiteX1" fmla="*/ 6856661 w 9144000"/>
              <a:gd name="connsiteY1" fmla="*/ 0 h 3189752"/>
              <a:gd name="connsiteX2" fmla="*/ 9144000 w 9144000"/>
              <a:gd name="connsiteY2" fmla="*/ 536581 h 3189752"/>
              <a:gd name="connsiteX3" fmla="*/ 9144000 w 9144000"/>
              <a:gd name="connsiteY3" fmla="*/ 3189752 h 3189752"/>
              <a:gd name="connsiteX4" fmla="*/ 9144000 w 9144000"/>
              <a:gd name="connsiteY4" fmla="*/ 3189752 h 3189752"/>
              <a:gd name="connsiteX5" fmla="*/ 0 w 9144000"/>
              <a:gd name="connsiteY5" fmla="*/ 3189752 h 3189752"/>
              <a:gd name="connsiteX6" fmla="*/ 0 w 9144000"/>
              <a:gd name="connsiteY6" fmla="*/ 3189752 h 3189752"/>
              <a:gd name="connsiteX7" fmla="*/ 0 w 9144000"/>
              <a:gd name="connsiteY7" fmla="*/ 527056 h 3189752"/>
              <a:gd name="connsiteX8" fmla="*/ 4115249 w 9144000"/>
              <a:gd name="connsiteY8" fmla="*/ 284843 h 3189752"/>
              <a:gd name="connsiteX0" fmla="*/ 4115249 w 9144000"/>
              <a:gd name="connsiteY0" fmla="*/ 284843 h 3189752"/>
              <a:gd name="connsiteX1" fmla="*/ 6856661 w 9144000"/>
              <a:gd name="connsiteY1" fmla="*/ 0 h 3189752"/>
              <a:gd name="connsiteX2" fmla="*/ 9144000 w 9144000"/>
              <a:gd name="connsiteY2" fmla="*/ 536581 h 3189752"/>
              <a:gd name="connsiteX3" fmla="*/ 9144000 w 9144000"/>
              <a:gd name="connsiteY3" fmla="*/ 3189752 h 3189752"/>
              <a:gd name="connsiteX4" fmla="*/ 9144000 w 9144000"/>
              <a:gd name="connsiteY4" fmla="*/ 3189752 h 3189752"/>
              <a:gd name="connsiteX5" fmla="*/ 0 w 9144000"/>
              <a:gd name="connsiteY5" fmla="*/ 3189752 h 3189752"/>
              <a:gd name="connsiteX6" fmla="*/ 0 w 9144000"/>
              <a:gd name="connsiteY6" fmla="*/ 3189752 h 3189752"/>
              <a:gd name="connsiteX7" fmla="*/ 0 w 9144000"/>
              <a:gd name="connsiteY7" fmla="*/ 511181 h 3189752"/>
              <a:gd name="connsiteX8" fmla="*/ 4115249 w 9144000"/>
              <a:gd name="connsiteY8" fmla="*/ 284843 h 3189752"/>
              <a:gd name="connsiteX0" fmla="*/ 4115249 w 9144000"/>
              <a:gd name="connsiteY0" fmla="*/ 284843 h 3189752"/>
              <a:gd name="connsiteX1" fmla="*/ 6856661 w 9144000"/>
              <a:gd name="connsiteY1" fmla="*/ 0 h 3189752"/>
              <a:gd name="connsiteX2" fmla="*/ 9144000 w 9144000"/>
              <a:gd name="connsiteY2" fmla="*/ 536581 h 3189752"/>
              <a:gd name="connsiteX3" fmla="*/ 9144000 w 9144000"/>
              <a:gd name="connsiteY3" fmla="*/ 3189752 h 3189752"/>
              <a:gd name="connsiteX4" fmla="*/ 9144000 w 9144000"/>
              <a:gd name="connsiteY4" fmla="*/ 3189752 h 3189752"/>
              <a:gd name="connsiteX5" fmla="*/ 0 w 9144000"/>
              <a:gd name="connsiteY5" fmla="*/ 3189752 h 3189752"/>
              <a:gd name="connsiteX6" fmla="*/ 0 w 9144000"/>
              <a:gd name="connsiteY6" fmla="*/ 3189752 h 3189752"/>
              <a:gd name="connsiteX7" fmla="*/ 0 w 9144000"/>
              <a:gd name="connsiteY7" fmla="*/ 527056 h 3189752"/>
              <a:gd name="connsiteX8" fmla="*/ 4115249 w 9144000"/>
              <a:gd name="connsiteY8" fmla="*/ 284843 h 3189752"/>
              <a:gd name="connsiteX0" fmla="*/ 4115249 w 9144000"/>
              <a:gd name="connsiteY0" fmla="*/ 284843 h 3189752"/>
              <a:gd name="connsiteX1" fmla="*/ 6856661 w 9144000"/>
              <a:gd name="connsiteY1" fmla="*/ 0 h 3189752"/>
              <a:gd name="connsiteX2" fmla="*/ 9144000 w 9144000"/>
              <a:gd name="connsiteY2" fmla="*/ 536581 h 3189752"/>
              <a:gd name="connsiteX3" fmla="*/ 9144000 w 9144000"/>
              <a:gd name="connsiteY3" fmla="*/ 3189752 h 3189752"/>
              <a:gd name="connsiteX4" fmla="*/ 9144000 w 9144000"/>
              <a:gd name="connsiteY4" fmla="*/ 3189752 h 3189752"/>
              <a:gd name="connsiteX5" fmla="*/ 0 w 9144000"/>
              <a:gd name="connsiteY5" fmla="*/ 3189752 h 3189752"/>
              <a:gd name="connsiteX6" fmla="*/ 0 w 9144000"/>
              <a:gd name="connsiteY6" fmla="*/ 3189752 h 3189752"/>
              <a:gd name="connsiteX7" fmla="*/ 0 w 9144000"/>
              <a:gd name="connsiteY7" fmla="*/ 508006 h 3189752"/>
              <a:gd name="connsiteX8" fmla="*/ 4115249 w 9144000"/>
              <a:gd name="connsiteY8" fmla="*/ 284843 h 3189752"/>
              <a:gd name="connsiteX0" fmla="*/ 4115249 w 9144000"/>
              <a:gd name="connsiteY0" fmla="*/ 284843 h 3189752"/>
              <a:gd name="connsiteX1" fmla="*/ 6856661 w 9144000"/>
              <a:gd name="connsiteY1" fmla="*/ 0 h 3189752"/>
              <a:gd name="connsiteX2" fmla="*/ 9144000 w 9144000"/>
              <a:gd name="connsiteY2" fmla="*/ 536581 h 3189752"/>
              <a:gd name="connsiteX3" fmla="*/ 9144000 w 9144000"/>
              <a:gd name="connsiteY3" fmla="*/ 3189752 h 3189752"/>
              <a:gd name="connsiteX4" fmla="*/ 9144000 w 9144000"/>
              <a:gd name="connsiteY4" fmla="*/ 3189752 h 3189752"/>
              <a:gd name="connsiteX5" fmla="*/ 0 w 9144000"/>
              <a:gd name="connsiteY5" fmla="*/ 3189752 h 3189752"/>
              <a:gd name="connsiteX6" fmla="*/ 0 w 9144000"/>
              <a:gd name="connsiteY6" fmla="*/ 3189752 h 3189752"/>
              <a:gd name="connsiteX7" fmla="*/ 0 w 9144000"/>
              <a:gd name="connsiteY7" fmla="*/ 523881 h 3189752"/>
              <a:gd name="connsiteX8" fmla="*/ 4115249 w 9144000"/>
              <a:gd name="connsiteY8" fmla="*/ 284843 h 3189752"/>
              <a:gd name="connsiteX0" fmla="*/ 4118424 w 9144000"/>
              <a:gd name="connsiteY0" fmla="*/ 262618 h 3189752"/>
              <a:gd name="connsiteX1" fmla="*/ 6856661 w 9144000"/>
              <a:gd name="connsiteY1" fmla="*/ 0 h 3189752"/>
              <a:gd name="connsiteX2" fmla="*/ 9144000 w 9144000"/>
              <a:gd name="connsiteY2" fmla="*/ 536581 h 3189752"/>
              <a:gd name="connsiteX3" fmla="*/ 9144000 w 9144000"/>
              <a:gd name="connsiteY3" fmla="*/ 3189752 h 3189752"/>
              <a:gd name="connsiteX4" fmla="*/ 9144000 w 9144000"/>
              <a:gd name="connsiteY4" fmla="*/ 3189752 h 3189752"/>
              <a:gd name="connsiteX5" fmla="*/ 0 w 9144000"/>
              <a:gd name="connsiteY5" fmla="*/ 3189752 h 3189752"/>
              <a:gd name="connsiteX6" fmla="*/ 0 w 9144000"/>
              <a:gd name="connsiteY6" fmla="*/ 3189752 h 3189752"/>
              <a:gd name="connsiteX7" fmla="*/ 0 w 9144000"/>
              <a:gd name="connsiteY7" fmla="*/ 523881 h 3189752"/>
              <a:gd name="connsiteX8" fmla="*/ 4118424 w 9144000"/>
              <a:gd name="connsiteY8" fmla="*/ 262618 h 3189752"/>
              <a:gd name="connsiteX0" fmla="*/ 4118424 w 9144000"/>
              <a:gd name="connsiteY0" fmla="*/ 265787 h 3192921"/>
              <a:gd name="connsiteX1" fmla="*/ 6856661 w 9144000"/>
              <a:gd name="connsiteY1" fmla="*/ 3169 h 3192921"/>
              <a:gd name="connsiteX2" fmla="*/ 9144000 w 9144000"/>
              <a:gd name="connsiteY2" fmla="*/ 0 h 3192921"/>
              <a:gd name="connsiteX3" fmla="*/ 9144000 w 9144000"/>
              <a:gd name="connsiteY3" fmla="*/ 3192921 h 3192921"/>
              <a:gd name="connsiteX4" fmla="*/ 9144000 w 9144000"/>
              <a:gd name="connsiteY4" fmla="*/ 3192921 h 3192921"/>
              <a:gd name="connsiteX5" fmla="*/ 0 w 9144000"/>
              <a:gd name="connsiteY5" fmla="*/ 3192921 h 3192921"/>
              <a:gd name="connsiteX6" fmla="*/ 0 w 9144000"/>
              <a:gd name="connsiteY6" fmla="*/ 3192921 h 3192921"/>
              <a:gd name="connsiteX7" fmla="*/ 0 w 9144000"/>
              <a:gd name="connsiteY7" fmla="*/ 527050 h 3192921"/>
              <a:gd name="connsiteX8" fmla="*/ 4118424 w 9144000"/>
              <a:gd name="connsiteY8" fmla="*/ 265787 h 3192921"/>
              <a:gd name="connsiteX0" fmla="*/ 4118424 w 9144000"/>
              <a:gd name="connsiteY0" fmla="*/ 265787 h 3192921"/>
              <a:gd name="connsiteX1" fmla="*/ 6863011 w 9144000"/>
              <a:gd name="connsiteY1" fmla="*/ 111119 h 3192921"/>
              <a:gd name="connsiteX2" fmla="*/ 9144000 w 9144000"/>
              <a:gd name="connsiteY2" fmla="*/ 0 h 3192921"/>
              <a:gd name="connsiteX3" fmla="*/ 9144000 w 9144000"/>
              <a:gd name="connsiteY3" fmla="*/ 3192921 h 3192921"/>
              <a:gd name="connsiteX4" fmla="*/ 9144000 w 9144000"/>
              <a:gd name="connsiteY4" fmla="*/ 3192921 h 3192921"/>
              <a:gd name="connsiteX5" fmla="*/ 0 w 9144000"/>
              <a:gd name="connsiteY5" fmla="*/ 3192921 h 3192921"/>
              <a:gd name="connsiteX6" fmla="*/ 0 w 9144000"/>
              <a:gd name="connsiteY6" fmla="*/ 3192921 h 3192921"/>
              <a:gd name="connsiteX7" fmla="*/ 0 w 9144000"/>
              <a:gd name="connsiteY7" fmla="*/ 527050 h 3192921"/>
              <a:gd name="connsiteX8" fmla="*/ 4118424 w 9144000"/>
              <a:gd name="connsiteY8" fmla="*/ 265787 h 3192921"/>
              <a:gd name="connsiteX0" fmla="*/ 4118424 w 9144000"/>
              <a:gd name="connsiteY0" fmla="*/ 265787 h 3192921"/>
              <a:gd name="connsiteX1" fmla="*/ 6856661 w 9144000"/>
              <a:gd name="connsiteY1" fmla="*/ 3169 h 3192921"/>
              <a:gd name="connsiteX2" fmla="*/ 9144000 w 9144000"/>
              <a:gd name="connsiteY2" fmla="*/ 0 h 3192921"/>
              <a:gd name="connsiteX3" fmla="*/ 9144000 w 9144000"/>
              <a:gd name="connsiteY3" fmla="*/ 3192921 h 3192921"/>
              <a:gd name="connsiteX4" fmla="*/ 9144000 w 9144000"/>
              <a:gd name="connsiteY4" fmla="*/ 3192921 h 3192921"/>
              <a:gd name="connsiteX5" fmla="*/ 0 w 9144000"/>
              <a:gd name="connsiteY5" fmla="*/ 3192921 h 3192921"/>
              <a:gd name="connsiteX6" fmla="*/ 0 w 9144000"/>
              <a:gd name="connsiteY6" fmla="*/ 3192921 h 3192921"/>
              <a:gd name="connsiteX7" fmla="*/ 0 w 9144000"/>
              <a:gd name="connsiteY7" fmla="*/ 527050 h 3192921"/>
              <a:gd name="connsiteX8" fmla="*/ 4118424 w 9144000"/>
              <a:gd name="connsiteY8" fmla="*/ 265787 h 3192921"/>
              <a:gd name="connsiteX0" fmla="*/ 4118424 w 9144000"/>
              <a:gd name="connsiteY0" fmla="*/ 262618 h 3189752"/>
              <a:gd name="connsiteX1" fmla="*/ 6856661 w 9144000"/>
              <a:gd name="connsiteY1" fmla="*/ 0 h 3189752"/>
              <a:gd name="connsiteX2" fmla="*/ 9144000 w 9144000"/>
              <a:gd name="connsiteY2" fmla="*/ 9531 h 3189752"/>
              <a:gd name="connsiteX3" fmla="*/ 9144000 w 9144000"/>
              <a:gd name="connsiteY3" fmla="*/ 3189752 h 3189752"/>
              <a:gd name="connsiteX4" fmla="*/ 9144000 w 9144000"/>
              <a:gd name="connsiteY4" fmla="*/ 3189752 h 3189752"/>
              <a:gd name="connsiteX5" fmla="*/ 0 w 9144000"/>
              <a:gd name="connsiteY5" fmla="*/ 3189752 h 3189752"/>
              <a:gd name="connsiteX6" fmla="*/ 0 w 9144000"/>
              <a:gd name="connsiteY6" fmla="*/ 3189752 h 3189752"/>
              <a:gd name="connsiteX7" fmla="*/ 0 w 9144000"/>
              <a:gd name="connsiteY7" fmla="*/ 523881 h 3189752"/>
              <a:gd name="connsiteX8" fmla="*/ 4118424 w 9144000"/>
              <a:gd name="connsiteY8" fmla="*/ 262618 h 3189752"/>
              <a:gd name="connsiteX0" fmla="*/ 4118424 w 9144000"/>
              <a:gd name="connsiteY0" fmla="*/ 262618 h 3189752"/>
              <a:gd name="connsiteX1" fmla="*/ 6856661 w 9144000"/>
              <a:gd name="connsiteY1" fmla="*/ 0 h 3189752"/>
              <a:gd name="connsiteX2" fmla="*/ 9144000 w 9144000"/>
              <a:gd name="connsiteY2" fmla="*/ 6 h 3189752"/>
              <a:gd name="connsiteX3" fmla="*/ 9144000 w 9144000"/>
              <a:gd name="connsiteY3" fmla="*/ 3189752 h 3189752"/>
              <a:gd name="connsiteX4" fmla="*/ 9144000 w 9144000"/>
              <a:gd name="connsiteY4" fmla="*/ 3189752 h 3189752"/>
              <a:gd name="connsiteX5" fmla="*/ 0 w 9144000"/>
              <a:gd name="connsiteY5" fmla="*/ 3189752 h 3189752"/>
              <a:gd name="connsiteX6" fmla="*/ 0 w 9144000"/>
              <a:gd name="connsiteY6" fmla="*/ 3189752 h 3189752"/>
              <a:gd name="connsiteX7" fmla="*/ 0 w 9144000"/>
              <a:gd name="connsiteY7" fmla="*/ 523881 h 3189752"/>
              <a:gd name="connsiteX8" fmla="*/ 4118424 w 9144000"/>
              <a:gd name="connsiteY8" fmla="*/ 262618 h 3189752"/>
              <a:gd name="connsiteX0" fmla="*/ 4118424 w 9144000"/>
              <a:gd name="connsiteY0" fmla="*/ 262618 h 3189752"/>
              <a:gd name="connsiteX1" fmla="*/ 6856661 w 9144000"/>
              <a:gd name="connsiteY1" fmla="*/ 0 h 3189752"/>
              <a:gd name="connsiteX2" fmla="*/ 9144000 w 9144000"/>
              <a:gd name="connsiteY2" fmla="*/ 6 h 3189752"/>
              <a:gd name="connsiteX3" fmla="*/ 9144000 w 9144000"/>
              <a:gd name="connsiteY3" fmla="*/ 3189752 h 3189752"/>
              <a:gd name="connsiteX4" fmla="*/ 9144000 w 9144000"/>
              <a:gd name="connsiteY4" fmla="*/ 3189752 h 3189752"/>
              <a:gd name="connsiteX5" fmla="*/ 0 w 9144000"/>
              <a:gd name="connsiteY5" fmla="*/ 3189752 h 3189752"/>
              <a:gd name="connsiteX6" fmla="*/ 0 w 9144000"/>
              <a:gd name="connsiteY6" fmla="*/ 3189752 h 3189752"/>
              <a:gd name="connsiteX7" fmla="*/ 0 w 9144000"/>
              <a:gd name="connsiteY7" fmla="*/ 536581 h 3189752"/>
              <a:gd name="connsiteX8" fmla="*/ 4118424 w 9144000"/>
              <a:gd name="connsiteY8" fmla="*/ 262618 h 3189752"/>
              <a:gd name="connsiteX0" fmla="*/ 4118424 w 9144000"/>
              <a:gd name="connsiteY0" fmla="*/ 262618 h 3189752"/>
              <a:gd name="connsiteX1" fmla="*/ 6856661 w 9144000"/>
              <a:gd name="connsiteY1" fmla="*/ 0 h 3189752"/>
              <a:gd name="connsiteX2" fmla="*/ 9144000 w 9144000"/>
              <a:gd name="connsiteY2" fmla="*/ 6 h 3189752"/>
              <a:gd name="connsiteX3" fmla="*/ 9144000 w 9144000"/>
              <a:gd name="connsiteY3" fmla="*/ 3189752 h 3189752"/>
              <a:gd name="connsiteX4" fmla="*/ 9144000 w 9144000"/>
              <a:gd name="connsiteY4" fmla="*/ 3189752 h 3189752"/>
              <a:gd name="connsiteX5" fmla="*/ 0 w 9144000"/>
              <a:gd name="connsiteY5" fmla="*/ 3189752 h 3189752"/>
              <a:gd name="connsiteX6" fmla="*/ 0 w 9144000"/>
              <a:gd name="connsiteY6" fmla="*/ 3189752 h 3189752"/>
              <a:gd name="connsiteX7" fmla="*/ 0 w 9144000"/>
              <a:gd name="connsiteY7" fmla="*/ 527056 h 3189752"/>
              <a:gd name="connsiteX8" fmla="*/ 4118424 w 9144000"/>
              <a:gd name="connsiteY8" fmla="*/ 262618 h 3189752"/>
              <a:gd name="connsiteX0" fmla="*/ 4118424 w 9144000"/>
              <a:gd name="connsiteY0" fmla="*/ 262618 h 3189752"/>
              <a:gd name="connsiteX1" fmla="*/ 6856661 w 9144000"/>
              <a:gd name="connsiteY1" fmla="*/ 0 h 3189752"/>
              <a:gd name="connsiteX2" fmla="*/ 9144000 w 9144000"/>
              <a:gd name="connsiteY2" fmla="*/ 6 h 3189752"/>
              <a:gd name="connsiteX3" fmla="*/ 9144000 w 9144000"/>
              <a:gd name="connsiteY3" fmla="*/ 3189752 h 3189752"/>
              <a:gd name="connsiteX4" fmla="*/ 9144000 w 9144000"/>
              <a:gd name="connsiteY4" fmla="*/ 3189752 h 3189752"/>
              <a:gd name="connsiteX5" fmla="*/ 0 w 9144000"/>
              <a:gd name="connsiteY5" fmla="*/ 3189752 h 3189752"/>
              <a:gd name="connsiteX6" fmla="*/ 0 w 9144000"/>
              <a:gd name="connsiteY6" fmla="*/ 3189752 h 3189752"/>
              <a:gd name="connsiteX7" fmla="*/ 41275 w 9144000"/>
              <a:gd name="connsiteY7" fmla="*/ 533406 h 3189752"/>
              <a:gd name="connsiteX8" fmla="*/ 4118424 w 9144000"/>
              <a:gd name="connsiteY8" fmla="*/ 262618 h 3189752"/>
              <a:gd name="connsiteX0" fmla="*/ 4118424 w 9144000"/>
              <a:gd name="connsiteY0" fmla="*/ 262618 h 3189752"/>
              <a:gd name="connsiteX1" fmla="*/ 6856661 w 9144000"/>
              <a:gd name="connsiteY1" fmla="*/ 0 h 3189752"/>
              <a:gd name="connsiteX2" fmla="*/ 9144000 w 9144000"/>
              <a:gd name="connsiteY2" fmla="*/ 6 h 3189752"/>
              <a:gd name="connsiteX3" fmla="*/ 9144000 w 9144000"/>
              <a:gd name="connsiteY3" fmla="*/ 3189752 h 3189752"/>
              <a:gd name="connsiteX4" fmla="*/ 9144000 w 9144000"/>
              <a:gd name="connsiteY4" fmla="*/ 3189752 h 3189752"/>
              <a:gd name="connsiteX5" fmla="*/ 0 w 9144000"/>
              <a:gd name="connsiteY5" fmla="*/ 3189752 h 3189752"/>
              <a:gd name="connsiteX6" fmla="*/ 0 w 9144000"/>
              <a:gd name="connsiteY6" fmla="*/ 3189752 h 3189752"/>
              <a:gd name="connsiteX7" fmla="*/ 3175 w 9144000"/>
              <a:gd name="connsiteY7" fmla="*/ 530231 h 3189752"/>
              <a:gd name="connsiteX8" fmla="*/ 4118424 w 9144000"/>
              <a:gd name="connsiteY8" fmla="*/ 262618 h 3189752"/>
              <a:gd name="connsiteX0" fmla="*/ 4118424 w 9144000"/>
              <a:gd name="connsiteY0" fmla="*/ 262618 h 3189752"/>
              <a:gd name="connsiteX1" fmla="*/ 6856661 w 9144000"/>
              <a:gd name="connsiteY1" fmla="*/ 0 h 3189752"/>
              <a:gd name="connsiteX2" fmla="*/ 9144000 w 9144000"/>
              <a:gd name="connsiteY2" fmla="*/ 6 h 3189752"/>
              <a:gd name="connsiteX3" fmla="*/ 9144000 w 9144000"/>
              <a:gd name="connsiteY3" fmla="*/ 3189752 h 3189752"/>
              <a:gd name="connsiteX4" fmla="*/ 9144000 w 9144000"/>
              <a:gd name="connsiteY4" fmla="*/ 3189752 h 3189752"/>
              <a:gd name="connsiteX5" fmla="*/ 0 w 9144000"/>
              <a:gd name="connsiteY5" fmla="*/ 3189752 h 3189752"/>
              <a:gd name="connsiteX6" fmla="*/ 0 w 9144000"/>
              <a:gd name="connsiteY6" fmla="*/ 3189752 h 3189752"/>
              <a:gd name="connsiteX7" fmla="*/ 3175 w 9144000"/>
              <a:gd name="connsiteY7" fmla="*/ 523881 h 3189752"/>
              <a:gd name="connsiteX8" fmla="*/ 4118424 w 9144000"/>
              <a:gd name="connsiteY8" fmla="*/ 262618 h 3189752"/>
              <a:gd name="connsiteX0" fmla="*/ 4118424 w 9144000"/>
              <a:gd name="connsiteY0" fmla="*/ 262618 h 3189752"/>
              <a:gd name="connsiteX1" fmla="*/ 6856661 w 9144000"/>
              <a:gd name="connsiteY1" fmla="*/ 0 h 3189752"/>
              <a:gd name="connsiteX2" fmla="*/ 9144000 w 9144000"/>
              <a:gd name="connsiteY2" fmla="*/ 6 h 3189752"/>
              <a:gd name="connsiteX3" fmla="*/ 9144000 w 9144000"/>
              <a:gd name="connsiteY3" fmla="*/ 3189752 h 3189752"/>
              <a:gd name="connsiteX4" fmla="*/ 9144000 w 9144000"/>
              <a:gd name="connsiteY4" fmla="*/ 3189752 h 3189752"/>
              <a:gd name="connsiteX5" fmla="*/ 0 w 9144000"/>
              <a:gd name="connsiteY5" fmla="*/ 3189752 h 3189752"/>
              <a:gd name="connsiteX6" fmla="*/ 0 w 9144000"/>
              <a:gd name="connsiteY6" fmla="*/ 3189752 h 3189752"/>
              <a:gd name="connsiteX7" fmla="*/ 3175 w 9144000"/>
              <a:gd name="connsiteY7" fmla="*/ 558806 h 3189752"/>
              <a:gd name="connsiteX8" fmla="*/ 4118424 w 9144000"/>
              <a:gd name="connsiteY8" fmla="*/ 262618 h 3189752"/>
              <a:gd name="connsiteX0" fmla="*/ 4118424 w 9144000"/>
              <a:gd name="connsiteY0" fmla="*/ 262618 h 3189752"/>
              <a:gd name="connsiteX1" fmla="*/ 6856661 w 9144000"/>
              <a:gd name="connsiteY1" fmla="*/ 0 h 3189752"/>
              <a:gd name="connsiteX2" fmla="*/ 9144000 w 9144000"/>
              <a:gd name="connsiteY2" fmla="*/ 6 h 3189752"/>
              <a:gd name="connsiteX3" fmla="*/ 9144000 w 9144000"/>
              <a:gd name="connsiteY3" fmla="*/ 3189752 h 3189752"/>
              <a:gd name="connsiteX4" fmla="*/ 9144000 w 9144000"/>
              <a:gd name="connsiteY4" fmla="*/ 3189752 h 3189752"/>
              <a:gd name="connsiteX5" fmla="*/ 0 w 9144000"/>
              <a:gd name="connsiteY5" fmla="*/ 3189752 h 3189752"/>
              <a:gd name="connsiteX6" fmla="*/ 0 w 9144000"/>
              <a:gd name="connsiteY6" fmla="*/ 3189752 h 3189752"/>
              <a:gd name="connsiteX7" fmla="*/ 3175 w 9144000"/>
              <a:gd name="connsiteY7" fmla="*/ 527056 h 3189752"/>
              <a:gd name="connsiteX8" fmla="*/ 4118424 w 9144000"/>
              <a:gd name="connsiteY8" fmla="*/ 262618 h 3189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44000" h="3189752">
                <a:moveTo>
                  <a:pt x="4118424" y="262618"/>
                </a:moveTo>
                <a:lnTo>
                  <a:pt x="6856661" y="0"/>
                </a:lnTo>
                <a:lnTo>
                  <a:pt x="9144000" y="6"/>
                </a:lnTo>
                <a:lnTo>
                  <a:pt x="9144000" y="3189752"/>
                </a:lnTo>
                <a:lnTo>
                  <a:pt x="9144000" y="3189752"/>
                </a:lnTo>
                <a:lnTo>
                  <a:pt x="0" y="3189752"/>
                </a:lnTo>
                <a:lnTo>
                  <a:pt x="0" y="3189752"/>
                </a:lnTo>
                <a:cubicBezTo>
                  <a:pt x="1058" y="2303245"/>
                  <a:pt x="2117" y="1413563"/>
                  <a:pt x="3175" y="527056"/>
                </a:cubicBezTo>
                <a:lnTo>
                  <a:pt x="4118424" y="262618"/>
                </a:lnTo>
                <a:close/>
              </a:path>
            </a:pathLst>
          </a:custGeom>
          <a:noFill/>
        </p:spPr>
        <p:txBody>
          <a:bodyPr/>
          <a:lstStyle>
            <a:lvl1pPr marL="0" indent="0">
              <a:buNone/>
              <a:defRPr/>
            </a:lvl1pPr>
          </a:lstStyle>
          <a:p>
            <a:r>
              <a:rPr lang="en-US"/>
              <a:t>Click icon to add picture</a:t>
            </a:r>
            <a:endParaRPr lang="sv-SE" dirty="0"/>
          </a:p>
        </p:txBody>
      </p:sp>
      <p:sp>
        <p:nvSpPr>
          <p:cNvPr id="12" name="Rectangular Callout 11"/>
          <p:cNvSpPr/>
          <p:nvPr userDrawn="1"/>
        </p:nvSpPr>
        <p:spPr>
          <a:xfrm>
            <a:off x="9432540" y="-535"/>
            <a:ext cx="1440000" cy="2939097"/>
          </a:xfrm>
          <a:prstGeom prst="wedgeRectCallout">
            <a:avLst>
              <a:gd name="adj1" fmla="val -60810"/>
              <a:gd name="adj2" fmla="val -20925"/>
            </a:avLst>
          </a:prstGeom>
          <a:solidFill>
            <a:srgbClr val="7F7F7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l"/>
            <a:r>
              <a:rPr lang="en-US" sz="800" noProof="0" dirty="0"/>
              <a:t>We use a two-color</a:t>
            </a:r>
            <a:r>
              <a:rPr lang="en-US" sz="800" baseline="0" noProof="0" dirty="0"/>
              <a:t> headline system to highlight our rational and emotional side alike. The first line appears in blue (the rational side), the second line in orange (the emotional side) and the duality principle is reflected in the wording of the headline.</a:t>
            </a:r>
          </a:p>
          <a:p>
            <a:pPr algn="l"/>
            <a:endParaRPr lang="en-US" sz="1000" b="1" baseline="0" noProof="0" dirty="0"/>
          </a:p>
          <a:p>
            <a:pPr algn="l"/>
            <a:r>
              <a:rPr lang="en-US" sz="800" b="1" baseline="0" noProof="0" dirty="0"/>
              <a:t>This system refers to the first page title only, all other headlines are blue.</a:t>
            </a:r>
          </a:p>
          <a:p>
            <a:pPr algn="l"/>
            <a:endParaRPr lang="en-US" sz="1000" b="1" baseline="0" noProof="0" dirty="0"/>
          </a:p>
          <a:p>
            <a:pPr algn="l"/>
            <a:r>
              <a:rPr lang="en-US" sz="800" b="0" baseline="0" noProof="0" dirty="0"/>
              <a:t>Learn more about our verbal identity in the Sandvik Brand Identity Directives, which you can download at the Intranet &gt; home.sandvik.com/brand</a:t>
            </a:r>
            <a:endParaRPr lang="en-US" sz="800" noProof="0" dirty="0"/>
          </a:p>
        </p:txBody>
      </p:sp>
    </p:spTree>
    <p:extLst>
      <p:ext uri="{BB962C8B-B14F-4D97-AF65-F5344CB8AC3E}">
        <p14:creationId xmlns:p14="http://schemas.microsoft.com/office/powerpoint/2010/main" val="3755142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Rubrik 1"/>
          <p:cNvSpPr>
            <a:spLocks noGrp="1"/>
          </p:cNvSpPr>
          <p:nvPr>
            <p:ph type="title" hasCustomPrompt="1"/>
          </p:nvPr>
        </p:nvSpPr>
        <p:spPr/>
        <p:txBody>
          <a:bodyPr/>
          <a:lstStyle>
            <a:lvl1pPr>
              <a:defRPr/>
            </a:lvl1pPr>
          </a:lstStyle>
          <a:p>
            <a:r>
              <a:rPr lang="en-US" noProof="0" dirty="0"/>
              <a:t>Headline one line</a:t>
            </a:r>
          </a:p>
        </p:txBody>
      </p:sp>
      <p:sp>
        <p:nvSpPr>
          <p:cNvPr id="3" name="Platshållare för datum 2"/>
          <p:cNvSpPr>
            <a:spLocks noGrp="1"/>
          </p:cNvSpPr>
          <p:nvPr>
            <p:ph type="dt" sz="half" idx="10"/>
          </p:nvPr>
        </p:nvSpPr>
        <p:spPr/>
        <p:txBody>
          <a:bodyPr/>
          <a:lstStyle/>
          <a:p>
            <a:fld id="{A0BC125F-3FAE-45AA-A1D5-22CF1C11F8CB}" type="datetime1">
              <a:rPr lang="en-US" smtClean="0"/>
              <a:t>9/10/2018</a:t>
            </a:fld>
            <a:endParaRPr lang="en-US" dirty="0"/>
          </a:p>
        </p:txBody>
      </p:sp>
      <p:sp>
        <p:nvSpPr>
          <p:cNvPr id="4" name="Platshållare för sidfot 3"/>
          <p:cNvSpPr>
            <a:spLocks noGrp="1"/>
          </p:cNvSpPr>
          <p:nvPr>
            <p:ph type="ftr" sz="quarter" idx="11"/>
          </p:nvPr>
        </p:nvSpPr>
        <p:spPr/>
        <p:txBody>
          <a:bodyPr/>
          <a:lstStyle/>
          <a:p>
            <a:r>
              <a:rPr lang="en-US" dirty="0"/>
              <a:t>SANDVIK: Title of presentation</a:t>
            </a:r>
          </a:p>
        </p:txBody>
      </p:sp>
      <p:sp>
        <p:nvSpPr>
          <p:cNvPr id="5" name="Platshållare för bildnummer 4"/>
          <p:cNvSpPr>
            <a:spLocks noGrp="1"/>
          </p:cNvSpPr>
          <p:nvPr>
            <p:ph type="sldNum" sz="quarter" idx="12"/>
          </p:nvPr>
        </p:nvSpPr>
        <p:spPr/>
        <p:txBody>
          <a:bodyPr/>
          <a:lstStyle/>
          <a:p>
            <a:fld id="{469B62F1-B431-48B6-8270-02431A1685B7}" type="slidenum">
              <a:rPr lang="en-US" smtClean="0"/>
              <a:t>‹#›</a:t>
            </a:fld>
            <a:endParaRPr lang="en-US" dirty="0"/>
          </a:p>
        </p:txBody>
      </p:sp>
    </p:spTree>
    <p:extLst>
      <p:ext uri="{BB962C8B-B14F-4D97-AF65-F5344CB8AC3E}">
        <p14:creationId xmlns:p14="http://schemas.microsoft.com/office/powerpoint/2010/main" val="4208686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titleOnly" preserve="1">
  <p:cSld name="Only text blue">
    <p:spTree>
      <p:nvGrpSpPr>
        <p:cNvPr id="1" name=""/>
        <p:cNvGrpSpPr/>
        <p:nvPr/>
      </p:nvGrpSpPr>
      <p:grpSpPr>
        <a:xfrm>
          <a:off x="0" y="0"/>
          <a:ext cx="0" cy="0"/>
          <a:chOff x="0" y="0"/>
          <a:chExt cx="0" cy="0"/>
        </a:xfrm>
      </p:grpSpPr>
      <p:sp>
        <p:nvSpPr>
          <p:cNvPr id="2" name="Rubrik 1"/>
          <p:cNvSpPr>
            <a:spLocks noGrp="1"/>
          </p:cNvSpPr>
          <p:nvPr>
            <p:ph type="title" hasCustomPrompt="1"/>
          </p:nvPr>
        </p:nvSpPr>
        <p:spPr>
          <a:xfrm>
            <a:off x="360000" y="1800000"/>
            <a:ext cx="8424000" cy="1440000"/>
          </a:xfrm>
        </p:spPr>
        <p:txBody>
          <a:bodyPr>
            <a:noAutofit/>
          </a:bodyPr>
          <a:lstStyle>
            <a:lvl1pPr algn="l">
              <a:lnSpc>
                <a:spcPct val="100000"/>
              </a:lnSpc>
              <a:spcAft>
                <a:spcPts val="700"/>
              </a:spcAft>
              <a:defRPr sz="4800" baseline="0"/>
            </a:lvl1pPr>
          </a:lstStyle>
          <a:p>
            <a:r>
              <a:rPr lang="en-US" noProof="0" dirty="0"/>
              <a:t>”Quote” or big text on</a:t>
            </a:r>
            <a:br>
              <a:rPr lang="en-US" noProof="0" dirty="0"/>
            </a:br>
            <a:r>
              <a:rPr lang="en-US" noProof="0" dirty="0"/>
              <a:t>white background</a:t>
            </a:r>
          </a:p>
        </p:txBody>
      </p:sp>
      <p:sp>
        <p:nvSpPr>
          <p:cNvPr id="3" name="Platshållare för datum 2"/>
          <p:cNvSpPr>
            <a:spLocks noGrp="1"/>
          </p:cNvSpPr>
          <p:nvPr>
            <p:ph type="dt" sz="half" idx="10"/>
          </p:nvPr>
        </p:nvSpPr>
        <p:spPr/>
        <p:txBody>
          <a:bodyPr/>
          <a:lstStyle/>
          <a:p>
            <a:fld id="{6FD9AF61-2D2D-4997-923E-03B2C54181BD}" type="datetime1">
              <a:rPr lang="en-US" smtClean="0"/>
              <a:t>9/10/2018</a:t>
            </a:fld>
            <a:endParaRPr lang="en-US" dirty="0"/>
          </a:p>
        </p:txBody>
      </p:sp>
      <p:sp>
        <p:nvSpPr>
          <p:cNvPr id="4" name="Platshållare för sidfot 3"/>
          <p:cNvSpPr>
            <a:spLocks noGrp="1"/>
          </p:cNvSpPr>
          <p:nvPr>
            <p:ph type="ftr" sz="quarter" idx="11"/>
          </p:nvPr>
        </p:nvSpPr>
        <p:spPr/>
        <p:txBody>
          <a:bodyPr/>
          <a:lstStyle/>
          <a:p>
            <a:r>
              <a:rPr lang="en-US" dirty="0"/>
              <a:t>SANDVIK: Title of presentation</a:t>
            </a:r>
          </a:p>
        </p:txBody>
      </p:sp>
      <p:sp>
        <p:nvSpPr>
          <p:cNvPr id="5" name="Platshållare för bildnummer 4"/>
          <p:cNvSpPr>
            <a:spLocks noGrp="1"/>
          </p:cNvSpPr>
          <p:nvPr>
            <p:ph type="sldNum" sz="quarter" idx="12"/>
          </p:nvPr>
        </p:nvSpPr>
        <p:spPr/>
        <p:txBody>
          <a:bodyPr/>
          <a:lstStyle/>
          <a:p>
            <a:fld id="{469B62F1-B431-48B6-8270-02431A1685B7}" type="slidenum">
              <a:rPr lang="en-US" smtClean="0"/>
              <a:t>‹#›</a:t>
            </a:fld>
            <a:endParaRPr lang="en-US" dirty="0"/>
          </a:p>
        </p:txBody>
      </p:sp>
      <p:sp>
        <p:nvSpPr>
          <p:cNvPr id="6" name="Rectangular Callout 5"/>
          <p:cNvSpPr/>
          <p:nvPr userDrawn="1"/>
        </p:nvSpPr>
        <p:spPr>
          <a:xfrm>
            <a:off x="9432540" y="1923678"/>
            <a:ext cx="1440000" cy="720000"/>
          </a:xfrm>
          <a:prstGeom prst="wedgeRectCallout">
            <a:avLst>
              <a:gd name="adj1" fmla="val -60810"/>
              <a:gd name="adj2" fmla="val -20925"/>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l"/>
            <a:r>
              <a:rPr lang="en-US" sz="800" noProof="0" dirty="0"/>
              <a:t>Feel free to make vertical adjustment</a:t>
            </a:r>
            <a:r>
              <a:rPr lang="en-US" sz="800" baseline="0" noProof="0" dirty="0"/>
              <a:t> for text placement – it depends on amount of text content. </a:t>
            </a:r>
            <a:endParaRPr lang="en-US" sz="800" noProof="0" dirty="0"/>
          </a:p>
        </p:txBody>
      </p:sp>
    </p:spTree>
    <p:extLst>
      <p:ext uri="{BB962C8B-B14F-4D97-AF65-F5344CB8AC3E}">
        <p14:creationId xmlns:p14="http://schemas.microsoft.com/office/powerpoint/2010/main" val="2477768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titleOnly" preserve="1">
  <p:cSld name="Only text orange">
    <p:spTree>
      <p:nvGrpSpPr>
        <p:cNvPr id="1" name=""/>
        <p:cNvGrpSpPr/>
        <p:nvPr/>
      </p:nvGrpSpPr>
      <p:grpSpPr>
        <a:xfrm>
          <a:off x="0" y="0"/>
          <a:ext cx="0" cy="0"/>
          <a:chOff x="0" y="0"/>
          <a:chExt cx="0" cy="0"/>
        </a:xfrm>
      </p:grpSpPr>
      <p:sp>
        <p:nvSpPr>
          <p:cNvPr id="2" name="Rubrik 1"/>
          <p:cNvSpPr>
            <a:spLocks noGrp="1"/>
          </p:cNvSpPr>
          <p:nvPr>
            <p:ph type="title" hasCustomPrompt="1"/>
          </p:nvPr>
        </p:nvSpPr>
        <p:spPr>
          <a:xfrm>
            <a:off x="360000" y="1800000"/>
            <a:ext cx="8424000" cy="1440000"/>
          </a:xfrm>
        </p:spPr>
        <p:txBody>
          <a:bodyPr>
            <a:noAutofit/>
          </a:bodyPr>
          <a:lstStyle>
            <a:lvl1pPr algn="l">
              <a:lnSpc>
                <a:spcPct val="100000"/>
              </a:lnSpc>
              <a:spcAft>
                <a:spcPts val="700"/>
              </a:spcAft>
              <a:defRPr sz="4800" baseline="0">
                <a:solidFill>
                  <a:schemeClr val="accent2"/>
                </a:solidFill>
              </a:defRPr>
            </a:lvl1pPr>
          </a:lstStyle>
          <a:p>
            <a:r>
              <a:rPr lang="en-US" noProof="0" dirty="0"/>
              <a:t>”Quote” or big text on</a:t>
            </a:r>
            <a:br>
              <a:rPr lang="en-US" noProof="0" dirty="0"/>
            </a:br>
            <a:r>
              <a:rPr lang="en-US" noProof="0" dirty="0"/>
              <a:t>white background</a:t>
            </a:r>
          </a:p>
        </p:txBody>
      </p:sp>
      <p:sp>
        <p:nvSpPr>
          <p:cNvPr id="3" name="Platshållare för datum 2"/>
          <p:cNvSpPr>
            <a:spLocks noGrp="1"/>
          </p:cNvSpPr>
          <p:nvPr>
            <p:ph type="dt" sz="half" idx="10"/>
          </p:nvPr>
        </p:nvSpPr>
        <p:spPr/>
        <p:txBody>
          <a:bodyPr/>
          <a:lstStyle/>
          <a:p>
            <a:fld id="{63526969-1DB6-4262-AAB1-0489A8CD801C}" type="datetime1">
              <a:rPr lang="en-US" smtClean="0"/>
              <a:t>9/10/2018</a:t>
            </a:fld>
            <a:endParaRPr lang="en-US" dirty="0"/>
          </a:p>
        </p:txBody>
      </p:sp>
      <p:sp>
        <p:nvSpPr>
          <p:cNvPr id="4" name="Platshållare för sidfot 3"/>
          <p:cNvSpPr>
            <a:spLocks noGrp="1"/>
          </p:cNvSpPr>
          <p:nvPr>
            <p:ph type="ftr" sz="quarter" idx="11"/>
          </p:nvPr>
        </p:nvSpPr>
        <p:spPr/>
        <p:txBody>
          <a:bodyPr/>
          <a:lstStyle/>
          <a:p>
            <a:r>
              <a:rPr lang="en-US" dirty="0"/>
              <a:t>SANDVIK: Title of presentation</a:t>
            </a:r>
          </a:p>
        </p:txBody>
      </p:sp>
      <p:sp>
        <p:nvSpPr>
          <p:cNvPr id="5" name="Platshållare för bildnummer 4"/>
          <p:cNvSpPr>
            <a:spLocks noGrp="1"/>
          </p:cNvSpPr>
          <p:nvPr>
            <p:ph type="sldNum" sz="quarter" idx="12"/>
          </p:nvPr>
        </p:nvSpPr>
        <p:spPr/>
        <p:txBody>
          <a:bodyPr/>
          <a:lstStyle/>
          <a:p>
            <a:fld id="{469B62F1-B431-48B6-8270-02431A1685B7}" type="slidenum">
              <a:rPr lang="en-US" smtClean="0"/>
              <a:t>‹#›</a:t>
            </a:fld>
            <a:endParaRPr lang="en-US" dirty="0"/>
          </a:p>
        </p:txBody>
      </p:sp>
      <p:sp>
        <p:nvSpPr>
          <p:cNvPr id="7" name="Rectangular Callout 6"/>
          <p:cNvSpPr/>
          <p:nvPr userDrawn="1"/>
        </p:nvSpPr>
        <p:spPr>
          <a:xfrm>
            <a:off x="9432540" y="1923678"/>
            <a:ext cx="1440000" cy="720000"/>
          </a:xfrm>
          <a:prstGeom prst="wedgeRectCallout">
            <a:avLst>
              <a:gd name="adj1" fmla="val -60810"/>
              <a:gd name="adj2" fmla="val -20925"/>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l"/>
            <a:r>
              <a:rPr lang="en-US" sz="800" noProof="0" dirty="0"/>
              <a:t>Feel free to make vertical adjustment</a:t>
            </a:r>
            <a:r>
              <a:rPr lang="en-US" sz="800" baseline="0" noProof="0" dirty="0"/>
              <a:t> for text placement – it depends on amount of text content. </a:t>
            </a:r>
            <a:endParaRPr lang="en-US" sz="800" noProof="0" dirty="0"/>
          </a:p>
        </p:txBody>
      </p:sp>
    </p:spTree>
    <p:extLst>
      <p:ext uri="{BB962C8B-B14F-4D97-AF65-F5344CB8AC3E}">
        <p14:creationId xmlns:p14="http://schemas.microsoft.com/office/powerpoint/2010/main" val="1156046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Big text on picture">
    <p:spTree>
      <p:nvGrpSpPr>
        <p:cNvPr id="1" name=""/>
        <p:cNvGrpSpPr/>
        <p:nvPr/>
      </p:nvGrpSpPr>
      <p:grpSpPr>
        <a:xfrm>
          <a:off x="0" y="0"/>
          <a:ext cx="0" cy="0"/>
          <a:chOff x="0" y="0"/>
          <a:chExt cx="0" cy="0"/>
        </a:xfrm>
      </p:grpSpPr>
      <p:sp>
        <p:nvSpPr>
          <p:cNvPr id="8" name="Platshållare för bild 7"/>
          <p:cNvSpPr>
            <a:spLocks noGrp="1"/>
          </p:cNvSpPr>
          <p:nvPr>
            <p:ph type="pic" sz="quarter" idx="13"/>
          </p:nvPr>
        </p:nvSpPr>
        <p:spPr>
          <a:xfrm>
            <a:off x="0" y="0"/>
            <a:ext cx="9144000" cy="5143500"/>
          </a:xfrm>
        </p:spPr>
        <p:txBody>
          <a:bodyPr/>
          <a:lstStyle/>
          <a:p>
            <a:r>
              <a:rPr lang="en-US"/>
              <a:t>Click icon to add picture</a:t>
            </a:r>
            <a:endParaRPr lang="sv-SE" dirty="0"/>
          </a:p>
        </p:txBody>
      </p:sp>
      <p:sp>
        <p:nvSpPr>
          <p:cNvPr id="2" name="Rubrik 1"/>
          <p:cNvSpPr>
            <a:spLocks noGrp="1"/>
          </p:cNvSpPr>
          <p:nvPr>
            <p:ph type="title" hasCustomPrompt="1"/>
          </p:nvPr>
        </p:nvSpPr>
        <p:spPr>
          <a:xfrm>
            <a:off x="360000" y="1170000"/>
            <a:ext cx="4122000" cy="2700000"/>
          </a:xfrm>
        </p:spPr>
        <p:txBody>
          <a:bodyPr>
            <a:noAutofit/>
          </a:bodyPr>
          <a:lstStyle>
            <a:lvl1pPr algn="l">
              <a:lnSpc>
                <a:spcPct val="100000"/>
              </a:lnSpc>
              <a:spcAft>
                <a:spcPts val="700"/>
              </a:spcAft>
              <a:defRPr sz="3600" baseline="0">
                <a:solidFill>
                  <a:schemeClr val="tx1"/>
                </a:solidFill>
              </a:defRPr>
            </a:lvl1pPr>
          </a:lstStyle>
          <a:p>
            <a:r>
              <a:rPr lang="en-US" noProof="0" dirty="0"/>
              <a:t>”Quote”, or big text (black, white, blue or orange) on picture </a:t>
            </a:r>
          </a:p>
        </p:txBody>
      </p:sp>
      <p:sp>
        <p:nvSpPr>
          <p:cNvPr id="3" name="Platshållare för datum 2"/>
          <p:cNvSpPr>
            <a:spLocks noGrp="1"/>
          </p:cNvSpPr>
          <p:nvPr>
            <p:ph type="dt" sz="half" idx="10"/>
          </p:nvPr>
        </p:nvSpPr>
        <p:spPr/>
        <p:txBody>
          <a:bodyPr/>
          <a:lstStyle/>
          <a:p>
            <a:fld id="{9B7204ED-F5A4-49B1-A568-4266C4312E57}" type="datetime1">
              <a:rPr lang="en-US" smtClean="0"/>
              <a:t>9/10/2018</a:t>
            </a:fld>
            <a:endParaRPr lang="en-US" dirty="0"/>
          </a:p>
        </p:txBody>
      </p:sp>
      <p:sp>
        <p:nvSpPr>
          <p:cNvPr id="4" name="Platshållare för sidfot 3"/>
          <p:cNvSpPr>
            <a:spLocks noGrp="1"/>
          </p:cNvSpPr>
          <p:nvPr>
            <p:ph type="ftr" sz="quarter" idx="11"/>
          </p:nvPr>
        </p:nvSpPr>
        <p:spPr/>
        <p:txBody>
          <a:bodyPr/>
          <a:lstStyle/>
          <a:p>
            <a:r>
              <a:rPr lang="en-US" dirty="0"/>
              <a:t>SANDVIK: Title of presentation</a:t>
            </a:r>
          </a:p>
        </p:txBody>
      </p:sp>
      <p:sp>
        <p:nvSpPr>
          <p:cNvPr id="5" name="Platshållare för bildnummer 4"/>
          <p:cNvSpPr>
            <a:spLocks noGrp="1"/>
          </p:cNvSpPr>
          <p:nvPr>
            <p:ph type="sldNum" sz="quarter" idx="12"/>
          </p:nvPr>
        </p:nvSpPr>
        <p:spPr/>
        <p:txBody>
          <a:bodyPr/>
          <a:lstStyle/>
          <a:p>
            <a:fld id="{469B62F1-B431-48B6-8270-02431A1685B7}" type="slidenum">
              <a:rPr lang="en-US" smtClean="0"/>
              <a:t>‹#›</a:t>
            </a:fld>
            <a:endParaRPr lang="en-US" dirty="0"/>
          </a:p>
        </p:txBody>
      </p:sp>
      <p:sp>
        <p:nvSpPr>
          <p:cNvPr id="7" name="Rectangular Callout 6"/>
          <p:cNvSpPr/>
          <p:nvPr userDrawn="1"/>
        </p:nvSpPr>
        <p:spPr>
          <a:xfrm>
            <a:off x="9432540" y="1923678"/>
            <a:ext cx="1440000" cy="720000"/>
          </a:xfrm>
          <a:prstGeom prst="wedgeRectCallout">
            <a:avLst>
              <a:gd name="adj1" fmla="val -60810"/>
              <a:gd name="adj2" fmla="val -20925"/>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l"/>
            <a:r>
              <a:rPr lang="en-US" sz="800" noProof="0" dirty="0"/>
              <a:t>Feel free to make vertical adjustment</a:t>
            </a:r>
            <a:r>
              <a:rPr lang="en-US" sz="800" baseline="0" noProof="0" dirty="0"/>
              <a:t> for text placement – it depends on amount of text content. </a:t>
            </a:r>
            <a:endParaRPr lang="en-US" sz="800" noProof="0" dirty="0"/>
          </a:p>
        </p:txBody>
      </p:sp>
    </p:spTree>
    <p:extLst>
      <p:ext uri="{BB962C8B-B14F-4D97-AF65-F5344CB8AC3E}">
        <p14:creationId xmlns:p14="http://schemas.microsoft.com/office/powerpoint/2010/main" val="21350795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ig text left blue">
    <p:spTree>
      <p:nvGrpSpPr>
        <p:cNvPr id="1" name=""/>
        <p:cNvGrpSpPr/>
        <p:nvPr/>
      </p:nvGrpSpPr>
      <p:grpSpPr>
        <a:xfrm>
          <a:off x="0" y="0"/>
          <a:ext cx="0" cy="0"/>
          <a:chOff x="0" y="0"/>
          <a:chExt cx="0" cy="0"/>
        </a:xfrm>
      </p:grpSpPr>
      <p:sp>
        <p:nvSpPr>
          <p:cNvPr id="2" name="Rubrik 1"/>
          <p:cNvSpPr>
            <a:spLocks noGrp="1"/>
          </p:cNvSpPr>
          <p:nvPr>
            <p:ph type="title" hasCustomPrompt="1"/>
          </p:nvPr>
        </p:nvSpPr>
        <p:spPr>
          <a:xfrm>
            <a:off x="360000" y="414000"/>
            <a:ext cx="4122000" cy="3960000"/>
          </a:xfrm>
        </p:spPr>
        <p:txBody>
          <a:bodyPr>
            <a:noAutofit/>
          </a:bodyPr>
          <a:lstStyle>
            <a:lvl1pPr algn="l">
              <a:lnSpc>
                <a:spcPct val="100000"/>
              </a:lnSpc>
              <a:spcAft>
                <a:spcPts val="700"/>
              </a:spcAft>
              <a:defRPr sz="4800" baseline="0">
                <a:solidFill>
                  <a:schemeClr val="accent1"/>
                </a:solidFill>
              </a:defRPr>
            </a:lvl1pPr>
          </a:lstStyle>
          <a:p>
            <a:r>
              <a:rPr lang="en-US" noProof="0" dirty="0"/>
              <a:t>Big text,</a:t>
            </a:r>
            <a:br>
              <a:rPr lang="en-US" noProof="0" dirty="0"/>
            </a:br>
            <a:r>
              <a:rPr lang="en-US" noProof="0" dirty="0"/>
              <a:t>more than one line </a:t>
            </a:r>
          </a:p>
        </p:txBody>
      </p:sp>
      <p:sp>
        <p:nvSpPr>
          <p:cNvPr id="3" name="Platshållare för datum 2"/>
          <p:cNvSpPr>
            <a:spLocks noGrp="1"/>
          </p:cNvSpPr>
          <p:nvPr>
            <p:ph type="dt" sz="half" idx="10"/>
          </p:nvPr>
        </p:nvSpPr>
        <p:spPr/>
        <p:txBody>
          <a:bodyPr/>
          <a:lstStyle/>
          <a:p>
            <a:fld id="{289E0679-1120-41DD-AF2A-27CB1CDD1C05}" type="datetime1">
              <a:rPr lang="en-US" smtClean="0"/>
              <a:t>9/10/2018</a:t>
            </a:fld>
            <a:endParaRPr lang="en-US" dirty="0"/>
          </a:p>
        </p:txBody>
      </p:sp>
      <p:sp>
        <p:nvSpPr>
          <p:cNvPr id="4" name="Platshållare för sidfot 3"/>
          <p:cNvSpPr>
            <a:spLocks noGrp="1"/>
          </p:cNvSpPr>
          <p:nvPr>
            <p:ph type="ftr" sz="quarter" idx="11"/>
          </p:nvPr>
        </p:nvSpPr>
        <p:spPr/>
        <p:txBody>
          <a:bodyPr/>
          <a:lstStyle/>
          <a:p>
            <a:r>
              <a:rPr lang="en-US" dirty="0"/>
              <a:t>SANDVIK: Title of presentation</a:t>
            </a:r>
          </a:p>
        </p:txBody>
      </p:sp>
      <p:sp>
        <p:nvSpPr>
          <p:cNvPr id="5" name="Platshållare för bildnummer 4"/>
          <p:cNvSpPr>
            <a:spLocks noGrp="1"/>
          </p:cNvSpPr>
          <p:nvPr>
            <p:ph type="sldNum" sz="quarter" idx="12"/>
          </p:nvPr>
        </p:nvSpPr>
        <p:spPr/>
        <p:txBody>
          <a:bodyPr/>
          <a:lstStyle/>
          <a:p>
            <a:fld id="{469B62F1-B431-48B6-8270-02431A1685B7}" type="slidenum">
              <a:rPr lang="en-US" smtClean="0"/>
              <a:t>‹#›</a:t>
            </a:fld>
            <a:endParaRPr lang="en-US" dirty="0"/>
          </a:p>
        </p:txBody>
      </p:sp>
      <p:sp>
        <p:nvSpPr>
          <p:cNvPr id="8" name="Picture Placeholder 7"/>
          <p:cNvSpPr>
            <a:spLocks noGrp="1"/>
          </p:cNvSpPr>
          <p:nvPr>
            <p:ph type="pic" sz="quarter" idx="13"/>
          </p:nvPr>
        </p:nvSpPr>
        <p:spPr>
          <a:xfrm>
            <a:off x="4662000" y="414000"/>
            <a:ext cx="4122000" cy="3960000"/>
          </a:xfrm>
        </p:spPr>
        <p:txBody>
          <a:bodyPr/>
          <a:lstStyle>
            <a:lvl1pPr marL="0" indent="0">
              <a:buNone/>
              <a:defRPr/>
            </a:lvl1pPr>
          </a:lstStyle>
          <a:p>
            <a:r>
              <a:rPr lang="en-US"/>
              <a:t>Click icon to add picture</a:t>
            </a:r>
            <a:endParaRPr lang="sv-SE" dirty="0"/>
          </a:p>
        </p:txBody>
      </p:sp>
    </p:spTree>
    <p:extLst>
      <p:ext uri="{BB962C8B-B14F-4D97-AF65-F5344CB8AC3E}">
        <p14:creationId xmlns:p14="http://schemas.microsoft.com/office/powerpoint/2010/main" val="2200166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ig text left orange">
    <p:spTree>
      <p:nvGrpSpPr>
        <p:cNvPr id="1" name=""/>
        <p:cNvGrpSpPr/>
        <p:nvPr/>
      </p:nvGrpSpPr>
      <p:grpSpPr>
        <a:xfrm>
          <a:off x="0" y="0"/>
          <a:ext cx="0" cy="0"/>
          <a:chOff x="0" y="0"/>
          <a:chExt cx="0" cy="0"/>
        </a:xfrm>
      </p:grpSpPr>
      <p:sp>
        <p:nvSpPr>
          <p:cNvPr id="2" name="Rubrik 1"/>
          <p:cNvSpPr>
            <a:spLocks noGrp="1"/>
          </p:cNvSpPr>
          <p:nvPr>
            <p:ph type="title" hasCustomPrompt="1"/>
          </p:nvPr>
        </p:nvSpPr>
        <p:spPr>
          <a:xfrm>
            <a:off x="360000" y="414000"/>
            <a:ext cx="4122000" cy="3960000"/>
          </a:xfrm>
        </p:spPr>
        <p:txBody>
          <a:bodyPr>
            <a:noAutofit/>
          </a:bodyPr>
          <a:lstStyle>
            <a:lvl1pPr algn="l">
              <a:lnSpc>
                <a:spcPct val="100000"/>
              </a:lnSpc>
              <a:spcAft>
                <a:spcPts val="700"/>
              </a:spcAft>
              <a:defRPr sz="4800" baseline="0">
                <a:solidFill>
                  <a:schemeClr val="accent2"/>
                </a:solidFill>
              </a:defRPr>
            </a:lvl1pPr>
          </a:lstStyle>
          <a:p>
            <a:r>
              <a:rPr lang="en-US" noProof="0" dirty="0"/>
              <a:t>Big text,</a:t>
            </a:r>
            <a:br>
              <a:rPr lang="en-US" noProof="0" dirty="0"/>
            </a:br>
            <a:r>
              <a:rPr lang="en-US" noProof="0" dirty="0"/>
              <a:t>more than one line </a:t>
            </a:r>
          </a:p>
        </p:txBody>
      </p:sp>
      <p:sp>
        <p:nvSpPr>
          <p:cNvPr id="3" name="Platshållare för datum 2"/>
          <p:cNvSpPr>
            <a:spLocks noGrp="1"/>
          </p:cNvSpPr>
          <p:nvPr>
            <p:ph type="dt" sz="half" idx="10"/>
          </p:nvPr>
        </p:nvSpPr>
        <p:spPr/>
        <p:txBody>
          <a:bodyPr/>
          <a:lstStyle/>
          <a:p>
            <a:fld id="{B086D459-BE16-4E65-B712-8C0B332A8AB1}" type="datetime1">
              <a:rPr lang="en-US" smtClean="0"/>
              <a:t>9/10/2018</a:t>
            </a:fld>
            <a:endParaRPr lang="en-US" dirty="0"/>
          </a:p>
        </p:txBody>
      </p:sp>
      <p:sp>
        <p:nvSpPr>
          <p:cNvPr id="4" name="Platshållare för sidfot 3"/>
          <p:cNvSpPr>
            <a:spLocks noGrp="1"/>
          </p:cNvSpPr>
          <p:nvPr>
            <p:ph type="ftr" sz="quarter" idx="11"/>
          </p:nvPr>
        </p:nvSpPr>
        <p:spPr/>
        <p:txBody>
          <a:bodyPr/>
          <a:lstStyle/>
          <a:p>
            <a:r>
              <a:rPr lang="en-US" dirty="0"/>
              <a:t>SANDVIK: Title of presentation</a:t>
            </a:r>
          </a:p>
        </p:txBody>
      </p:sp>
      <p:sp>
        <p:nvSpPr>
          <p:cNvPr id="5" name="Platshållare för bildnummer 4"/>
          <p:cNvSpPr>
            <a:spLocks noGrp="1"/>
          </p:cNvSpPr>
          <p:nvPr>
            <p:ph type="sldNum" sz="quarter" idx="12"/>
          </p:nvPr>
        </p:nvSpPr>
        <p:spPr/>
        <p:txBody>
          <a:bodyPr/>
          <a:lstStyle/>
          <a:p>
            <a:fld id="{469B62F1-B431-48B6-8270-02431A1685B7}" type="slidenum">
              <a:rPr lang="en-US" smtClean="0"/>
              <a:t>‹#›</a:t>
            </a:fld>
            <a:endParaRPr lang="en-US" dirty="0"/>
          </a:p>
        </p:txBody>
      </p:sp>
      <p:sp>
        <p:nvSpPr>
          <p:cNvPr id="8" name="Picture Placeholder 7"/>
          <p:cNvSpPr>
            <a:spLocks noGrp="1"/>
          </p:cNvSpPr>
          <p:nvPr>
            <p:ph type="pic" sz="quarter" idx="13"/>
          </p:nvPr>
        </p:nvSpPr>
        <p:spPr>
          <a:xfrm>
            <a:off x="4662000" y="414000"/>
            <a:ext cx="4122000" cy="3960000"/>
          </a:xfrm>
        </p:spPr>
        <p:txBody>
          <a:bodyPr/>
          <a:lstStyle>
            <a:lvl1pPr marL="0" indent="0">
              <a:buNone/>
              <a:defRPr/>
            </a:lvl1pPr>
          </a:lstStyle>
          <a:p>
            <a:r>
              <a:rPr lang="en-US"/>
              <a:t>Click icon to add picture</a:t>
            </a:r>
            <a:endParaRPr lang="sv-SE" dirty="0"/>
          </a:p>
        </p:txBody>
      </p:sp>
    </p:spTree>
    <p:extLst>
      <p:ext uri="{BB962C8B-B14F-4D97-AF65-F5344CB8AC3E}">
        <p14:creationId xmlns:p14="http://schemas.microsoft.com/office/powerpoint/2010/main" val="324217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ig text right blue">
    <p:spTree>
      <p:nvGrpSpPr>
        <p:cNvPr id="1" name=""/>
        <p:cNvGrpSpPr/>
        <p:nvPr/>
      </p:nvGrpSpPr>
      <p:grpSpPr>
        <a:xfrm>
          <a:off x="0" y="0"/>
          <a:ext cx="0" cy="0"/>
          <a:chOff x="0" y="0"/>
          <a:chExt cx="0" cy="0"/>
        </a:xfrm>
      </p:grpSpPr>
      <p:sp>
        <p:nvSpPr>
          <p:cNvPr id="2" name="Rubrik 1"/>
          <p:cNvSpPr>
            <a:spLocks noGrp="1"/>
          </p:cNvSpPr>
          <p:nvPr>
            <p:ph type="title" hasCustomPrompt="1"/>
          </p:nvPr>
        </p:nvSpPr>
        <p:spPr>
          <a:xfrm>
            <a:off x="4662000" y="414000"/>
            <a:ext cx="4122000" cy="3960000"/>
          </a:xfrm>
        </p:spPr>
        <p:txBody>
          <a:bodyPr>
            <a:noAutofit/>
          </a:bodyPr>
          <a:lstStyle>
            <a:lvl1pPr algn="l">
              <a:lnSpc>
                <a:spcPct val="100000"/>
              </a:lnSpc>
              <a:spcAft>
                <a:spcPts val="700"/>
              </a:spcAft>
              <a:defRPr sz="4800" baseline="0">
                <a:solidFill>
                  <a:schemeClr val="accent1"/>
                </a:solidFill>
              </a:defRPr>
            </a:lvl1pPr>
          </a:lstStyle>
          <a:p>
            <a:r>
              <a:rPr lang="en-US" noProof="0" dirty="0"/>
              <a:t>Big text,</a:t>
            </a:r>
            <a:br>
              <a:rPr lang="en-US" noProof="0" dirty="0"/>
            </a:br>
            <a:r>
              <a:rPr lang="en-US" noProof="0" dirty="0"/>
              <a:t>more than one line</a:t>
            </a:r>
          </a:p>
        </p:txBody>
      </p:sp>
      <p:sp>
        <p:nvSpPr>
          <p:cNvPr id="3" name="Platshållare för datum 2"/>
          <p:cNvSpPr>
            <a:spLocks noGrp="1"/>
          </p:cNvSpPr>
          <p:nvPr>
            <p:ph type="dt" sz="half" idx="10"/>
          </p:nvPr>
        </p:nvSpPr>
        <p:spPr/>
        <p:txBody>
          <a:bodyPr/>
          <a:lstStyle/>
          <a:p>
            <a:fld id="{B344A86F-5D64-4087-84A3-365E267E9722}" type="datetime1">
              <a:rPr lang="en-US" smtClean="0"/>
              <a:t>9/10/2018</a:t>
            </a:fld>
            <a:endParaRPr lang="en-US" dirty="0"/>
          </a:p>
        </p:txBody>
      </p:sp>
      <p:sp>
        <p:nvSpPr>
          <p:cNvPr id="4" name="Platshållare för sidfot 3"/>
          <p:cNvSpPr>
            <a:spLocks noGrp="1"/>
          </p:cNvSpPr>
          <p:nvPr>
            <p:ph type="ftr" sz="quarter" idx="11"/>
          </p:nvPr>
        </p:nvSpPr>
        <p:spPr/>
        <p:txBody>
          <a:bodyPr/>
          <a:lstStyle/>
          <a:p>
            <a:r>
              <a:rPr lang="en-US" dirty="0"/>
              <a:t>SANDVIK: Title of presentation</a:t>
            </a:r>
          </a:p>
        </p:txBody>
      </p:sp>
      <p:sp>
        <p:nvSpPr>
          <p:cNvPr id="5" name="Platshållare för bildnummer 4"/>
          <p:cNvSpPr>
            <a:spLocks noGrp="1"/>
          </p:cNvSpPr>
          <p:nvPr>
            <p:ph type="sldNum" sz="quarter" idx="12"/>
          </p:nvPr>
        </p:nvSpPr>
        <p:spPr/>
        <p:txBody>
          <a:bodyPr/>
          <a:lstStyle/>
          <a:p>
            <a:fld id="{469B62F1-B431-48B6-8270-02431A1685B7}" type="slidenum">
              <a:rPr lang="en-US" smtClean="0"/>
              <a:t>‹#›</a:t>
            </a:fld>
            <a:endParaRPr lang="en-US" dirty="0"/>
          </a:p>
        </p:txBody>
      </p:sp>
      <p:sp>
        <p:nvSpPr>
          <p:cNvPr id="8" name="Picture Placeholder 7"/>
          <p:cNvSpPr>
            <a:spLocks noGrp="1"/>
          </p:cNvSpPr>
          <p:nvPr>
            <p:ph type="pic" sz="quarter" idx="13"/>
          </p:nvPr>
        </p:nvSpPr>
        <p:spPr>
          <a:xfrm>
            <a:off x="360000" y="414000"/>
            <a:ext cx="4122000" cy="3960000"/>
          </a:xfrm>
        </p:spPr>
        <p:txBody>
          <a:bodyPr/>
          <a:lstStyle>
            <a:lvl1pPr marL="0" indent="0">
              <a:buNone/>
              <a:defRPr/>
            </a:lvl1pPr>
          </a:lstStyle>
          <a:p>
            <a:r>
              <a:rPr lang="en-US"/>
              <a:t>Click icon to add picture</a:t>
            </a:r>
            <a:endParaRPr lang="sv-SE" dirty="0"/>
          </a:p>
        </p:txBody>
      </p:sp>
    </p:spTree>
    <p:extLst>
      <p:ext uri="{BB962C8B-B14F-4D97-AF65-F5344CB8AC3E}">
        <p14:creationId xmlns:p14="http://schemas.microsoft.com/office/powerpoint/2010/main" val="1517890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ig text right orange">
    <p:spTree>
      <p:nvGrpSpPr>
        <p:cNvPr id="1" name=""/>
        <p:cNvGrpSpPr/>
        <p:nvPr/>
      </p:nvGrpSpPr>
      <p:grpSpPr>
        <a:xfrm>
          <a:off x="0" y="0"/>
          <a:ext cx="0" cy="0"/>
          <a:chOff x="0" y="0"/>
          <a:chExt cx="0" cy="0"/>
        </a:xfrm>
      </p:grpSpPr>
      <p:sp>
        <p:nvSpPr>
          <p:cNvPr id="2" name="Rubrik 1"/>
          <p:cNvSpPr>
            <a:spLocks noGrp="1"/>
          </p:cNvSpPr>
          <p:nvPr>
            <p:ph type="title" hasCustomPrompt="1"/>
          </p:nvPr>
        </p:nvSpPr>
        <p:spPr>
          <a:xfrm>
            <a:off x="4662000" y="414000"/>
            <a:ext cx="4122000" cy="3960000"/>
          </a:xfrm>
        </p:spPr>
        <p:txBody>
          <a:bodyPr>
            <a:noAutofit/>
          </a:bodyPr>
          <a:lstStyle>
            <a:lvl1pPr algn="l">
              <a:lnSpc>
                <a:spcPct val="100000"/>
              </a:lnSpc>
              <a:spcAft>
                <a:spcPts val="700"/>
              </a:spcAft>
              <a:defRPr sz="4800" baseline="0">
                <a:solidFill>
                  <a:schemeClr val="accent2"/>
                </a:solidFill>
              </a:defRPr>
            </a:lvl1pPr>
          </a:lstStyle>
          <a:p>
            <a:r>
              <a:rPr lang="en-US" noProof="0" dirty="0"/>
              <a:t>Big text,</a:t>
            </a:r>
            <a:br>
              <a:rPr lang="en-US" noProof="0" dirty="0"/>
            </a:br>
            <a:r>
              <a:rPr lang="en-US" noProof="0" dirty="0"/>
              <a:t>more than one line</a:t>
            </a:r>
          </a:p>
        </p:txBody>
      </p:sp>
      <p:sp>
        <p:nvSpPr>
          <p:cNvPr id="3" name="Platshållare för datum 2"/>
          <p:cNvSpPr>
            <a:spLocks noGrp="1"/>
          </p:cNvSpPr>
          <p:nvPr>
            <p:ph type="dt" sz="half" idx="10"/>
          </p:nvPr>
        </p:nvSpPr>
        <p:spPr/>
        <p:txBody>
          <a:bodyPr/>
          <a:lstStyle/>
          <a:p>
            <a:fld id="{08D99A7B-46E1-47C8-A786-9EBA21899043}" type="datetime1">
              <a:rPr lang="en-US" smtClean="0"/>
              <a:t>9/10/2018</a:t>
            </a:fld>
            <a:endParaRPr lang="en-US" dirty="0"/>
          </a:p>
        </p:txBody>
      </p:sp>
      <p:sp>
        <p:nvSpPr>
          <p:cNvPr id="4" name="Platshållare för sidfot 3"/>
          <p:cNvSpPr>
            <a:spLocks noGrp="1"/>
          </p:cNvSpPr>
          <p:nvPr>
            <p:ph type="ftr" sz="quarter" idx="11"/>
          </p:nvPr>
        </p:nvSpPr>
        <p:spPr/>
        <p:txBody>
          <a:bodyPr/>
          <a:lstStyle/>
          <a:p>
            <a:r>
              <a:rPr lang="en-US" dirty="0"/>
              <a:t>SANDVIK: Title of presentation</a:t>
            </a:r>
          </a:p>
        </p:txBody>
      </p:sp>
      <p:sp>
        <p:nvSpPr>
          <p:cNvPr id="5" name="Platshållare för bildnummer 4"/>
          <p:cNvSpPr>
            <a:spLocks noGrp="1"/>
          </p:cNvSpPr>
          <p:nvPr>
            <p:ph type="sldNum" sz="quarter" idx="12"/>
          </p:nvPr>
        </p:nvSpPr>
        <p:spPr/>
        <p:txBody>
          <a:bodyPr/>
          <a:lstStyle/>
          <a:p>
            <a:fld id="{469B62F1-B431-48B6-8270-02431A1685B7}" type="slidenum">
              <a:rPr lang="en-US" smtClean="0"/>
              <a:t>‹#›</a:t>
            </a:fld>
            <a:endParaRPr lang="en-US" dirty="0"/>
          </a:p>
        </p:txBody>
      </p:sp>
      <p:sp>
        <p:nvSpPr>
          <p:cNvPr id="8" name="Picture Placeholder 7"/>
          <p:cNvSpPr>
            <a:spLocks noGrp="1"/>
          </p:cNvSpPr>
          <p:nvPr>
            <p:ph type="pic" sz="quarter" idx="13"/>
          </p:nvPr>
        </p:nvSpPr>
        <p:spPr>
          <a:xfrm>
            <a:off x="360000" y="414000"/>
            <a:ext cx="4122000" cy="3960000"/>
          </a:xfrm>
        </p:spPr>
        <p:txBody>
          <a:bodyPr/>
          <a:lstStyle>
            <a:lvl1pPr marL="0" indent="0">
              <a:buNone/>
              <a:defRPr/>
            </a:lvl1pPr>
          </a:lstStyle>
          <a:p>
            <a:r>
              <a:rPr lang="en-US"/>
              <a:t>Click icon to add picture</a:t>
            </a:r>
            <a:endParaRPr lang="sv-SE" dirty="0"/>
          </a:p>
        </p:txBody>
      </p:sp>
    </p:spTree>
    <p:extLst>
      <p:ext uri="{BB962C8B-B14F-4D97-AF65-F5344CB8AC3E}">
        <p14:creationId xmlns:p14="http://schemas.microsoft.com/office/powerpoint/2010/main" val="1916725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Products">
    <p:spTree>
      <p:nvGrpSpPr>
        <p:cNvPr id="1" name=""/>
        <p:cNvGrpSpPr/>
        <p:nvPr/>
      </p:nvGrpSpPr>
      <p:grpSpPr>
        <a:xfrm>
          <a:off x="0" y="0"/>
          <a:ext cx="0" cy="0"/>
          <a:chOff x="0" y="0"/>
          <a:chExt cx="0" cy="0"/>
        </a:xfrm>
      </p:grpSpPr>
      <p:sp>
        <p:nvSpPr>
          <p:cNvPr id="2" name="Rubrik 1"/>
          <p:cNvSpPr>
            <a:spLocks noGrp="1"/>
          </p:cNvSpPr>
          <p:nvPr>
            <p:ph type="title" hasCustomPrompt="1"/>
          </p:nvPr>
        </p:nvSpPr>
        <p:spPr/>
        <p:txBody>
          <a:bodyPr/>
          <a:lstStyle>
            <a:lvl1pPr>
              <a:defRPr/>
            </a:lvl1pPr>
          </a:lstStyle>
          <a:p>
            <a:r>
              <a:rPr lang="en-US" noProof="0" dirty="0"/>
              <a:t>Headline one line</a:t>
            </a:r>
          </a:p>
        </p:txBody>
      </p:sp>
      <p:sp>
        <p:nvSpPr>
          <p:cNvPr id="3" name="Platshållare för datum 2"/>
          <p:cNvSpPr>
            <a:spLocks noGrp="1"/>
          </p:cNvSpPr>
          <p:nvPr>
            <p:ph type="dt" sz="half" idx="10"/>
          </p:nvPr>
        </p:nvSpPr>
        <p:spPr/>
        <p:txBody>
          <a:bodyPr/>
          <a:lstStyle/>
          <a:p>
            <a:fld id="{0A4A0772-5B87-4D79-A620-FF6D5565CE20}" type="datetime1">
              <a:rPr lang="en-US" smtClean="0"/>
              <a:t>9/10/2018</a:t>
            </a:fld>
            <a:endParaRPr lang="en-US" dirty="0"/>
          </a:p>
        </p:txBody>
      </p:sp>
      <p:sp>
        <p:nvSpPr>
          <p:cNvPr id="4" name="Platshållare för sidfot 3"/>
          <p:cNvSpPr>
            <a:spLocks noGrp="1"/>
          </p:cNvSpPr>
          <p:nvPr>
            <p:ph type="ftr" sz="quarter" idx="11"/>
          </p:nvPr>
        </p:nvSpPr>
        <p:spPr/>
        <p:txBody>
          <a:bodyPr/>
          <a:lstStyle/>
          <a:p>
            <a:r>
              <a:rPr lang="en-US" dirty="0"/>
              <a:t>SANDVIK: Title of presentation</a:t>
            </a:r>
          </a:p>
        </p:txBody>
      </p:sp>
      <p:sp>
        <p:nvSpPr>
          <p:cNvPr id="5" name="Platshållare för bildnummer 4"/>
          <p:cNvSpPr>
            <a:spLocks noGrp="1"/>
          </p:cNvSpPr>
          <p:nvPr>
            <p:ph type="sldNum" sz="quarter" idx="12"/>
          </p:nvPr>
        </p:nvSpPr>
        <p:spPr/>
        <p:txBody>
          <a:bodyPr/>
          <a:lstStyle/>
          <a:p>
            <a:fld id="{469B62F1-B431-48B6-8270-02431A1685B7}" type="slidenum">
              <a:rPr lang="en-US" smtClean="0"/>
              <a:t>‹#›</a:t>
            </a:fld>
            <a:endParaRPr lang="en-US" dirty="0"/>
          </a:p>
        </p:txBody>
      </p:sp>
      <p:sp>
        <p:nvSpPr>
          <p:cNvPr id="8" name="Platshållare för bild 7"/>
          <p:cNvSpPr>
            <a:spLocks noGrp="1"/>
          </p:cNvSpPr>
          <p:nvPr>
            <p:ph type="pic" sz="quarter" idx="13"/>
          </p:nvPr>
        </p:nvSpPr>
        <p:spPr>
          <a:xfrm>
            <a:off x="360000" y="1134000"/>
            <a:ext cx="1972800" cy="1530000"/>
          </a:xfrm>
        </p:spPr>
        <p:txBody>
          <a:bodyPr/>
          <a:lstStyle/>
          <a:p>
            <a:r>
              <a:rPr lang="en-US"/>
              <a:t>Click icon to add picture</a:t>
            </a:r>
            <a:endParaRPr lang="sv-SE" dirty="0"/>
          </a:p>
        </p:txBody>
      </p:sp>
      <p:sp>
        <p:nvSpPr>
          <p:cNvPr id="10" name="Platshållare för bild 7"/>
          <p:cNvSpPr>
            <a:spLocks noGrp="1"/>
          </p:cNvSpPr>
          <p:nvPr>
            <p:ph type="pic" sz="quarter" idx="14"/>
          </p:nvPr>
        </p:nvSpPr>
        <p:spPr>
          <a:xfrm>
            <a:off x="2512800" y="1134000"/>
            <a:ext cx="1972800" cy="1530000"/>
          </a:xfrm>
        </p:spPr>
        <p:txBody>
          <a:bodyPr/>
          <a:lstStyle/>
          <a:p>
            <a:r>
              <a:rPr lang="en-US"/>
              <a:t>Click icon to add picture</a:t>
            </a:r>
            <a:endParaRPr lang="sv-SE" dirty="0"/>
          </a:p>
        </p:txBody>
      </p:sp>
      <p:sp>
        <p:nvSpPr>
          <p:cNvPr id="11" name="Platshållare för bild 7"/>
          <p:cNvSpPr>
            <a:spLocks noGrp="1"/>
          </p:cNvSpPr>
          <p:nvPr>
            <p:ph type="pic" sz="quarter" idx="15"/>
          </p:nvPr>
        </p:nvSpPr>
        <p:spPr>
          <a:xfrm>
            <a:off x="4662000" y="1134000"/>
            <a:ext cx="1972800" cy="1530000"/>
          </a:xfrm>
        </p:spPr>
        <p:txBody>
          <a:bodyPr/>
          <a:lstStyle/>
          <a:p>
            <a:r>
              <a:rPr lang="en-US"/>
              <a:t>Click icon to add picture</a:t>
            </a:r>
            <a:endParaRPr lang="sv-SE" dirty="0"/>
          </a:p>
        </p:txBody>
      </p:sp>
      <p:sp>
        <p:nvSpPr>
          <p:cNvPr id="12" name="Platshållare för bild 7"/>
          <p:cNvSpPr>
            <a:spLocks noGrp="1"/>
          </p:cNvSpPr>
          <p:nvPr>
            <p:ph type="pic" sz="quarter" idx="16"/>
          </p:nvPr>
        </p:nvSpPr>
        <p:spPr>
          <a:xfrm>
            <a:off x="6814800" y="1134000"/>
            <a:ext cx="1972800" cy="1530000"/>
          </a:xfrm>
        </p:spPr>
        <p:txBody>
          <a:bodyPr/>
          <a:lstStyle/>
          <a:p>
            <a:r>
              <a:rPr lang="en-US"/>
              <a:t>Click icon to add picture</a:t>
            </a:r>
            <a:endParaRPr lang="sv-SE" dirty="0"/>
          </a:p>
        </p:txBody>
      </p:sp>
      <p:sp>
        <p:nvSpPr>
          <p:cNvPr id="15" name="Platshållare för innehåll 14"/>
          <p:cNvSpPr>
            <a:spLocks noGrp="1"/>
          </p:cNvSpPr>
          <p:nvPr>
            <p:ph sz="quarter" idx="17"/>
          </p:nvPr>
        </p:nvSpPr>
        <p:spPr>
          <a:xfrm>
            <a:off x="360000" y="2844000"/>
            <a:ext cx="1972800" cy="1530000"/>
          </a:xfrm>
        </p:spPr>
        <p:txBody>
          <a:bodyPr/>
          <a:lstStyle>
            <a:lvl1pPr marL="0" indent="0">
              <a:buNone/>
              <a:defRPr/>
            </a:lvl1pPr>
          </a:lstStyle>
          <a:p>
            <a:pPr lvl="0"/>
            <a:r>
              <a:rPr lang="en-US"/>
              <a:t>Click to edit Master text styles</a:t>
            </a:r>
          </a:p>
        </p:txBody>
      </p:sp>
      <p:sp>
        <p:nvSpPr>
          <p:cNvPr id="16" name="Platshållare för innehåll 14"/>
          <p:cNvSpPr>
            <a:spLocks noGrp="1"/>
          </p:cNvSpPr>
          <p:nvPr>
            <p:ph sz="quarter" idx="18"/>
          </p:nvPr>
        </p:nvSpPr>
        <p:spPr>
          <a:xfrm>
            <a:off x="2512800" y="2844000"/>
            <a:ext cx="1972800" cy="1530000"/>
          </a:xfrm>
        </p:spPr>
        <p:txBody>
          <a:bodyPr/>
          <a:lstStyle>
            <a:lvl1pPr marL="0" indent="0">
              <a:buNone/>
              <a:defRPr/>
            </a:lvl1pPr>
          </a:lstStyle>
          <a:p>
            <a:pPr lvl="0"/>
            <a:r>
              <a:rPr lang="en-US"/>
              <a:t>Click to edit Master text styles</a:t>
            </a:r>
          </a:p>
        </p:txBody>
      </p:sp>
      <p:sp>
        <p:nvSpPr>
          <p:cNvPr id="17" name="Platshållare för innehåll 14"/>
          <p:cNvSpPr>
            <a:spLocks noGrp="1"/>
          </p:cNvSpPr>
          <p:nvPr>
            <p:ph sz="quarter" idx="19"/>
          </p:nvPr>
        </p:nvSpPr>
        <p:spPr>
          <a:xfrm>
            <a:off x="4662000" y="2843323"/>
            <a:ext cx="1972800" cy="1530000"/>
          </a:xfrm>
        </p:spPr>
        <p:txBody>
          <a:bodyPr/>
          <a:lstStyle>
            <a:lvl1pPr marL="0" indent="0">
              <a:buNone/>
              <a:defRPr/>
            </a:lvl1pPr>
          </a:lstStyle>
          <a:p>
            <a:pPr lvl="0"/>
            <a:r>
              <a:rPr lang="en-US"/>
              <a:t>Click to edit Master text styles</a:t>
            </a:r>
          </a:p>
        </p:txBody>
      </p:sp>
      <p:sp>
        <p:nvSpPr>
          <p:cNvPr id="18" name="Platshållare för innehåll 14"/>
          <p:cNvSpPr>
            <a:spLocks noGrp="1"/>
          </p:cNvSpPr>
          <p:nvPr>
            <p:ph sz="quarter" idx="20"/>
          </p:nvPr>
        </p:nvSpPr>
        <p:spPr>
          <a:xfrm>
            <a:off x="6811200" y="2844000"/>
            <a:ext cx="1972800" cy="1530000"/>
          </a:xfrm>
        </p:spPr>
        <p:txBody>
          <a:bodyPr/>
          <a:lstStyle>
            <a:lvl1pPr marL="0" indent="0">
              <a:buNone/>
              <a:defRPr/>
            </a:lvl1pPr>
          </a:lstStyle>
          <a:p>
            <a:pPr lvl="0"/>
            <a:r>
              <a:rPr lang="en-US"/>
              <a:t>Click to edit Master text styles</a:t>
            </a:r>
          </a:p>
        </p:txBody>
      </p:sp>
    </p:spTree>
    <p:extLst>
      <p:ext uri="{BB962C8B-B14F-4D97-AF65-F5344CB8AC3E}">
        <p14:creationId xmlns:p14="http://schemas.microsoft.com/office/powerpoint/2010/main" val="3388437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One picture, full page">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0E029705-A0B0-4427-9847-B55AE497C576}" type="datetime1">
              <a:rPr lang="en-US" smtClean="0"/>
              <a:t>9/10/2018</a:t>
            </a:fld>
            <a:endParaRPr lang="en-US" dirty="0"/>
          </a:p>
        </p:txBody>
      </p:sp>
      <p:sp>
        <p:nvSpPr>
          <p:cNvPr id="3" name="Platshållare för sidfot 2"/>
          <p:cNvSpPr>
            <a:spLocks noGrp="1"/>
          </p:cNvSpPr>
          <p:nvPr>
            <p:ph type="ftr" sz="quarter" idx="11"/>
          </p:nvPr>
        </p:nvSpPr>
        <p:spPr/>
        <p:txBody>
          <a:bodyPr/>
          <a:lstStyle/>
          <a:p>
            <a:r>
              <a:rPr lang="en-US" dirty="0"/>
              <a:t>SANDVIK: Title of presentation</a:t>
            </a:r>
          </a:p>
        </p:txBody>
      </p:sp>
      <p:sp>
        <p:nvSpPr>
          <p:cNvPr id="4" name="Platshållare för bildnummer 3"/>
          <p:cNvSpPr>
            <a:spLocks noGrp="1"/>
          </p:cNvSpPr>
          <p:nvPr>
            <p:ph type="sldNum" sz="quarter" idx="12"/>
          </p:nvPr>
        </p:nvSpPr>
        <p:spPr/>
        <p:txBody>
          <a:bodyPr/>
          <a:lstStyle/>
          <a:p>
            <a:fld id="{469B62F1-B431-48B6-8270-02431A1685B7}" type="slidenum">
              <a:rPr lang="en-US" smtClean="0"/>
              <a:t>‹#›</a:t>
            </a:fld>
            <a:endParaRPr lang="en-US" dirty="0"/>
          </a:p>
        </p:txBody>
      </p:sp>
      <p:sp>
        <p:nvSpPr>
          <p:cNvPr id="6" name="Picture Placeholder 5"/>
          <p:cNvSpPr>
            <a:spLocks noGrp="1"/>
          </p:cNvSpPr>
          <p:nvPr>
            <p:ph type="pic" sz="quarter" idx="13"/>
          </p:nvPr>
        </p:nvSpPr>
        <p:spPr>
          <a:xfrm>
            <a:off x="0" y="0"/>
            <a:ext cx="9144000" cy="5143500"/>
          </a:xfrm>
        </p:spPr>
        <p:txBody>
          <a:bodyPr/>
          <a:lstStyle>
            <a:lvl1pPr marL="0" indent="0">
              <a:buNone/>
              <a:defRPr/>
            </a:lvl1pPr>
          </a:lstStyle>
          <a:p>
            <a:r>
              <a:rPr lang="en-US"/>
              <a:t>Click icon to add picture</a:t>
            </a:r>
            <a:endParaRPr lang="en-US" dirty="0"/>
          </a:p>
        </p:txBody>
      </p:sp>
    </p:spTree>
    <p:extLst>
      <p:ext uri="{BB962C8B-B14F-4D97-AF65-F5344CB8AC3E}">
        <p14:creationId xmlns:p14="http://schemas.microsoft.com/office/powerpoint/2010/main" val="53311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Startpage orange, no picture">
    <p:bg>
      <p:bgRef idx="1001">
        <a:schemeClr val="bg1"/>
      </p:bgRef>
    </p:bg>
    <p:spTree>
      <p:nvGrpSpPr>
        <p:cNvPr id="1" name=""/>
        <p:cNvGrpSpPr/>
        <p:nvPr/>
      </p:nvGrpSpPr>
      <p:grpSpPr>
        <a:xfrm>
          <a:off x="0" y="0"/>
          <a:ext cx="0" cy="0"/>
          <a:chOff x="0" y="0"/>
          <a:chExt cx="0" cy="0"/>
        </a:xfrm>
      </p:grpSpPr>
      <p:pic>
        <p:nvPicPr>
          <p:cNvPr id="11"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5030" y="601952"/>
            <a:ext cx="9177588" cy="4559290"/>
          </a:xfrm>
          <a:prstGeom prst="rect">
            <a:avLst/>
          </a:prstGeom>
        </p:spPr>
      </p:pic>
      <p:sp>
        <p:nvSpPr>
          <p:cNvPr id="2" name="Rubrik 1"/>
          <p:cNvSpPr>
            <a:spLocks noGrp="1"/>
          </p:cNvSpPr>
          <p:nvPr>
            <p:ph type="ctrTitle" hasCustomPrompt="1"/>
          </p:nvPr>
        </p:nvSpPr>
        <p:spPr>
          <a:xfrm>
            <a:off x="360000" y="1259250"/>
            <a:ext cx="8424000" cy="360000"/>
          </a:xfrm>
        </p:spPr>
        <p:txBody>
          <a:bodyPr/>
          <a:lstStyle>
            <a:lvl1pPr>
              <a:defRPr baseline="0"/>
            </a:lvl1pPr>
          </a:lstStyle>
          <a:p>
            <a:r>
              <a:rPr lang="en-US" noProof="0" dirty="0"/>
              <a:t>Headline First line</a:t>
            </a:r>
          </a:p>
        </p:txBody>
      </p:sp>
      <p:sp>
        <p:nvSpPr>
          <p:cNvPr id="3" name="Underrubrik 2"/>
          <p:cNvSpPr>
            <a:spLocks noGrp="1"/>
          </p:cNvSpPr>
          <p:nvPr>
            <p:ph type="subTitle" idx="1" hasCustomPrompt="1"/>
          </p:nvPr>
        </p:nvSpPr>
        <p:spPr>
          <a:xfrm>
            <a:off x="360000" y="1619250"/>
            <a:ext cx="8424000" cy="360000"/>
          </a:xfrm>
        </p:spPr>
        <p:txBody>
          <a:bodyPr>
            <a:noAutofit/>
          </a:bodyPr>
          <a:lstStyle>
            <a:lvl1pPr marL="0" indent="0" algn="l">
              <a:lnSpc>
                <a:spcPct val="100000"/>
              </a:lnSpc>
              <a:spcAft>
                <a:spcPts val="0"/>
              </a:spcAft>
              <a:buNone/>
              <a:defRPr sz="2800" cap="all" baseline="0">
                <a:solidFill>
                  <a:schemeClr val="accent2"/>
                </a:solidFill>
              </a:defRPr>
            </a:lvl1pPr>
            <a:lvl2pPr marL="457148" indent="0" algn="ctr">
              <a:buNone/>
              <a:defRPr>
                <a:solidFill>
                  <a:schemeClr val="tx1">
                    <a:tint val="75000"/>
                  </a:schemeClr>
                </a:solidFill>
              </a:defRPr>
            </a:lvl2pPr>
            <a:lvl3pPr marL="914296" indent="0" algn="ctr">
              <a:buNone/>
              <a:defRPr>
                <a:solidFill>
                  <a:schemeClr val="tx1">
                    <a:tint val="75000"/>
                  </a:schemeClr>
                </a:solidFill>
              </a:defRPr>
            </a:lvl3pPr>
            <a:lvl4pPr marL="1371444" indent="0" algn="ctr">
              <a:buNone/>
              <a:defRPr>
                <a:solidFill>
                  <a:schemeClr val="tx1">
                    <a:tint val="75000"/>
                  </a:schemeClr>
                </a:solidFill>
              </a:defRPr>
            </a:lvl4pPr>
            <a:lvl5pPr marL="1828592" indent="0" algn="ctr">
              <a:buNone/>
              <a:defRPr>
                <a:solidFill>
                  <a:schemeClr val="tx1">
                    <a:tint val="75000"/>
                  </a:schemeClr>
                </a:solidFill>
              </a:defRPr>
            </a:lvl5pPr>
            <a:lvl6pPr marL="2285740" indent="0" algn="ctr">
              <a:buNone/>
              <a:defRPr>
                <a:solidFill>
                  <a:schemeClr val="tx1">
                    <a:tint val="75000"/>
                  </a:schemeClr>
                </a:solidFill>
              </a:defRPr>
            </a:lvl6pPr>
            <a:lvl7pPr marL="2742888" indent="0" algn="ctr">
              <a:buNone/>
              <a:defRPr>
                <a:solidFill>
                  <a:schemeClr val="tx1">
                    <a:tint val="75000"/>
                  </a:schemeClr>
                </a:solidFill>
              </a:defRPr>
            </a:lvl7pPr>
            <a:lvl8pPr marL="3200036" indent="0" algn="ctr">
              <a:buNone/>
              <a:defRPr>
                <a:solidFill>
                  <a:schemeClr val="tx1">
                    <a:tint val="75000"/>
                  </a:schemeClr>
                </a:solidFill>
              </a:defRPr>
            </a:lvl8pPr>
            <a:lvl9pPr marL="3657184" indent="0" algn="ctr">
              <a:buNone/>
              <a:defRPr>
                <a:solidFill>
                  <a:schemeClr val="tx1">
                    <a:tint val="75000"/>
                  </a:schemeClr>
                </a:solidFill>
              </a:defRPr>
            </a:lvl9pPr>
          </a:lstStyle>
          <a:p>
            <a:r>
              <a:rPr lang="en-US" noProof="0" dirty="0"/>
              <a:t>Headline Second line</a:t>
            </a:r>
          </a:p>
        </p:txBody>
      </p:sp>
      <p:sp>
        <p:nvSpPr>
          <p:cNvPr id="4" name="Platshållare för datum 3"/>
          <p:cNvSpPr>
            <a:spLocks noGrp="1"/>
          </p:cNvSpPr>
          <p:nvPr>
            <p:ph type="dt" sz="half" idx="10"/>
          </p:nvPr>
        </p:nvSpPr>
        <p:spPr/>
        <p:txBody>
          <a:bodyPr/>
          <a:lstStyle/>
          <a:p>
            <a:fld id="{04D6C328-91B4-44E5-AA41-7ACA77601281}" type="datetime1">
              <a:rPr lang="en-US" smtClean="0"/>
              <a:t>9/10/2018</a:t>
            </a:fld>
            <a:endParaRPr lang="en-US" dirty="0"/>
          </a:p>
        </p:txBody>
      </p:sp>
      <p:sp>
        <p:nvSpPr>
          <p:cNvPr id="5" name="Platshållare för sidfot 4"/>
          <p:cNvSpPr>
            <a:spLocks noGrp="1"/>
          </p:cNvSpPr>
          <p:nvPr>
            <p:ph type="ftr" sz="quarter" idx="11"/>
          </p:nvPr>
        </p:nvSpPr>
        <p:spPr/>
        <p:txBody>
          <a:bodyPr/>
          <a:lstStyle/>
          <a:p>
            <a:r>
              <a:rPr lang="en-US" dirty="0"/>
              <a:t>SANDVIK: Title of presentation</a:t>
            </a:r>
          </a:p>
        </p:txBody>
      </p:sp>
      <p:sp>
        <p:nvSpPr>
          <p:cNvPr id="6" name="Platshållare för bildnummer 5"/>
          <p:cNvSpPr>
            <a:spLocks noGrp="1"/>
          </p:cNvSpPr>
          <p:nvPr>
            <p:ph type="sldNum" sz="quarter" idx="12"/>
          </p:nvPr>
        </p:nvSpPr>
        <p:spPr/>
        <p:txBody>
          <a:bodyPr/>
          <a:lstStyle/>
          <a:p>
            <a:fld id="{469B62F1-B431-48B6-8270-02431A1685B7}" type="slidenum">
              <a:rPr lang="en-US" smtClean="0"/>
              <a:t>‹#›</a:t>
            </a:fld>
            <a:endParaRPr lang="en-US" dirty="0"/>
          </a:p>
        </p:txBody>
      </p:sp>
      <p:pic>
        <p:nvPicPr>
          <p:cNvPr id="9" name="Bildobjekt 8" descr="SAV_Logo_cyan_RGB300.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894137" y="275166"/>
            <a:ext cx="889863" cy="323998"/>
          </a:xfrm>
          <a:prstGeom prst="rect">
            <a:avLst/>
          </a:prstGeom>
        </p:spPr>
      </p:pic>
      <p:sp>
        <p:nvSpPr>
          <p:cNvPr id="12" name="Rectangular Callout 11"/>
          <p:cNvSpPr/>
          <p:nvPr userDrawn="1"/>
        </p:nvSpPr>
        <p:spPr>
          <a:xfrm>
            <a:off x="9432540" y="771551"/>
            <a:ext cx="1440000" cy="2939097"/>
          </a:xfrm>
          <a:prstGeom prst="wedgeRectCallout">
            <a:avLst>
              <a:gd name="adj1" fmla="val -60810"/>
              <a:gd name="adj2" fmla="val -20925"/>
            </a:avLst>
          </a:prstGeom>
          <a:solidFill>
            <a:srgbClr val="7F7F7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l"/>
            <a:r>
              <a:rPr lang="en-US" sz="800" noProof="0" dirty="0"/>
              <a:t>We use a two-color</a:t>
            </a:r>
            <a:r>
              <a:rPr lang="en-US" sz="800" baseline="0" noProof="0" dirty="0"/>
              <a:t> headline system to highlight our rational and emotional side alike. The first line appears in blue (the rational side), the second line in orange (the emotional side) and the duality principle is reflected in the wording of the headline.</a:t>
            </a:r>
          </a:p>
          <a:p>
            <a:pPr algn="l"/>
            <a:endParaRPr lang="en-US" sz="1000" b="1" baseline="0" noProof="0" dirty="0"/>
          </a:p>
          <a:p>
            <a:pPr algn="l"/>
            <a:r>
              <a:rPr lang="en-US" sz="800" b="1" baseline="0" noProof="0" dirty="0"/>
              <a:t>This system refers to the first page title only, all other headlines are blue.</a:t>
            </a:r>
          </a:p>
          <a:p>
            <a:pPr algn="l"/>
            <a:endParaRPr lang="en-US" sz="1000" b="1" baseline="0" noProof="0" dirty="0"/>
          </a:p>
          <a:p>
            <a:pPr algn="l"/>
            <a:r>
              <a:rPr lang="en-US" sz="800" b="0" baseline="0" noProof="0" dirty="0"/>
              <a:t>Learn more about our verbal identity in the Sandvik Brand Identity Directives, which you can download at the Intranet &gt; home.sandvik.com/brand</a:t>
            </a:r>
            <a:endParaRPr lang="en-US" sz="800" noProof="0" dirty="0"/>
          </a:p>
        </p:txBody>
      </p:sp>
    </p:spTree>
    <p:extLst>
      <p:ext uri="{BB962C8B-B14F-4D97-AF65-F5344CB8AC3E}">
        <p14:creationId xmlns:p14="http://schemas.microsoft.com/office/powerpoint/2010/main" val="40027605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wo pictures, full page">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1F9EDA30-98D3-4788-AE75-D4AE7139764B}" type="datetime1">
              <a:rPr lang="en-US" smtClean="0"/>
              <a:t>9/10/2018</a:t>
            </a:fld>
            <a:endParaRPr lang="en-US" dirty="0"/>
          </a:p>
        </p:txBody>
      </p:sp>
      <p:sp>
        <p:nvSpPr>
          <p:cNvPr id="3" name="Platshållare för sidfot 2"/>
          <p:cNvSpPr>
            <a:spLocks noGrp="1"/>
          </p:cNvSpPr>
          <p:nvPr>
            <p:ph type="ftr" sz="quarter" idx="11"/>
          </p:nvPr>
        </p:nvSpPr>
        <p:spPr/>
        <p:txBody>
          <a:bodyPr/>
          <a:lstStyle/>
          <a:p>
            <a:r>
              <a:rPr lang="en-US" dirty="0"/>
              <a:t>SANDVIK: Title of presentation</a:t>
            </a:r>
          </a:p>
        </p:txBody>
      </p:sp>
      <p:sp>
        <p:nvSpPr>
          <p:cNvPr id="4" name="Platshållare för bildnummer 3"/>
          <p:cNvSpPr>
            <a:spLocks noGrp="1"/>
          </p:cNvSpPr>
          <p:nvPr>
            <p:ph type="sldNum" sz="quarter" idx="12"/>
          </p:nvPr>
        </p:nvSpPr>
        <p:spPr/>
        <p:txBody>
          <a:bodyPr/>
          <a:lstStyle/>
          <a:p>
            <a:fld id="{469B62F1-B431-48B6-8270-02431A1685B7}" type="slidenum">
              <a:rPr lang="en-US" smtClean="0"/>
              <a:t>‹#›</a:t>
            </a:fld>
            <a:endParaRPr lang="en-US" dirty="0"/>
          </a:p>
        </p:txBody>
      </p:sp>
      <p:sp>
        <p:nvSpPr>
          <p:cNvPr id="6" name="Picture Placeholder 5"/>
          <p:cNvSpPr>
            <a:spLocks noGrp="1"/>
          </p:cNvSpPr>
          <p:nvPr>
            <p:ph type="pic" sz="quarter" idx="13"/>
          </p:nvPr>
        </p:nvSpPr>
        <p:spPr>
          <a:xfrm>
            <a:off x="0" y="0"/>
            <a:ext cx="4562475" cy="5143500"/>
          </a:xfrm>
        </p:spPr>
        <p:txBody>
          <a:bodyPr/>
          <a:lstStyle/>
          <a:p>
            <a:r>
              <a:rPr lang="en-US"/>
              <a:t>Click icon to add picture</a:t>
            </a:r>
            <a:endParaRPr lang="sv-SE" dirty="0"/>
          </a:p>
        </p:txBody>
      </p:sp>
      <p:sp>
        <p:nvSpPr>
          <p:cNvPr id="8" name="Picture Placeholder 7"/>
          <p:cNvSpPr>
            <a:spLocks noGrp="1"/>
          </p:cNvSpPr>
          <p:nvPr>
            <p:ph type="pic" sz="quarter" idx="14"/>
          </p:nvPr>
        </p:nvSpPr>
        <p:spPr>
          <a:xfrm>
            <a:off x="4562475" y="0"/>
            <a:ext cx="4581526" cy="5143500"/>
          </a:xfrm>
        </p:spPr>
        <p:txBody>
          <a:bodyPr/>
          <a:lstStyle/>
          <a:p>
            <a:r>
              <a:rPr lang="en-US"/>
              <a:t>Click icon to add picture</a:t>
            </a:r>
            <a:endParaRPr lang="sv-SE" dirty="0"/>
          </a:p>
        </p:txBody>
      </p:sp>
    </p:spTree>
    <p:extLst>
      <p:ext uri="{BB962C8B-B14F-4D97-AF65-F5344CB8AC3E}">
        <p14:creationId xmlns:p14="http://schemas.microsoft.com/office/powerpoint/2010/main" val="29721690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21"/>
            <a:ext cx="7772400" cy="1102519"/>
          </a:xfrm>
        </p:spPr>
        <p:txBody>
          <a:bodyPr/>
          <a:lstStyle/>
          <a:p>
            <a:r>
              <a:rPr lang="en-US"/>
              <a:t>Click to edit Master title style</a:t>
            </a:r>
            <a:endParaRPr lang="en-AU"/>
          </a:p>
        </p:txBody>
      </p:sp>
      <p:sp>
        <p:nvSpPr>
          <p:cNvPr id="3" name="Subtitle 2"/>
          <p:cNvSpPr>
            <a:spLocks noGrp="1"/>
          </p:cNvSpPr>
          <p:nvPr>
            <p:ph type="subTitle" idx="1"/>
          </p:nvPr>
        </p:nvSpPr>
        <p:spPr>
          <a:xfrm>
            <a:off x="1371600" y="2914650"/>
            <a:ext cx="6400800" cy="1314450"/>
          </a:xfrm>
        </p:spPr>
        <p:txBody>
          <a:bodyPr/>
          <a:lstStyle>
            <a:lvl1pPr marL="0" indent="0" algn="ctr">
              <a:buNone/>
              <a:defRPr/>
            </a:lvl1pPr>
            <a:lvl2pPr marL="389538" indent="0" algn="ctr">
              <a:buNone/>
              <a:defRPr/>
            </a:lvl2pPr>
            <a:lvl3pPr marL="779074" indent="0" algn="ctr">
              <a:buNone/>
              <a:defRPr/>
            </a:lvl3pPr>
            <a:lvl4pPr marL="1168612" indent="0" algn="ctr">
              <a:buNone/>
              <a:defRPr/>
            </a:lvl4pPr>
            <a:lvl5pPr marL="1558149" indent="0" algn="ctr">
              <a:buNone/>
              <a:defRPr/>
            </a:lvl5pPr>
            <a:lvl6pPr marL="1947686" indent="0" algn="ctr">
              <a:buNone/>
              <a:defRPr/>
            </a:lvl6pPr>
            <a:lvl7pPr marL="2337223" indent="0" algn="ctr">
              <a:buNone/>
              <a:defRPr/>
            </a:lvl7pPr>
            <a:lvl8pPr marL="2726760" indent="0" algn="ctr">
              <a:buNone/>
              <a:defRPr/>
            </a:lvl8pPr>
            <a:lvl9pPr marL="3116298" indent="0" algn="ctr">
              <a:buNone/>
              <a:defRPr/>
            </a:lvl9pPr>
          </a:lstStyle>
          <a:p>
            <a:r>
              <a:rPr lang="en-US"/>
              <a:t>Click to edit Master subtitle style</a:t>
            </a:r>
            <a:endParaRPr lang="en-AU"/>
          </a:p>
        </p:txBody>
      </p:sp>
      <p:sp>
        <p:nvSpPr>
          <p:cNvPr id="4" name="Slide Number Placeholder 3"/>
          <p:cNvSpPr>
            <a:spLocks noGrp="1"/>
          </p:cNvSpPr>
          <p:nvPr>
            <p:ph type="sldNum" sz="quarter" idx="10"/>
          </p:nvPr>
        </p:nvSpPr>
        <p:spPr/>
        <p:txBody>
          <a:bodyPr/>
          <a:lstStyle>
            <a:lvl1pPr>
              <a:defRPr smtClean="0"/>
            </a:lvl1pPr>
          </a:lstStyle>
          <a:p>
            <a:pPr>
              <a:defRPr/>
            </a:pPr>
            <a:fld id="{F5E0621B-6BE2-4DB2-BF9A-A9518BB93889}" type="slidenum">
              <a:rPr lang="sv-SE">
                <a:solidFill>
                  <a:srgbClr val="000000"/>
                </a:solidFill>
              </a:rPr>
              <a:pPr>
                <a:defRPr/>
              </a:pPr>
              <a:t>‹#›</a:t>
            </a:fld>
            <a:endParaRPr lang="sv-SE">
              <a:solidFill>
                <a:srgbClr val="000000"/>
              </a:solidFill>
            </a:endParaRPr>
          </a:p>
        </p:txBody>
      </p:sp>
    </p:spTree>
    <p:extLst>
      <p:ext uri="{BB962C8B-B14F-4D97-AF65-F5344CB8AC3E}">
        <p14:creationId xmlns:p14="http://schemas.microsoft.com/office/powerpoint/2010/main" val="959373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Slide Number Placeholder 3"/>
          <p:cNvSpPr>
            <a:spLocks noGrp="1"/>
          </p:cNvSpPr>
          <p:nvPr>
            <p:ph type="sldNum" sz="quarter" idx="10"/>
          </p:nvPr>
        </p:nvSpPr>
        <p:spPr/>
        <p:txBody>
          <a:bodyPr/>
          <a:lstStyle>
            <a:lvl1pPr>
              <a:defRPr smtClean="0"/>
            </a:lvl1pPr>
          </a:lstStyle>
          <a:p>
            <a:pPr>
              <a:defRPr/>
            </a:pPr>
            <a:fld id="{4DD58F5F-2533-4110-ADC0-14B6217FA90A}" type="slidenum">
              <a:rPr lang="sv-SE">
                <a:solidFill>
                  <a:srgbClr val="000000"/>
                </a:solidFill>
              </a:rPr>
              <a:pPr>
                <a:defRPr/>
              </a:pPr>
              <a:t>‹#›</a:t>
            </a:fld>
            <a:endParaRPr lang="sv-SE">
              <a:solidFill>
                <a:srgbClr val="000000"/>
              </a:solidFill>
            </a:endParaRPr>
          </a:p>
        </p:txBody>
      </p:sp>
    </p:spTree>
    <p:extLst>
      <p:ext uri="{BB962C8B-B14F-4D97-AF65-F5344CB8AC3E}">
        <p14:creationId xmlns:p14="http://schemas.microsoft.com/office/powerpoint/2010/main" val="3481114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435" y="3305176"/>
            <a:ext cx="7772400" cy="1021556"/>
          </a:xfrm>
        </p:spPr>
        <p:txBody>
          <a:bodyPr/>
          <a:lstStyle>
            <a:lvl1pPr algn="l">
              <a:defRPr sz="3400" b="1" cap="all"/>
            </a:lvl1pPr>
          </a:lstStyle>
          <a:p>
            <a:r>
              <a:rPr lang="en-US"/>
              <a:t>Click to edit Master title style</a:t>
            </a:r>
            <a:endParaRPr lang="en-AU"/>
          </a:p>
        </p:txBody>
      </p:sp>
      <p:sp>
        <p:nvSpPr>
          <p:cNvPr id="3" name="Text Placeholder 2"/>
          <p:cNvSpPr>
            <a:spLocks noGrp="1"/>
          </p:cNvSpPr>
          <p:nvPr>
            <p:ph type="body" idx="1"/>
          </p:nvPr>
        </p:nvSpPr>
        <p:spPr>
          <a:xfrm>
            <a:off x="722435" y="2180035"/>
            <a:ext cx="7772400" cy="1125140"/>
          </a:xfrm>
        </p:spPr>
        <p:txBody>
          <a:bodyPr anchor="b"/>
          <a:lstStyle>
            <a:lvl1pPr marL="0" indent="0">
              <a:buNone/>
              <a:defRPr sz="1700"/>
            </a:lvl1pPr>
            <a:lvl2pPr marL="389538" indent="0">
              <a:buNone/>
              <a:defRPr sz="1500"/>
            </a:lvl2pPr>
            <a:lvl3pPr marL="779074" indent="0">
              <a:buNone/>
              <a:defRPr sz="1400"/>
            </a:lvl3pPr>
            <a:lvl4pPr marL="1168612" indent="0">
              <a:buNone/>
              <a:defRPr sz="1200"/>
            </a:lvl4pPr>
            <a:lvl5pPr marL="1558149" indent="0">
              <a:buNone/>
              <a:defRPr sz="1200"/>
            </a:lvl5pPr>
            <a:lvl6pPr marL="1947686" indent="0">
              <a:buNone/>
              <a:defRPr sz="1200"/>
            </a:lvl6pPr>
            <a:lvl7pPr marL="2337223" indent="0">
              <a:buNone/>
              <a:defRPr sz="1200"/>
            </a:lvl7pPr>
            <a:lvl8pPr marL="2726760" indent="0">
              <a:buNone/>
              <a:defRPr sz="1200"/>
            </a:lvl8pPr>
            <a:lvl9pPr marL="3116298" indent="0">
              <a:buNone/>
              <a:defRPr sz="1200"/>
            </a:lvl9pPr>
          </a:lstStyle>
          <a:p>
            <a:pPr lvl="0"/>
            <a:r>
              <a:rPr lang="en-US"/>
              <a:t>Click to edit Master text styles</a:t>
            </a:r>
          </a:p>
        </p:txBody>
      </p:sp>
      <p:sp>
        <p:nvSpPr>
          <p:cNvPr id="4" name="Slide Number Placeholder 3"/>
          <p:cNvSpPr>
            <a:spLocks noGrp="1"/>
          </p:cNvSpPr>
          <p:nvPr>
            <p:ph type="sldNum" sz="quarter" idx="10"/>
          </p:nvPr>
        </p:nvSpPr>
        <p:spPr/>
        <p:txBody>
          <a:bodyPr/>
          <a:lstStyle>
            <a:lvl1pPr>
              <a:defRPr smtClean="0"/>
            </a:lvl1pPr>
          </a:lstStyle>
          <a:p>
            <a:pPr>
              <a:defRPr/>
            </a:pPr>
            <a:fld id="{60A41630-191C-4C6C-A8FB-56742A63C2F0}" type="slidenum">
              <a:rPr lang="sv-SE">
                <a:solidFill>
                  <a:srgbClr val="000000"/>
                </a:solidFill>
              </a:rPr>
              <a:pPr>
                <a:defRPr/>
              </a:pPr>
              <a:t>‹#›</a:t>
            </a:fld>
            <a:endParaRPr lang="sv-SE">
              <a:solidFill>
                <a:srgbClr val="000000"/>
              </a:solidFill>
            </a:endParaRPr>
          </a:p>
        </p:txBody>
      </p:sp>
    </p:spTree>
    <p:extLst>
      <p:ext uri="{BB962C8B-B14F-4D97-AF65-F5344CB8AC3E}">
        <p14:creationId xmlns:p14="http://schemas.microsoft.com/office/powerpoint/2010/main" val="4271982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
        <p:nvSpPr>
          <p:cNvPr id="3" name="Content Placeholder 2"/>
          <p:cNvSpPr>
            <a:spLocks noGrp="1"/>
          </p:cNvSpPr>
          <p:nvPr>
            <p:ph sz="half" idx="1"/>
          </p:nvPr>
        </p:nvSpPr>
        <p:spPr>
          <a:xfrm>
            <a:off x="404446" y="1579962"/>
            <a:ext cx="4082562" cy="2931319"/>
          </a:xfrm>
        </p:spPr>
        <p:txBody>
          <a:bodyPr/>
          <a:lstStyle>
            <a:lvl1pPr>
              <a:defRPr sz="2400"/>
            </a:lvl1pPr>
            <a:lvl2pPr>
              <a:defRPr sz="2000"/>
            </a:lvl2pPr>
            <a:lvl3pPr>
              <a:defRPr sz="17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Content Placeholder 3"/>
          <p:cNvSpPr>
            <a:spLocks noGrp="1"/>
          </p:cNvSpPr>
          <p:nvPr>
            <p:ph sz="half" idx="2"/>
          </p:nvPr>
        </p:nvSpPr>
        <p:spPr>
          <a:xfrm>
            <a:off x="4627687" y="1579962"/>
            <a:ext cx="4084027" cy="2931319"/>
          </a:xfrm>
        </p:spPr>
        <p:txBody>
          <a:bodyPr/>
          <a:lstStyle>
            <a:lvl1pPr>
              <a:defRPr sz="2400"/>
            </a:lvl1pPr>
            <a:lvl2pPr>
              <a:defRPr sz="2000"/>
            </a:lvl2pPr>
            <a:lvl3pPr>
              <a:defRPr sz="17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Slide Number Placeholder 4"/>
          <p:cNvSpPr>
            <a:spLocks noGrp="1"/>
          </p:cNvSpPr>
          <p:nvPr>
            <p:ph type="sldNum" sz="quarter" idx="10"/>
          </p:nvPr>
        </p:nvSpPr>
        <p:spPr/>
        <p:txBody>
          <a:bodyPr/>
          <a:lstStyle>
            <a:lvl1pPr>
              <a:defRPr smtClean="0"/>
            </a:lvl1pPr>
          </a:lstStyle>
          <a:p>
            <a:pPr>
              <a:defRPr/>
            </a:pPr>
            <a:fld id="{0EB1D723-6599-466C-BFEF-4AA6FE714965}" type="slidenum">
              <a:rPr lang="sv-SE">
                <a:solidFill>
                  <a:srgbClr val="000000"/>
                </a:solidFill>
              </a:rPr>
              <a:pPr>
                <a:defRPr/>
              </a:pPr>
              <a:t>‹#›</a:t>
            </a:fld>
            <a:endParaRPr lang="sv-SE">
              <a:solidFill>
                <a:srgbClr val="000000"/>
              </a:solidFill>
            </a:endParaRPr>
          </a:p>
        </p:txBody>
      </p:sp>
    </p:spTree>
    <p:extLst>
      <p:ext uri="{BB962C8B-B14F-4D97-AF65-F5344CB8AC3E}">
        <p14:creationId xmlns:p14="http://schemas.microsoft.com/office/powerpoint/2010/main" val="1320767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8"/>
            <a:ext cx="8229600" cy="857250"/>
          </a:xfrm>
        </p:spPr>
        <p:txBody>
          <a:bodyPr/>
          <a:lstStyle>
            <a:lvl1pPr>
              <a:defRPr/>
            </a:lvl1pPr>
          </a:lstStyle>
          <a:p>
            <a:r>
              <a:rPr lang="en-US"/>
              <a:t>Click to edit Master title style</a:t>
            </a:r>
            <a:endParaRPr lang="en-AU"/>
          </a:p>
        </p:txBody>
      </p:sp>
      <p:sp>
        <p:nvSpPr>
          <p:cNvPr id="3" name="Text Placeholder 2"/>
          <p:cNvSpPr>
            <a:spLocks noGrp="1"/>
          </p:cNvSpPr>
          <p:nvPr>
            <p:ph type="body" idx="1"/>
          </p:nvPr>
        </p:nvSpPr>
        <p:spPr>
          <a:xfrm>
            <a:off x="457200" y="1151335"/>
            <a:ext cx="4040066" cy="479822"/>
          </a:xfrm>
        </p:spPr>
        <p:txBody>
          <a:bodyPr anchor="b"/>
          <a:lstStyle>
            <a:lvl1pPr marL="0" indent="0">
              <a:buNone/>
              <a:defRPr sz="2000" b="1"/>
            </a:lvl1pPr>
            <a:lvl2pPr marL="389538" indent="0">
              <a:buNone/>
              <a:defRPr sz="1700" b="1"/>
            </a:lvl2pPr>
            <a:lvl3pPr marL="779074" indent="0">
              <a:buNone/>
              <a:defRPr sz="1500" b="1"/>
            </a:lvl3pPr>
            <a:lvl4pPr marL="1168612" indent="0">
              <a:buNone/>
              <a:defRPr sz="1400" b="1"/>
            </a:lvl4pPr>
            <a:lvl5pPr marL="1558149" indent="0">
              <a:buNone/>
              <a:defRPr sz="1400" b="1"/>
            </a:lvl5pPr>
            <a:lvl6pPr marL="1947686" indent="0">
              <a:buNone/>
              <a:defRPr sz="1400" b="1"/>
            </a:lvl6pPr>
            <a:lvl7pPr marL="2337223" indent="0">
              <a:buNone/>
              <a:defRPr sz="1400" b="1"/>
            </a:lvl7pPr>
            <a:lvl8pPr marL="2726760" indent="0">
              <a:buNone/>
              <a:defRPr sz="1400" b="1"/>
            </a:lvl8pPr>
            <a:lvl9pPr marL="3116298" indent="0">
              <a:buNone/>
              <a:defRPr sz="1400" b="1"/>
            </a:lvl9pPr>
          </a:lstStyle>
          <a:p>
            <a:pPr lvl="0"/>
            <a:r>
              <a:rPr lang="en-US"/>
              <a:t>Click to edit Master text styles</a:t>
            </a:r>
          </a:p>
        </p:txBody>
      </p:sp>
      <p:sp>
        <p:nvSpPr>
          <p:cNvPr id="4" name="Content Placeholder 3"/>
          <p:cNvSpPr>
            <a:spLocks noGrp="1"/>
          </p:cNvSpPr>
          <p:nvPr>
            <p:ph sz="half" idx="2"/>
          </p:nvPr>
        </p:nvSpPr>
        <p:spPr>
          <a:xfrm>
            <a:off x="457200" y="1631156"/>
            <a:ext cx="4040066" cy="2963466"/>
          </a:xfrm>
        </p:spPr>
        <p:txBody>
          <a:bodyPr/>
          <a:lstStyle>
            <a:lvl1pPr>
              <a:defRPr sz="2000"/>
            </a:lvl1pPr>
            <a:lvl2pPr>
              <a:defRPr sz="1700"/>
            </a:lvl2pPr>
            <a:lvl3pPr>
              <a:defRPr sz="15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Text Placeholder 4"/>
          <p:cNvSpPr>
            <a:spLocks noGrp="1"/>
          </p:cNvSpPr>
          <p:nvPr>
            <p:ph type="body" sz="quarter" idx="3"/>
          </p:nvPr>
        </p:nvSpPr>
        <p:spPr>
          <a:xfrm>
            <a:off x="4645272" y="1151335"/>
            <a:ext cx="4041531" cy="479822"/>
          </a:xfrm>
        </p:spPr>
        <p:txBody>
          <a:bodyPr anchor="b"/>
          <a:lstStyle>
            <a:lvl1pPr marL="0" indent="0">
              <a:buNone/>
              <a:defRPr sz="2000" b="1"/>
            </a:lvl1pPr>
            <a:lvl2pPr marL="389538" indent="0">
              <a:buNone/>
              <a:defRPr sz="1700" b="1"/>
            </a:lvl2pPr>
            <a:lvl3pPr marL="779074" indent="0">
              <a:buNone/>
              <a:defRPr sz="1500" b="1"/>
            </a:lvl3pPr>
            <a:lvl4pPr marL="1168612" indent="0">
              <a:buNone/>
              <a:defRPr sz="1400" b="1"/>
            </a:lvl4pPr>
            <a:lvl5pPr marL="1558149" indent="0">
              <a:buNone/>
              <a:defRPr sz="1400" b="1"/>
            </a:lvl5pPr>
            <a:lvl6pPr marL="1947686" indent="0">
              <a:buNone/>
              <a:defRPr sz="1400" b="1"/>
            </a:lvl6pPr>
            <a:lvl7pPr marL="2337223" indent="0">
              <a:buNone/>
              <a:defRPr sz="1400" b="1"/>
            </a:lvl7pPr>
            <a:lvl8pPr marL="2726760" indent="0">
              <a:buNone/>
              <a:defRPr sz="1400" b="1"/>
            </a:lvl8pPr>
            <a:lvl9pPr marL="3116298" indent="0">
              <a:buNone/>
              <a:defRPr sz="1400" b="1"/>
            </a:lvl9pPr>
          </a:lstStyle>
          <a:p>
            <a:pPr lvl="0"/>
            <a:r>
              <a:rPr lang="en-US"/>
              <a:t>Click to edit Master text styles</a:t>
            </a:r>
          </a:p>
        </p:txBody>
      </p:sp>
      <p:sp>
        <p:nvSpPr>
          <p:cNvPr id="6" name="Content Placeholder 5"/>
          <p:cNvSpPr>
            <a:spLocks noGrp="1"/>
          </p:cNvSpPr>
          <p:nvPr>
            <p:ph sz="quarter" idx="4"/>
          </p:nvPr>
        </p:nvSpPr>
        <p:spPr>
          <a:xfrm>
            <a:off x="4645272" y="1631156"/>
            <a:ext cx="4041531" cy="2963466"/>
          </a:xfrm>
        </p:spPr>
        <p:txBody>
          <a:bodyPr/>
          <a:lstStyle>
            <a:lvl1pPr>
              <a:defRPr sz="2000"/>
            </a:lvl1pPr>
            <a:lvl2pPr>
              <a:defRPr sz="1700"/>
            </a:lvl2pPr>
            <a:lvl3pPr>
              <a:defRPr sz="15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7" name="Slide Number Placeholder 6"/>
          <p:cNvSpPr>
            <a:spLocks noGrp="1"/>
          </p:cNvSpPr>
          <p:nvPr>
            <p:ph type="sldNum" sz="quarter" idx="10"/>
          </p:nvPr>
        </p:nvSpPr>
        <p:spPr/>
        <p:txBody>
          <a:bodyPr/>
          <a:lstStyle>
            <a:lvl1pPr>
              <a:defRPr smtClean="0"/>
            </a:lvl1pPr>
          </a:lstStyle>
          <a:p>
            <a:pPr>
              <a:defRPr/>
            </a:pPr>
            <a:fld id="{99E0DCAB-F341-4787-9CF7-CA2E0E8B2CE6}" type="slidenum">
              <a:rPr lang="sv-SE">
                <a:solidFill>
                  <a:srgbClr val="000000"/>
                </a:solidFill>
              </a:rPr>
              <a:pPr>
                <a:defRPr/>
              </a:pPr>
              <a:t>‹#›</a:t>
            </a:fld>
            <a:endParaRPr lang="sv-SE">
              <a:solidFill>
                <a:srgbClr val="000000"/>
              </a:solidFill>
            </a:endParaRPr>
          </a:p>
        </p:txBody>
      </p:sp>
    </p:spTree>
    <p:extLst>
      <p:ext uri="{BB962C8B-B14F-4D97-AF65-F5344CB8AC3E}">
        <p14:creationId xmlns:p14="http://schemas.microsoft.com/office/powerpoint/2010/main" val="32680773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
        <p:nvSpPr>
          <p:cNvPr id="3" name="Slide Number Placeholder 2"/>
          <p:cNvSpPr>
            <a:spLocks noGrp="1"/>
          </p:cNvSpPr>
          <p:nvPr>
            <p:ph type="sldNum" sz="quarter" idx="10"/>
          </p:nvPr>
        </p:nvSpPr>
        <p:spPr/>
        <p:txBody>
          <a:bodyPr/>
          <a:lstStyle>
            <a:lvl1pPr>
              <a:defRPr smtClean="0"/>
            </a:lvl1pPr>
          </a:lstStyle>
          <a:p>
            <a:pPr>
              <a:defRPr/>
            </a:pPr>
            <a:fld id="{0F41BE7D-2DAB-4C52-BC64-1FE2C27E494D}" type="slidenum">
              <a:rPr lang="sv-SE">
                <a:solidFill>
                  <a:srgbClr val="000000"/>
                </a:solidFill>
              </a:rPr>
              <a:pPr>
                <a:defRPr/>
              </a:pPr>
              <a:t>‹#›</a:t>
            </a:fld>
            <a:endParaRPr lang="sv-SE">
              <a:solidFill>
                <a:srgbClr val="000000"/>
              </a:solidFill>
            </a:endParaRPr>
          </a:p>
        </p:txBody>
      </p:sp>
    </p:spTree>
    <p:extLst>
      <p:ext uri="{BB962C8B-B14F-4D97-AF65-F5344CB8AC3E}">
        <p14:creationId xmlns:p14="http://schemas.microsoft.com/office/powerpoint/2010/main" val="4248117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smtClean="0"/>
            </a:lvl1pPr>
          </a:lstStyle>
          <a:p>
            <a:pPr>
              <a:defRPr/>
            </a:pPr>
            <a:fld id="{9B69C536-65AC-4174-9C1D-8540EDD051DD}" type="slidenum">
              <a:rPr lang="sv-SE">
                <a:solidFill>
                  <a:srgbClr val="000000"/>
                </a:solidFill>
              </a:rPr>
              <a:pPr>
                <a:defRPr/>
              </a:pPr>
              <a:t>‹#›</a:t>
            </a:fld>
            <a:endParaRPr lang="sv-SE">
              <a:solidFill>
                <a:srgbClr val="000000"/>
              </a:solidFill>
            </a:endParaRPr>
          </a:p>
        </p:txBody>
      </p:sp>
    </p:spTree>
    <p:extLst>
      <p:ext uri="{BB962C8B-B14F-4D97-AF65-F5344CB8AC3E}">
        <p14:creationId xmlns:p14="http://schemas.microsoft.com/office/powerpoint/2010/main" val="1003375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04787"/>
            <a:ext cx="3008435" cy="871538"/>
          </a:xfrm>
        </p:spPr>
        <p:txBody>
          <a:bodyPr anchor="b"/>
          <a:lstStyle>
            <a:lvl1pPr algn="l">
              <a:defRPr sz="1700" b="1"/>
            </a:lvl1pPr>
          </a:lstStyle>
          <a:p>
            <a:r>
              <a:rPr lang="en-US"/>
              <a:t>Click to edit Master title style</a:t>
            </a:r>
            <a:endParaRPr lang="en-AU"/>
          </a:p>
        </p:txBody>
      </p:sp>
      <p:sp>
        <p:nvSpPr>
          <p:cNvPr id="3" name="Content Placeholder 2"/>
          <p:cNvSpPr>
            <a:spLocks noGrp="1"/>
          </p:cNvSpPr>
          <p:nvPr>
            <p:ph idx="1"/>
          </p:nvPr>
        </p:nvSpPr>
        <p:spPr>
          <a:xfrm>
            <a:off x="3575538" y="204790"/>
            <a:ext cx="5111262" cy="4389835"/>
          </a:xfrm>
        </p:spPr>
        <p:txBody>
          <a:bodyPr/>
          <a:lstStyle>
            <a:lvl1pPr>
              <a:defRPr sz="2700"/>
            </a:lvl1pPr>
            <a:lvl2pPr>
              <a:defRPr sz="2400"/>
            </a:lvl2pPr>
            <a:lvl3pPr>
              <a:defRPr sz="20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Text Placeholder 3"/>
          <p:cNvSpPr>
            <a:spLocks noGrp="1"/>
          </p:cNvSpPr>
          <p:nvPr>
            <p:ph type="body" sz="half" idx="2"/>
          </p:nvPr>
        </p:nvSpPr>
        <p:spPr>
          <a:xfrm>
            <a:off x="457201" y="1076328"/>
            <a:ext cx="3008435" cy="3518297"/>
          </a:xfrm>
        </p:spPr>
        <p:txBody>
          <a:bodyPr/>
          <a:lstStyle>
            <a:lvl1pPr marL="0" indent="0">
              <a:buNone/>
              <a:defRPr sz="1200"/>
            </a:lvl1pPr>
            <a:lvl2pPr marL="389538" indent="0">
              <a:buNone/>
              <a:defRPr sz="1000"/>
            </a:lvl2pPr>
            <a:lvl3pPr marL="779074" indent="0">
              <a:buNone/>
              <a:defRPr sz="900"/>
            </a:lvl3pPr>
            <a:lvl4pPr marL="1168612" indent="0">
              <a:buNone/>
              <a:defRPr sz="800"/>
            </a:lvl4pPr>
            <a:lvl5pPr marL="1558149" indent="0">
              <a:buNone/>
              <a:defRPr sz="800"/>
            </a:lvl5pPr>
            <a:lvl6pPr marL="1947686" indent="0">
              <a:buNone/>
              <a:defRPr sz="800"/>
            </a:lvl6pPr>
            <a:lvl7pPr marL="2337223" indent="0">
              <a:buNone/>
              <a:defRPr sz="800"/>
            </a:lvl7pPr>
            <a:lvl8pPr marL="2726760" indent="0">
              <a:buNone/>
              <a:defRPr sz="800"/>
            </a:lvl8pPr>
            <a:lvl9pPr marL="3116298" indent="0">
              <a:buNone/>
              <a:defRPr sz="800"/>
            </a:lvl9pPr>
          </a:lstStyle>
          <a:p>
            <a:pPr lvl="0"/>
            <a:r>
              <a:rPr lang="en-US"/>
              <a:t>Click to edit Master text styles</a:t>
            </a:r>
          </a:p>
        </p:txBody>
      </p:sp>
      <p:sp>
        <p:nvSpPr>
          <p:cNvPr id="5" name="Slide Number Placeholder 4"/>
          <p:cNvSpPr>
            <a:spLocks noGrp="1"/>
          </p:cNvSpPr>
          <p:nvPr>
            <p:ph type="sldNum" sz="quarter" idx="10"/>
          </p:nvPr>
        </p:nvSpPr>
        <p:spPr/>
        <p:txBody>
          <a:bodyPr/>
          <a:lstStyle>
            <a:lvl1pPr>
              <a:defRPr smtClean="0"/>
            </a:lvl1pPr>
          </a:lstStyle>
          <a:p>
            <a:pPr>
              <a:defRPr/>
            </a:pPr>
            <a:fld id="{3A6DD62F-8BCF-4B12-A0DF-42F3ED2A7388}" type="slidenum">
              <a:rPr lang="sv-SE">
                <a:solidFill>
                  <a:srgbClr val="000000"/>
                </a:solidFill>
              </a:rPr>
              <a:pPr>
                <a:defRPr/>
              </a:pPr>
              <a:t>‹#›</a:t>
            </a:fld>
            <a:endParaRPr lang="sv-SE">
              <a:solidFill>
                <a:srgbClr val="000000"/>
              </a:solidFill>
            </a:endParaRPr>
          </a:p>
        </p:txBody>
      </p:sp>
    </p:spTree>
    <p:extLst>
      <p:ext uri="{BB962C8B-B14F-4D97-AF65-F5344CB8AC3E}">
        <p14:creationId xmlns:p14="http://schemas.microsoft.com/office/powerpoint/2010/main" val="7897429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166" y="3600451"/>
            <a:ext cx="5486400" cy="425054"/>
          </a:xfrm>
        </p:spPr>
        <p:txBody>
          <a:bodyPr anchor="b"/>
          <a:lstStyle>
            <a:lvl1pPr algn="l">
              <a:defRPr sz="1700" b="1"/>
            </a:lvl1pPr>
          </a:lstStyle>
          <a:p>
            <a:r>
              <a:rPr lang="en-US"/>
              <a:t>Click to edit Master title style</a:t>
            </a:r>
            <a:endParaRPr lang="en-AU"/>
          </a:p>
        </p:txBody>
      </p:sp>
      <p:sp>
        <p:nvSpPr>
          <p:cNvPr id="3" name="Picture Placeholder 2"/>
          <p:cNvSpPr>
            <a:spLocks noGrp="1"/>
          </p:cNvSpPr>
          <p:nvPr>
            <p:ph type="pic" idx="1"/>
          </p:nvPr>
        </p:nvSpPr>
        <p:spPr>
          <a:xfrm>
            <a:off x="1792166" y="459581"/>
            <a:ext cx="5486400" cy="3086100"/>
          </a:xfrm>
        </p:spPr>
        <p:txBody>
          <a:bodyPr/>
          <a:lstStyle>
            <a:lvl1pPr marL="0" indent="0">
              <a:buNone/>
              <a:defRPr sz="2700"/>
            </a:lvl1pPr>
            <a:lvl2pPr marL="389538" indent="0">
              <a:buNone/>
              <a:defRPr sz="2400"/>
            </a:lvl2pPr>
            <a:lvl3pPr marL="779074" indent="0">
              <a:buNone/>
              <a:defRPr sz="2000"/>
            </a:lvl3pPr>
            <a:lvl4pPr marL="1168612" indent="0">
              <a:buNone/>
              <a:defRPr sz="1700"/>
            </a:lvl4pPr>
            <a:lvl5pPr marL="1558149" indent="0">
              <a:buNone/>
              <a:defRPr sz="1700"/>
            </a:lvl5pPr>
            <a:lvl6pPr marL="1947686" indent="0">
              <a:buNone/>
              <a:defRPr sz="1700"/>
            </a:lvl6pPr>
            <a:lvl7pPr marL="2337223" indent="0">
              <a:buNone/>
              <a:defRPr sz="1700"/>
            </a:lvl7pPr>
            <a:lvl8pPr marL="2726760" indent="0">
              <a:buNone/>
              <a:defRPr sz="1700"/>
            </a:lvl8pPr>
            <a:lvl9pPr marL="3116298" indent="0">
              <a:buNone/>
              <a:defRPr sz="1700"/>
            </a:lvl9pPr>
          </a:lstStyle>
          <a:p>
            <a:endParaRPr lang="en-AU"/>
          </a:p>
        </p:txBody>
      </p:sp>
      <p:sp>
        <p:nvSpPr>
          <p:cNvPr id="4" name="Text Placeholder 3"/>
          <p:cNvSpPr>
            <a:spLocks noGrp="1"/>
          </p:cNvSpPr>
          <p:nvPr>
            <p:ph type="body" sz="half" idx="2"/>
          </p:nvPr>
        </p:nvSpPr>
        <p:spPr>
          <a:xfrm>
            <a:off x="1792166" y="4025505"/>
            <a:ext cx="5486400" cy="603647"/>
          </a:xfrm>
        </p:spPr>
        <p:txBody>
          <a:bodyPr/>
          <a:lstStyle>
            <a:lvl1pPr marL="0" indent="0">
              <a:buNone/>
              <a:defRPr sz="1200"/>
            </a:lvl1pPr>
            <a:lvl2pPr marL="389538" indent="0">
              <a:buNone/>
              <a:defRPr sz="1000"/>
            </a:lvl2pPr>
            <a:lvl3pPr marL="779074" indent="0">
              <a:buNone/>
              <a:defRPr sz="900"/>
            </a:lvl3pPr>
            <a:lvl4pPr marL="1168612" indent="0">
              <a:buNone/>
              <a:defRPr sz="800"/>
            </a:lvl4pPr>
            <a:lvl5pPr marL="1558149" indent="0">
              <a:buNone/>
              <a:defRPr sz="800"/>
            </a:lvl5pPr>
            <a:lvl6pPr marL="1947686" indent="0">
              <a:buNone/>
              <a:defRPr sz="800"/>
            </a:lvl6pPr>
            <a:lvl7pPr marL="2337223" indent="0">
              <a:buNone/>
              <a:defRPr sz="800"/>
            </a:lvl7pPr>
            <a:lvl8pPr marL="2726760" indent="0">
              <a:buNone/>
              <a:defRPr sz="800"/>
            </a:lvl8pPr>
            <a:lvl9pPr marL="3116298" indent="0">
              <a:buNone/>
              <a:defRPr sz="800"/>
            </a:lvl9pPr>
          </a:lstStyle>
          <a:p>
            <a:pPr lvl="0"/>
            <a:r>
              <a:rPr lang="en-US"/>
              <a:t>Click to edit Master text styles</a:t>
            </a:r>
          </a:p>
        </p:txBody>
      </p:sp>
      <p:sp>
        <p:nvSpPr>
          <p:cNvPr id="5" name="Slide Number Placeholder 4"/>
          <p:cNvSpPr>
            <a:spLocks noGrp="1"/>
          </p:cNvSpPr>
          <p:nvPr>
            <p:ph type="sldNum" sz="quarter" idx="10"/>
          </p:nvPr>
        </p:nvSpPr>
        <p:spPr/>
        <p:txBody>
          <a:bodyPr/>
          <a:lstStyle>
            <a:lvl1pPr>
              <a:defRPr smtClean="0"/>
            </a:lvl1pPr>
          </a:lstStyle>
          <a:p>
            <a:pPr>
              <a:defRPr/>
            </a:pPr>
            <a:fld id="{114C80F6-975E-4FAB-86AD-A0AB678DDDCB}" type="slidenum">
              <a:rPr lang="sv-SE">
                <a:solidFill>
                  <a:srgbClr val="000000"/>
                </a:solidFill>
              </a:rPr>
              <a:pPr>
                <a:defRPr/>
              </a:pPr>
              <a:t>‹#›</a:t>
            </a:fld>
            <a:endParaRPr lang="sv-SE">
              <a:solidFill>
                <a:srgbClr val="000000"/>
              </a:solidFill>
            </a:endParaRPr>
          </a:p>
        </p:txBody>
      </p:sp>
    </p:spTree>
    <p:extLst>
      <p:ext uri="{BB962C8B-B14F-4D97-AF65-F5344CB8AC3E}">
        <p14:creationId xmlns:p14="http://schemas.microsoft.com/office/powerpoint/2010/main" val="1357253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Startpage blue, no picture">
    <p:bg>
      <p:bgRef idx="1001">
        <a:schemeClr val="bg1"/>
      </p:bgRef>
    </p:bg>
    <p:spTree>
      <p:nvGrpSpPr>
        <p:cNvPr id="1" name=""/>
        <p:cNvGrpSpPr/>
        <p:nvPr/>
      </p:nvGrpSpPr>
      <p:grpSpPr>
        <a:xfrm>
          <a:off x="0" y="0"/>
          <a:ext cx="0" cy="0"/>
          <a:chOff x="0" y="0"/>
          <a:chExt cx="0" cy="0"/>
        </a:xfrm>
      </p:grpSpPr>
      <p:sp>
        <p:nvSpPr>
          <p:cNvPr id="2" name="Rubrik 1"/>
          <p:cNvSpPr>
            <a:spLocks noGrp="1"/>
          </p:cNvSpPr>
          <p:nvPr>
            <p:ph type="ctrTitle" hasCustomPrompt="1"/>
          </p:nvPr>
        </p:nvSpPr>
        <p:spPr>
          <a:xfrm>
            <a:off x="360000" y="3240000"/>
            <a:ext cx="8424000" cy="360000"/>
          </a:xfrm>
        </p:spPr>
        <p:txBody>
          <a:bodyPr/>
          <a:lstStyle>
            <a:lvl1pPr>
              <a:defRPr baseline="0"/>
            </a:lvl1pPr>
          </a:lstStyle>
          <a:p>
            <a:r>
              <a:rPr lang="en-US" noProof="0" dirty="0"/>
              <a:t>Headline First line</a:t>
            </a:r>
          </a:p>
        </p:txBody>
      </p:sp>
      <p:sp>
        <p:nvSpPr>
          <p:cNvPr id="3" name="Underrubrik 2"/>
          <p:cNvSpPr>
            <a:spLocks noGrp="1"/>
          </p:cNvSpPr>
          <p:nvPr>
            <p:ph type="subTitle" idx="1" hasCustomPrompt="1"/>
          </p:nvPr>
        </p:nvSpPr>
        <p:spPr>
          <a:xfrm>
            <a:off x="360000" y="3600000"/>
            <a:ext cx="8424000" cy="360000"/>
          </a:xfrm>
        </p:spPr>
        <p:txBody>
          <a:bodyPr>
            <a:noAutofit/>
          </a:bodyPr>
          <a:lstStyle>
            <a:lvl1pPr marL="0" indent="0" algn="l">
              <a:lnSpc>
                <a:spcPct val="100000"/>
              </a:lnSpc>
              <a:spcAft>
                <a:spcPts val="0"/>
              </a:spcAft>
              <a:buNone/>
              <a:defRPr sz="2800" cap="all" baseline="0">
                <a:solidFill>
                  <a:schemeClr val="accent2"/>
                </a:solidFill>
              </a:defRPr>
            </a:lvl1pPr>
            <a:lvl2pPr marL="457148" indent="0" algn="ctr">
              <a:buNone/>
              <a:defRPr>
                <a:solidFill>
                  <a:schemeClr val="tx1">
                    <a:tint val="75000"/>
                  </a:schemeClr>
                </a:solidFill>
              </a:defRPr>
            </a:lvl2pPr>
            <a:lvl3pPr marL="914296" indent="0" algn="ctr">
              <a:buNone/>
              <a:defRPr>
                <a:solidFill>
                  <a:schemeClr val="tx1">
                    <a:tint val="75000"/>
                  </a:schemeClr>
                </a:solidFill>
              </a:defRPr>
            </a:lvl3pPr>
            <a:lvl4pPr marL="1371444" indent="0" algn="ctr">
              <a:buNone/>
              <a:defRPr>
                <a:solidFill>
                  <a:schemeClr val="tx1">
                    <a:tint val="75000"/>
                  </a:schemeClr>
                </a:solidFill>
              </a:defRPr>
            </a:lvl4pPr>
            <a:lvl5pPr marL="1828592" indent="0" algn="ctr">
              <a:buNone/>
              <a:defRPr>
                <a:solidFill>
                  <a:schemeClr val="tx1">
                    <a:tint val="75000"/>
                  </a:schemeClr>
                </a:solidFill>
              </a:defRPr>
            </a:lvl5pPr>
            <a:lvl6pPr marL="2285740" indent="0" algn="ctr">
              <a:buNone/>
              <a:defRPr>
                <a:solidFill>
                  <a:schemeClr val="tx1">
                    <a:tint val="75000"/>
                  </a:schemeClr>
                </a:solidFill>
              </a:defRPr>
            </a:lvl6pPr>
            <a:lvl7pPr marL="2742888" indent="0" algn="ctr">
              <a:buNone/>
              <a:defRPr>
                <a:solidFill>
                  <a:schemeClr val="tx1">
                    <a:tint val="75000"/>
                  </a:schemeClr>
                </a:solidFill>
              </a:defRPr>
            </a:lvl7pPr>
            <a:lvl8pPr marL="3200036" indent="0" algn="ctr">
              <a:buNone/>
              <a:defRPr>
                <a:solidFill>
                  <a:schemeClr val="tx1">
                    <a:tint val="75000"/>
                  </a:schemeClr>
                </a:solidFill>
              </a:defRPr>
            </a:lvl8pPr>
            <a:lvl9pPr marL="3657184" indent="0" algn="ctr">
              <a:buNone/>
              <a:defRPr>
                <a:solidFill>
                  <a:schemeClr val="tx1">
                    <a:tint val="75000"/>
                  </a:schemeClr>
                </a:solidFill>
              </a:defRPr>
            </a:lvl9pPr>
          </a:lstStyle>
          <a:p>
            <a:r>
              <a:rPr lang="en-US" noProof="0" dirty="0"/>
              <a:t>Headline Second line</a:t>
            </a:r>
          </a:p>
        </p:txBody>
      </p:sp>
      <p:sp>
        <p:nvSpPr>
          <p:cNvPr id="4" name="Platshållare för datum 3"/>
          <p:cNvSpPr>
            <a:spLocks noGrp="1"/>
          </p:cNvSpPr>
          <p:nvPr>
            <p:ph type="dt" sz="half" idx="10"/>
          </p:nvPr>
        </p:nvSpPr>
        <p:spPr/>
        <p:txBody>
          <a:bodyPr/>
          <a:lstStyle/>
          <a:p>
            <a:fld id="{D16F672A-22C2-4DD6-B832-D4E7E450A29F}" type="datetime1">
              <a:rPr lang="en-US" smtClean="0"/>
              <a:t>9/10/2018</a:t>
            </a:fld>
            <a:endParaRPr lang="en-US" dirty="0"/>
          </a:p>
        </p:txBody>
      </p:sp>
      <p:sp>
        <p:nvSpPr>
          <p:cNvPr id="5" name="Platshållare för sidfot 4"/>
          <p:cNvSpPr>
            <a:spLocks noGrp="1"/>
          </p:cNvSpPr>
          <p:nvPr>
            <p:ph type="ftr" sz="quarter" idx="11"/>
          </p:nvPr>
        </p:nvSpPr>
        <p:spPr/>
        <p:txBody>
          <a:bodyPr/>
          <a:lstStyle/>
          <a:p>
            <a:r>
              <a:rPr lang="en-US" dirty="0"/>
              <a:t>SANDVIK: Title of presentation</a:t>
            </a:r>
          </a:p>
        </p:txBody>
      </p:sp>
      <p:sp>
        <p:nvSpPr>
          <p:cNvPr id="6" name="Platshållare för bildnummer 5"/>
          <p:cNvSpPr>
            <a:spLocks noGrp="1"/>
          </p:cNvSpPr>
          <p:nvPr>
            <p:ph type="sldNum" sz="quarter" idx="12"/>
          </p:nvPr>
        </p:nvSpPr>
        <p:spPr/>
        <p:txBody>
          <a:bodyPr/>
          <a:lstStyle/>
          <a:p>
            <a:fld id="{469B62F1-B431-48B6-8270-02431A1685B7}" type="slidenum">
              <a:rPr lang="en-US" smtClean="0"/>
              <a:t>‹#›</a:t>
            </a:fld>
            <a:endParaRPr lang="en-US" dirty="0"/>
          </a:p>
        </p:txBody>
      </p:sp>
      <p:pic>
        <p:nvPicPr>
          <p:cNvPr id="9" name="Bildobjekt 8" descr="SAV_Logo_cyan_RGB300.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890203" y="4542481"/>
            <a:ext cx="889868" cy="324000"/>
          </a:xfrm>
          <a:prstGeom prst="rect">
            <a:avLst/>
          </a:prstGeom>
        </p:spPr>
      </p:pic>
      <p:pic>
        <p:nvPicPr>
          <p:cNvPr id="7" name="Picture 6"/>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15467"/>
            <a:ext cx="9144000" cy="2909479"/>
          </a:xfrm>
          <a:prstGeom prst="rect">
            <a:avLst/>
          </a:prstGeom>
        </p:spPr>
      </p:pic>
      <p:sp>
        <p:nvSpPr>
          <p:cNvPr id="11" name="Rectangular Callout 10"/>
          <p:cNvSpPr/>
          <p:nvPr userDrawn="1"/>
        </p:nvSpPr>
        <p:spPr>
          <a:xfrm>
            <a:off x="9432540" y="2751770"/>
            <a:ext cx="1440000" cy="2939097"/>
          </a:xfrm>
          <a:prstGeom prst="wedgeRectCallout">
            <a:avLst>
              <a:gd name="adj1" fmla="val -60810"/>
              <a:gd name="adj2" fmla="val -20925"/>
            </a:avLst>
          </a:prstGeom>
          <a:solidFill>
            <a:srgbClr val="7F7F7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l"/>
            <a:r>
              <a:rPr lang="en-US" sz="800" noProof="0" dirty="0"/>
              <a:t>We use a two-color</a:t>
            </a:r>
            <a:r>
              <a:rPr lang="en-US" sz="800" baseline="0" noProof="0" dirty="0"/>
              <a:t> headline system to highlight our rational and emotional side alike. The first line appears in blue (the rational side), the second line in orange (the emotional side) and the duality principle is reflected in the wording of the headline.</a:t>
            </a:r>
          </a:p>
          <a:p>
            <a:pPr algn="l"/>
            <a:endParaRPr lang="en-US" sz="1000" b="1" baseline="0" noProof="0" dirty="0"/>
          </a:p>
          <a:p>
            <a:pPr algn="l"/>
            <a:r>
              <a:rPr lang="en-US" sz="800" b="1" baseline="0" noProof="0" dirty="0"/>
              <a:t>This system refers to the first page title only, all other headlines are blue.</a:t>
            </a:r>
          </a:p>
          <a:p>
            <a:pPr algn="l"/>
            <a:endParaRPr lang="en-US" sz="1000" b="1" baseline="0" noProof="0" dirty="0"/>
          </a:p>
          <a:p>
            <a:pPr algn="l"/>
            <a:r>
              <a:rPr lang="en-US" sz="800" b="0" baseline="0" noProof="0" dirty="0"/>
              <a:t>Learn more about our verbal identity in the Sandvik Brand Identity Directives, which you can download at the Intranet &gt; home.sandvik.com/brand</a:t>
            </a:r>
            <a:endParaRPr lang="en-US" sz="800" noProof="0" dirty="0"/>
          </a:p>
        </p:txBody>
      </p:sp>
    </p:spTree>
    <p:extLst>
      <p:ext uri="{BB962C8B-B14F-4D97-AF65-F5344CB8AC3E}">
        <p14:creationId xmlns:p14="http://schemas.microsoft.com/office/powerpoint/2010/main" val="7783823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Slide Number Placeholder 3"/>
          <p:cNvSpPr>
            <a:spLocks noGrp="1"/>
          </p:cNvSpPr>
          <p:nvPr>
            <p:ph type="sldNum" sz="quarter" idx="10"/>
          </p:nvPr>
        </p:nvSpPr>
        <p:spPr/>
        <p:txBody>
          <a:bodyPr/>
          <a:lstStyle>
            <a:lvl1pPr>
              <a:defRPr smtClean="0"/>
            </a:lvl1pPr>
          </a:lstStyle>
          <a:p>
            <a:pPr>
              <a:defRPr/>
            </a:pPr>
            <a:fld id="{ACA9223D-DD26-48D0-955A-66E84E9E7506}" type="slidenum">
              <a:rPr lang="sv-SE">
                <a:solidFill>
                  <a:srgbClr val="000000"/>
                </a:solidFill>
              </a:rPr>
              <a:pPr>
                <a:defRPr/>
              </a:pPr>
              <a:t>‹#›</a:t>
            </a:fld>
            <a:endParaRPr lang="sv-SE">
              <a:solidFill>
                <a:srgbClr val="000000"/>
              </a:solidFill>
            </a:endParaRPr>
          </a:p>
        </p:txBody>
      </p:sp>
    </p:spTree>
    <p:extLst>
      <p:ext uri="{BB962C8B-B14F-4D97-AF65-F5344CB8AC3E}">
        <p14:creationId xmlns:p14="http://schemas.microsoft.com/office/powerpoint/2010/main" val="3000358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35262" y="363142"/>
            <a:ext cx="2076450" cy="4148138"/>
          </a:xfrm>
        </p:spPr>
        <p:txBody>
          <a:bodyPr vert="eaVert"/>
          <a:lstStyle/>
          <a:p>
            <a:r>
              <a:rPr lang="en-US"/>
              <a:t>Click to edit Master title style</a:t>
            </a:r>
            <a:endParaRPr lang="en-AU"/>
          </a:p>
        </p:txBody>
      </p:sp>
      <p:sp>
        <p:nvSpPr>
          <p:cNvPr id="3" name="Vertical Text Placeholder 2"/>
          <p:cNvSpPr>
            <a:spLocks noGrp="1"/>
          </p:cNvSpPr>
          <p:nvPr>
            <p:ph type="body" orient="vert" idx="1"/>
          </p:nvPr>
        </p:nvSpPr>
        <p:spPr>
          <a:xfrm>
            <a:off x="404446" y="363142"/>
            <a:ext cx="6090138" cy="41481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Slide Number Placeholder 3"/>
          <p:cNvSpPr>
            <a:spLocks noGrp="1"/>
          </p:cNvSpPr>
          <p:nvPr>
            <p:ph type="sldNum" sz="quarter" idx="10"/>
          </p:nvPr>
        </p:nvSpPr>
        <p:spPr/>
        <p:txBody>
          <a:bodyPr/>
          <a:lstStyle>
            <a:lvl1pPr>
              <a:defRPr smtClean="0"/>
            </a:lvl1pPr>
          </a:lstStyle>
          <a:p>
            <a:pPr>
              <a:defRPr/>
            </a:pPr>
            <a:fld id="{41F92D27-451E-4850-9824-812BB893E98F}" type="slidenum">
              <a:rPr lang="sv-SE">
                <a:solidFill>
                  <a:srgbClr val="000000"/>
                </a:solidFill>
              </a:rPr>
              <a:pPr>
                <a:defRPr/>
              </a:pPr>
              <a:t>‹#›</a:t>
            </a:fld>
            <a:endParaRPr lang="sv-SE">
              <a:solidFill>
                <a:srgbClr val="000000"/>
              </a:solidFill>
            </a:endParaRPr>
          </a:p>
        </p:txBody>
      </p:sp>
    </p:spTree>
    <p:extLst>
      <p:ext uri="{BB962C8B-B14F-4D97-AF65-F5344CB8AC3E}">
        <p14:creationId xmlns:p14="http://schemas.microsoft.com/office/powerpoint/2010/main" val="16482984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20"/>
            <a:ext cx="7772400" cy="1102519"/>
          </a:xfrm>
        </p:spPr>
        <p:txBody>
          <a:bodyPr/>
          <a:lstStyle/>
          <a:p>
            <a:r>
              <a:rPr lang="en-US"/>
              <a:t>Click to edit Master title style</a:t>
            </a:r>
            <a:endParaRPr lang="en-AU"/>
          </a:p>
        </p:txBody>
      </p:sp>
      <p:sp>
        <p:nvSpPr>
          <p:cNvPr id="3" name="Subtitle 2"/>
          <p:cNvSpPr>
            <a:spLocks noGrp="1"/>
          </p:cNvSpPr>
          <p:nvPr>
            <p:ph type="subTitle" idx="1"/>
          </p:nvPr>
        </p:nvSpPr>
        <p:spPr>
          <a:xfrm>
            <a:off x="1371600" y="2914650"/>
            <a:ext cx="6400800" cy="1314450"/>
          </a:xfrm>
        </p:spPr>
        <p:txBody>
          <a:bodyPr/>
          <a:lstStyle>
            <a:lvl1pPr marL="0" indent="0" algn="ctr">
              <a:buNone/>
              <a:defRPr/>
            </a:lvl1pPr>
            <a:lvl2pPr marL="389582" indent="0" algn="ctr">
              <a:buNone/>
              <a:defRPr/>
            </a:lvl2pPr>
            <a:lvl3pPr marL="779163" indent="0" algn="ctr">
              <a:buNone/>
              <a:defRPr/>
            </a:lvl3pPr>
            <a:lvl4pPr marL="1168745" indent="0" algn="ctr">
              <a:buNone/>
              <a:defRPr/>
            </a:lvl4pPr>
            <a:lvl5pPr marL="1558326" indent="0" algn="ctr">
              <a:buNone/>
              <a:defRPr/>
            </a:lvl5pPr>
            <a:lvl6pPr marL="1947908" indent="0" algn="ctr">
              <a:buNone/>
              <a:defRPr/>
            </a:lvl6pPr>
            <a:lvl7pPr marL="2337489" indent="0" algn="ctr">
              <a:buNone/>
              <a:defRPr/>
            </a:lvl7pPr>
            <a:lvl8pPr marL="2727071" indent="0" algn="ctr">
              <a:buNone/>
              <a:defRPr/>
            </a:lvl8pPr>
            <a:lvl9pPr marL="3116652" indent="0" algn="ctr">
              <a:buNone/>
              <a:defRPr/>
            </a:lvl9pPr>
          </a:lstStyle>
          <a:p>
            <a:r>
              <a:rPr lang="en-US"/>
              <a:t>Click to edit Master subtitle style</a:t>
            </a:r>
            <a:endParaRPr lang="en-AU"/>
          </a:p>
        </p:txBody>
      </p:sp>
      <p:sp>
        <p:nvSpPr>
          <p:cNvPr id="4" name="Slide Number Placeholder 3"/>
          <p:cNvSpPr>
            <a:spLocks noGrp="1"/>
          </p:cNvSpPr>
          <p:nvPr>
            <p:ph type="sldNum" sz="quarter" idx="10"/>
          </p:nvPr>
        </p:nvSpPr>
        <p:spPr/>
        <p:txBody>
          <a:bodyPr/>
          <a:lstStyle>
            <a:lvl1pPr>
              <a:defRPr smtClean="0"/>
            </a:lvl1pPr>
          </a:lstStyle>
          <a:p>
            <a:pPr>
              <a:defRPr/>
            </a:pPr>
            <a:fld id="{F5E0621B-6BE2-4DB2-BF9A-A9518BB93889}" type="slidenum">
              <a:rPr lang="sv-SE">
                <a:solidFill>
                  <a:srgbClr val="000000"/>
                </a:solidFill>
              </a:rPr>
              <a:pPr>
                <a:defRPr/>
              </a:pPr>
              <a:t>‹#›</a:t>
            </a:fld>
            <a:endParaRPr lang="sv-SE">
              <a:solidFill>
                <a:srgbClr val="000000"/>
              </a:solidFill>
            </a:endParaRPr>
          </a:p>
        </p:txBody>
      </p:sp>
    </p:spTree>
    <p:extLst>
      <p:ext uri="{BB962C8B-B14F-4D97-AF65-F5344CB8AC3E}">
        <p14:creationId xmlns:p14="http://schemas.microsoft.com/office/powerpoint/2010/main" val="2155786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Slide Number Placeholder 3"/>
          <p:cNvSpPr>
            <a:spLocks noGrp="1"/>
          </p:cNvSpPr>
          <p:nvPr>
            <p:ph type="sldNum" sz="quarter" idx="10"/>
          </p:nvPr>
        </p:nvSpPr>
        <p:spPr/>
        <p:txBody>
          <a:bodyPr/>
          <a:lstStyle>
            <a:lvl1pPr>
              <a:defRPr smtClean="0"/>
            </a:lvl1pPr>
          </a:lstStyle>
          <a:p>
            <a:pPr>
              <a:defRPr/>
            </a:pPr>
            <a:fld id="{4DD58F5F-2533-4110-ADC0-14B6217FA90A}" type="slidenum">
              <a:rPr lang="sv-SE">
                <a:solidFill>
                  <a:srgbClr val="000000"/>
                </a:solidFill>
              </a:rPr>
              <a:pPr>
                <a:defRPr/>
              </a:pPr>
              <a:t>‹#›</a:t>
            </a:fld>
            <a:endParaRPr lang="sv-SE">
              <a:solidFill>
                <a:srgbClr val="000000"/>
              </a:solidFill>
            </a:endParaRPr>
          </a:p>
        </p:txBody>
      </p:sp>
    </p:spTree>
    <p:extLst>
      <p:ext uri="{BB962C8B-B14F-4D97-AF65-F5344CB8AC3E}">
        <p14:creationId xmlns:p14="http://schemas.microsoft.com/office/powerpoint/2010/main" val="2580159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435" y="3305176"/>
            <a:ext cx="7772400" cy="1021556"/>
          </a:xfrm>
        </p:spPr>
        <p:txBody>
          <a:bodyPr/>
          <a:lstStyle>
            <a:lvl1pPr algn="l">
              <a:defRPr sz="3400" b="1" cap="all"/>
            </a:lvl1pPr>
          </a:lstStyle>
          <a:p>
            <a:r>
              <a:rPr lang="en-US"/>
              <a:t>Click to edit Master title style</a:t>
            </a:r>
            <a:endParaRPr lang="en-AU"/>
          </a:p>
        </p:txBody>
      </p:sp>
      <p:sp>
        <p:nvSpPr>
          <p:cNvPr id="3" name="Text Placeholder 2"/>
          <p:cNvSpPr>
            <a:spLocks noGrp="1"/>
          </p:cNvSpPr>
          <p:nvPr>
            <p:ph type="body" idx="1"/>
          </p:nvPr>
        </p:nvSpPr>
        <p:spPr>
          <a:xfrm>
            <a:off x="722435" y="2180035"/>
            <a:ext cx="7772400" cy="1125140"/>
          </a:xfrm>
        </p:spPr>
        <p:txBody>
          <a:bodyPr anchor="b"/>
          <a:lstStyle>
            <a:lvl1pPr marL="0" indent="0">
              <a:buNone/>
              <a:defRPr sz="1700"/>
            </a:lvl1pPr>
            <a:lvl2pPr marL="389582" indent="0">
              <a:buNone/>
              <a:defRPr sz="1500"/>
            </a:lvl2pPr>
            <a:lvl3pPr marL="779163" indent="0">
              <a:buNone/>
              <a:defRPr sz="1400"/>
            </a:lvl3pPr>
            <a:lvl4pPr marL="1168745" indent="0">
              <a:buNone/>
              <a:defRPr sz="1200"/>
            </a:lvl4pPr>
            <a:lvl5pPr marL="1558326" indent="0">
              <a:buNone/>
              <a:defRPr sz="1200"/>
            </a:lvl5pPr>
            <a:lvl6pPr marL="1947908" indent="0">
              <a:buNone/>
              <a:defRPr sz="1200"/>
            </a:lvl6pPr>
            <a:lvl7pPr marL="2337489" indent="0">
              <a:buNone/>
              <a:defRPr sz="1200"/>
            </a:lvl7pPr>
            <a:lvl8pPr marL="2727071" indent="0">
              <a:buNone/>
              <a:defRPr sz="1200"/>
            </a:lvl8pPr>
            <a:lvl9pPr marL="3116652" indent="0">
              <a:buNone/>
              <a:defRPr sz="1200"/>
            </a:lvl9pPr>
          </a:lstStyle>
          <a:p>
            <a:pPr lvl="0"/>
            <a:r>
              <a:rPr lang="en-US"/>
              <a:t>Click to edit Master text styles</a:t>
            </a:r>
          </a:p>
        </p:txBody>
      </p:sp>
      <p:sp>
        <p:nvSpPr>
          <p:cNvPr id="4" name="Slide Number Placeholder 3"/>
          <p:cNvSpPr>
            <a:spLocks noGrp="1"/>
          </p:cNvSpPr>
          <p:nvPr>
            <p:ph type="sldNum" sz="quarter" idx="10"/>
          </p:nvPr>
        </p:nvSpPr>
        <p:spPr/>
        <p:txBody>
          <a:bodyPr/>
          <a:lstStyle>
            <a:lvl1pPr>
              <a:defRPr smtClean="0"/>
            </a:lvl1pPr>
          </a:lstStyle>
          <a:p>
            <a:pPr>
              <a:defRPr/>
            </a:pPr>
            <a:fld id="{60A41630-191C-4C6C-A8FB-56742A63C2F0}" type="slidenum">
              <a:rPr lang="sv-SE">
                <a:solidFill>
                  <a:srgbClr val="000000"/>
                </a:solidFill>
              </a:rPr>
              <a:pPr>
                <a:defRPr/>
              </a:pPr>
              <a:t>‹#›</a:t>
            </a:fld>
            <a:endParaRPr lang="sv-SE">
              <a:solidFill>
                <a:srgbClr val="000000"/>
              </a:solidFill>
            </a:endParaRPr>
          </a:p>
        </p:txBody>
      </p:sp>
    </p:spTree>
    <p:extLst>
      <p:ext uri="{BB962C8B-B14F-4D97-AF65-F5344CB8AC3E}">
        <p14:creationId xmlns:p14="http://schemas.microsoft.com/office/powerpoint/2010/main" val="823868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
        <p:nvSpPr>
          <p:cNvPr id="3" name="Content Placeholder 2"/>
          <p:cNvSpPr>
            <a:spLocks noGrp="1"/>
          </p:cNvSpPr>
          <p:nvPr>
            <p:ph sz="half" idx="1"/>
          </p:nvPr>
        </p:nvSpPr>
        <p:spPr>
          <a:xfrm>
            <a:off x="404446" y="1579961"/>
            <a:ext cx="4082562" cy="2931319"/>
          </a:xfrm>
        </p:spPr>
        <p:txBody>
          <a:bodyPr/>
          <a:lstStyle>
            <a:lvl1pPr>
              <a:defRPr sz="2400"/>
            </a:lvl1pPr>
            <a:lvl2pPr>
              <a:defRPr sz="2000"/>
            </a:lvl2pPr>
            <a:lvl3pPr>
              <a:defRPr sz="17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Content Placeholder 3"/>
          <p:cNvSpPr>
            <a:spLocks noGrp="1"/>
          </p:cNvSpPr>
          <p:nvPr>
            <p:ph sz="half" idx="2"/>
          </p:nvPr>
        </p:nvSpPr>
        <p:spPr>
          <a:xfrm>
            <a:off x="4627686" y="1579961"/>
            <a:ext cx="4084027" cy="2931319"/>
          </a:xfrm>
        </p:spPr>
        <p:txBody>
          <a:bodyPr/>
          <a:lstStyle>
            <a:lvl1pPr>
              <a:defRPr sz="2400"/>
            </a:lvl1pPr>
            <a:lvl2pPr>
              <a:defRPr sz="2000"/>
            </a:lvl2pPr>
            <a:lvl3pPr>
              <a:defRPr sz="17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Slide Number Placeholder 4"/>
          <p:cNvSpPr>
            <a:spLocks noGrp="1"/>
          </p:cNvSpPr>
          <p:nvPr>
            <p:ph type="sldNum" sz="quarter" idx="10"/>
          </p:nvPr>
        </p:nvSpPr>
        <p:spPr/>
        <p:txBody>
          <a:bodyPr/>
          <a:lstStyle>
            <a:lvl1pPr>
              <a:defRPr smtClean="0"/>
            </a:lvl1pPr>
          </a:lstStyle>
          <a:p>
            <a:pPr>
              <a:defRPr/>
            </a:pPr>
            <a:fld id="{0EB1D723-6599-466C-BFEF-4AA6FE714965}" type="slidenum">
              <a:rPr lang="sv-SE">
                <a:solidFill>
                  <a:srgbClr val="000000"/>
                </a:solidFill>
              </a:rPr>
              <a:pPr>
                <a:defRPr/>
              </a:pPr>
              <a:t>‹#›</a:t>
            </a:fld>
            <a:endParaRPr lang="sv-SE">
              <a:solidFill>
                <a:srgbClr val="000000"/>
              </a:solidFill>
            </a:endParaRPr>
          </a:p>
        </p:txBody>
      </p:sp>
    </p:spTree>
    <p:extLst>
      <p:ext uri="{BB962C8B-B14F-4D97-AF65-F5344CB8AC3E}">
        <p14:creationId xmlns:p14="http://schemas.microsoft.com/office/powerpoint/2010/main" val="17474288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8229600" cy="857250"/>
          </a:xfrm>
        </p:spPr>
        <p:txBody>
          <a:bodyPr/>
          <a:lstStyle>
            <a:lvl1pPr>
              <a:defRPr/>
            </a:lvl1pPr>
          </a:lstStyle>
          <a:p>
            <a:r>
              <a:rPr lang="en-US"/>
              <a:t>Click to edit Master title style</a:t>
            </a:r>
            <a:endParaRPr lang="en-AU"/>
          </a:p>
        </p:txBody>
      </p:sp>
      <p:sp>
        <p:nvSpPr>
          <p:cNvPr id="3" name="Text Placeholder 2"/>
          <p:cNvSpPr>
            <a:spLocks noGrp="1"/>
          </p:cNvSpPr>
          <p:nvPr>
            <p:ph type="body" idx="1"/>
          </p:nvPr>
        </p:nvSpPr>
        <p:spPr>
          <a:xfrm>
            <a:off x="457200" y="1151335"/>
            <a:ext cx="4040066" cy="479822"/>
          </a:xfrm>
        </p:spPr>
        <p:txBody>
          <a:bodyPr anchor="b"/>
          <a:lstStyle>
            <a:lvl1pPr marL="0" indent="0">
              <a:buNone/>
              <a:defRPr sz="2000" b="1"/>
            </a:lvl1pPr>
            <a:lvl2pPr marL="389582" indent="0">
              <a:buNone/>
              <a:defRPr sz="1700" b="1"/>
            </a:lvl2pPr>
            <a:lvl3pPr marL="779163" indent="0">
              <a:buNone/>
              <a:defRPr sz="1500" b="1"/>
            </a:lvl3pPr>
            <a:lvl4pPr marL="1168745" indent="0">
              <a:buNone/>
              <a:defRPr sz="1400" b="1"/>
            </a:lvl4pPr>
            <a:lvl5pPr marL="1558326" indent="0">
              <a:buNone/>
              <a:defRPr sz="1400" b="1"/>
            </a:lvl5pPr>
            <a:lvl6pPr marL="1947908" indent="0">
              <a:buNone/>
              <a:defRPr sz="1400" b="1"/>
            </a:lvl6pPr>
            <a:lvl7pPr marL="2337489" indent="0">
              <a:buNone/>
              <a:defRPr sz="1400" b="1"/>
            </a:lvl7pPr>
            <a:lvl8pPr marL="2727071" indent="0">
              <a:buNone/>
              <a:defRPr sz="1400" b="1"/>
            </a:lvl8pPr>
            <a:lvl9pPr marL="3116652" indent="0">
              <a:buNone/>
              <a:defRPr sz="1400" b="1"/>
            </a:lvl9pPr>
          </a:lstStyle>
          <a:p>
            <a:pPr lvl="0"/>
            <a:r>
              <a:rPr lang="en-US"/>
              <a:t>Click to edit Master text styles</a:t>
            </a:r>
          </a:p>
        </p:txBody>
      </p:sp>
      <p:sp>
        <p:nvSpPr>
          <p:cNvPr id="4" name="Content Placeholder 3"/>
          <p:cNvSpPr>
            <a:spLocks noGrp="1"/>
          </p:cNvSpPr>
          <p:nvPr>
            <p:ph sz="half" idx="2"/>
          </p:nvPr>
        </p:nvSpPr>
        <p:spPr>
          <a:xfrm>
            <a:off x="457200" y="1631156"/>
            <a:ext cx="4040066" cy="2963466"/>
          </a:xfrm>
        </p:spPr>
        <p:txBody>
          <a:bodyPr/>
          <a:lstStyle>
            <a:lvl1pPr>
              <a:defRPr sz="2000"/>
            </a:lvl1pPr>
            <a:lvl2pPr>
              <a:defRPr sz="1700"/>
            </a:lvl2pPr>
            <a:lvl3pPr>
              <a:defRPr sz="15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Text Placeholder 4"/>
          <p:cNvSpPr>
            <a:spLocks noGrp="1"/>
          </p:cNvSpPr>
          <p:nvPr>
            <p:ph type="body" sz="quarter" idx="3"/>
          </p:nvPr>
        </p:nvSpPr>
        <p:spPr>
          <a:xfrm>
            <a:off x="4645271" y="1151335"/>
            <a:ext cx="4041531" cy="479822"/>
          </a:xfrm>
        </p:spPr>
        <p:txBody>
          <a:bodyPr anchor="b"/>
          <a:lstStyle>
            <a:lvl1pPr marL="0" indent="0">
              <a:buNone/>
              <a:defRPr sz="2000" b="1"/>
            </a:lvl1pPr>
            <a:lvl2pPr marL="389582" indent="0">
              <a:buNone/>
              <a:defRPr sz="1700" b="1"/>
            </a:lvl2pPr>
            <a:lvl3pPr marL="779163" indent="0">
              <a:buNone/>
              <a:defRPr sz="1500" b="1"/>
            </a:lvl3pPr>
            <a:lvl4pPr marL="1168745" indent="0">
              <a:buNone/>
              <a:defRPr sz="1400" b="1"/>
            </a:lvl4pPr>
            <a:lvl5pPr marL="1558326" indent="0">
              <a:buNone/>
              <a:defRPr sz="1400" b="1"/>
            </a:lvl5pPr>
            <a:lvl6pPr marL="1947908" indent="0">
              <a:buNone/>
              <a:defRPr sz="1400" b="1"/>
            </a:lvl6pPr>
            <a:lvl7pPr marL="2337489" indent="0">
              <a:buNone/>
              <a:defRPr sz="1400" b="1"/>
            </a:lvl7pPr>
            <a:lvl8pPr marL="2727071" indent="0">
              <a:buNone/>
              <a:defRPr sz="1400" b="1"/>
            </a:lvl8pPr>
            <a:lvl9pPr marL="3116652" indent="0">
              <a:buNone/>
              <a:defRPr sz="1400" b="1"/>
            </a:lvl9pPr>
          </a:lstStyle>
          <a:p>
            <a:pPr lvl="0"/>
            <a:r>
              <a:rPr lang="en-US"/>
              <a:t>Click to edit Master text styles</a:t>
            </a:r>
          </a:p>
        </p:txBody>
      </p:sp>
      <p:sp>
        <p:nvSpPr>
          <p:cNvPr id="6" name="Content Placeholder 5"/>
          <p:cNvSpPr>
            <a:spLocks noGrp="1"/>
          </p:cNvSpPr>
          <p:nvPr>
            <p:ph sz="quarter" idx="4"/>
          </p:nvPr>
        </p:nvSpPr>
        <p:spPr>
          <a:xfrm>
            <a:off x="4645271" y="1631156"/>
            <a:ext cx="4041531" cy="2963466"/>
          </a:xfrm>
        </p:spPr>
        <p:txBody>
          <a:bodyPr/>
          <a:lstStyle>
            <a:lvl1pPr>
              <a:defRPr sz="2000"/>
            </a:lvl1pPr>
            <a:lvl2pPr>
              <a:defRPr sz="1700"/>
            </a:lvl2pPr>
            <a:lvl3pPr>
              <a:defRPr sz="15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7" name="Slide Number Placeholder 6"/>
          <p:cNvSpPr>
            <a:spLocks noGrp="1"/>
          </p:cNvSpPr>
          <p:nvPr>
            <p:ph type="sldNum" sz="quarter" idx="10"/>
          </p:nvPr>
        </p:nvSpPr>
        <p:spPr/>
        <p:txBody>
          <a:bodyPr/>
          <a:lstStyle>
            <a:lvl1pPr>
              <a:defRPr smtClean="0"/>
            </a:lvl1pPr>
          </a:lstStyle>
          <a:p>
            <a:pPr>
              <a:defRPr/>
            </a:pPr>
            <a:fld id="{99E0DCAB-F341-4787-9CF7-CA2E0E8B2CE6}" type="slidenum">
              <a:rPr lang="sv-SE">
                <a:solidFill>
                  <a:srgbClr val="000000"/>
                </a:solidFill>
              </a:rPr>
              <a:pPr>
                <a:defRPr/>
              </a:pPr>
              <a:t>‹#›</a:t>
            </a:fld>
            <a:endParaRPr lang="sv-SE">
              <a:solidFill>
                <a:srgbClr val="000000"/>
              </a:solidFill>
            </a:endParaRPr>
          </a:p>
        </p:txBody>
      </p:sp>
    </p:spTree>
    <p:extLst>
      <p:ext uri="{BB962C8B-B14F-4D97-AF65-F5344CB8AC3E}">
        <p14:creationId xmlns:p14="http://schemas.microsoft.com/office/powerpoint/2010/main" val="2386464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
        <p:nvSpPr>
          <p:cNvPr id="3" name="Slide Number Placeholder 2"/>
          <p:cNvSpPr>
            <a:spLocks noGrp="1"/>
          </p:cNvSpPr>
          <p:nvPr>
            <p:ph type="sldNum" sz="quarter" idx="10"/>
          </p:nvPr>
        </p:nvSpPr>
        <p:spPr/>
        <p:txBody>
          <a:bodyPr/>
          <a:lstStyle>
            <a:lvl1pPr>
              <a:defRPr smtClean="0"/>
            </a:lvl1pPr>
          </a:lstStyle>
          <a:p>
            <a:pPr>
              <a:defRPr/>
            </a:pPr>
            <a:fld id="{0F41BE7D-2DAB-4C52-BC64-1FE2C27E494D}" type="slidenum">
              <a:rPr lang="sv-SE">
                <a:solidFill>
                  <a:srgbClr val="000000"/>
                </a:solidFill>
              </a:rPr>
              <a:pPr>
                <a:defRPr/>
              </a:pPr>
              <a:t>‹#›</a:t>
            </a:fld>
            <a:endParaRPr lang="sv-SE">
              <a:solidFill>
                <a:srgbClr val="000000"/>
              </a:solidFill>
            </a:endParaRPr>
          </a:p>
        </p:txBody>
      </p:sp>
    </p:spTree>
    <p:extLst>
      <p:ext uri="{BB962C8B-B14F-4D97-AF65-F5344CB8AC3E}">
        <p14:creationId xmlns:p14="http://schemas.microsoft.com/office/powerpoint/2010/main" val="1791651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smtClean="0"/>
            </a:lvl1pPr>
          </a:lstStyle>
          <a:p>
            <a:pPr>
              <a:defRPr/>
            </a:pPr>
            <a:fld id="{9B69C536-65AC-4174-9C1D-8540EDD051DD}" type="slidenum">
              <a:rPr lang="sv-SE">
                <a:solidFill>
                  <a:srgbClr val="000000"/>
                </a:solidFill>
              </a:rPr>
              <a:pPr>
                <a:defRPr/>
              </a:pPr>
              <a:t>‹#›</a:t>
            </a:fld>
            <a:endParaRPr lang="sv-SE">
              <a:solidFill>
                <a:srgbClr val="000000"/>
              </a:solidFill>
            </a:endParaRPr>
          </a:p>
        </p:txBody>
      </p:sp>
    </p:spTree>
    <p:extLst>
      <p:ext uri="{BB962C8B-B14F-4D97-AF65-F5344CB8AC3E}">
        <p14:creationId xmlns:p14="http://schemas.microsoft.com/office/powerpoint/2010/main" val="3530682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04787"/>
            <a:ext cx="3008435" cy="871538"/>
          </a:xfrm>
        </p:spPr>
        <p:txBody>
          <a:bodyPr anchor="b"/>
          <a:lstStyle>
            <a:lvl1pPr algn="l">
              <a:defRPr sz="1700" b="1"/>
            </a:lvl1pPr>
          </a:lstStyle>
          <a:p>
            <a:r>
              <a:rPr lang="en-US"/>
              <a:t>Click to edit Master title style</a:t>
            </a:r>
            <a:endParaRPr lang="en-AU"/>
          </a:p>
        </p:txBody>
      </p:sp>
      <p:sp>
        <p:nvSpPr>
          <p:cNvPr id="3" name="Content Placeholder 2"/>
          <p:cNvSpPr>
            <a:spLocks noGrp="1"/>
          </p:cNvSpPr>
          <p:nvPr>
            <p:ph idx="1"/>
          </p:nvPr>
        </p:nvSpPr>
        <p:spPr>
          <a:xfrm>
            <a:off x="3575538" y="204789"/>
            <a:ext cx="5111262" cy="4389835"/>
          </a:xfrm>
        </p:spPr>
        <p:txBody>
          <a:bodyPr/>
          <a:lstStyle>
            <a:lvl1pPr>
              <a:defRPr sz="2700"/>
            </a:lvl1pPr>
            <a:lvl2pPr>
              <a:defRPr sz="2400"/>
            </a:lvl2pPr>
            <a:lvl3pPr>
              <a:defRPr sz="20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Text Placeholder 3"/>
          <p:cNvSpPr>
            <a:spLocks noGrp="1"/>
          </p:cNvSpPr>
          <p:nvPr>
            <p:ph type="body" sz="half" idx="2"/>
          </p:nvPr>
        </p:nvSpPr>
        <p:spPr>
          <a:xfrm>
            <a:off x="457201" y="1076327"/>
            <a:ext cx="3008435" cy="3518297"/>
          </a:xfrm>
        </p:spPr>
        <p:txBody>
          <a:bodyPr/>
          <a:lstStyle>
            <a:lvl1pPr marL="0" indent="0">
              <a:buNone/>
              <a:defRPr sz="1200"/>
            </a:lvl1pPr>
            <a:lvl2pPr marL="389582" indent="0">
              <a:buNone/>
              <a:defRPr sz="1000"/>
            </a:lvl2pPr>
            <a:lvl3pPr marL="779163" indent="0">
              <a:buNone/>
              <a:defRPr sz="900"/>
            </a:lvl3pPr>
            <a:lvl4pPr marL="1168745" indent="0">
              <a:buNone/>
              <a:defRPr sz="800"/>
            </a:lvl4pPr>
            <a:lvl5pPr marL="1558326" indent="0">
              <a:buNone/>
              <a:defRPr sz="800"/>
            </a:lvl5pPr>
            <a:lvl6pPr marL="1947908" indent="0">
              <a:buNone/>
              <a:defRPr sz="800"/>
            </a:lvl6pPr>
            <a:lvl7pPr marL="2337489" indent="0">
              <a:buNone/>
              <a:defRPr sz="800"/>
            </a:lvl7pPr>
            <a:lvl8pPr marL="2727071" indent="0">
              <a:buNone/>
              <a:defRPr sz="800"/>
            </a:lvl8pPr>
            <a:lvl9pPr marL="3116652" indent="0">
              <a:buNone/>
              <a:defRPr sz="800"/>
            </a:lvl9pPr>
          </a:lstStyle>
          <a:p>
            <a:pPr lvl="0"/>
            <a:r>
              <a:rPr lang="en-US"/>
              <a:t>Click to edit Master text styles</a:t>
            </a:r>
          </a:p>
        </p:txBody>
      </p:sp>
      <p:sp>
        <p:nvSpPr>
          <p:cNvPr id="5" name="Slide Number Placeholder 4"/>
          <p:cNvSpPr>
            <a:spLocks noGrp="1"/>
          </p:cNvSpPr>
          <p:nvPr>
            <p:ph type="sldNum" sz="quarter" idx="10"/>
          </p:nvPr>
        </p:nvSpPr>
        <p:spPr/>
        <p:txBody>
          <a:bodyPr/>
          <a:lstStyle>
            <a:lvl1pPr>
              <a:defRPr smtClean="0"/>
            </a:lvl1pPr>
          </a:lstStyle>
          <a:p>
            <a:pPr>
              <a:defRPr/>
            </a:pPr>
            <a:fld id="{3A6DD62F-8BCF-4B12-A0DF-42F3ED2A7388}" type="slidenum">
              <a:rPr lang="sv-SE">
                <a:solidFill>
                  <a:srgbClr val="000000"/>
                </a:solidFill>
              </a:rPr>
              <a:pPr>
                <a:defRPr/>
              </a:pPr>
              <a:t>‹#›</a:t>
            </a:fld>
            <a:endParaRPr lang="sv-SE">
              <a:solidFill>
                <a:srgbClr val="000000"/>
              </a:solidFill>
            </a:endParaRPr>
          </a:p>
        </p:txBody>
      </p:sp>
    </p:spTree>
    <p:extLst>
      <p:ext uri="{BB962C8B-B14F-4D97-AF65-F5344CB8AC3E}">
        <p14:creationId xmlns:p14="http://schemas.microsoft.com/office/powerpoint/2010/main" val="1395633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afety first, general">
    <p:spTree>
      <p:nvGrpSpPr>
        <p:cNvPr id="1" name=""/>
        <p:cNvGrpSpPr/>
        <p:nvPr/>
      </p:nvGrpSpPr>
      <p:grpSpPr>
        <a:xfrm>
          <a:off x="0" y="0"/>
          <a:ext cx="0" cy="0"/>
          <a:chOff x="0" y="0"/>
          <a:chExt cx="0" cy="0"/>
        </a:xfrm>
      </p:grpSpPr>
      <p:pic>
        <p:nvPicPr>
          <p:cNvPr id="6" name="Picture 5" descr="_MAB1819.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707904" y="102198"/>
            <a:ext cx="5436096" cy="5041302"/>
          </a:xfrm>
          <a:prstGeom prst="rect">
            <a:avLst/>
          </a:prstGeom>
        </p:spPr>
      </p:pic>
      <p:sp>
        <p:nvSpPr>
          <p:cNvPr id="8" name="Content Placeholder 2"/>
          <p:cNvSpPr txBox="1">
            <a:spLocks/>
          </p:cNvSpPr>
          <p:nvPr userDrawn="1"/>
        </p:nvSpPr>
        <p:spPr>
          <a:xfrm>
            <a:off x="360000" y="1260001"/>
            <a:ext cx="3995976" cy="1311749"/>
          </a:xfrm>
          <a:prstGeom prst="rect">
            <a:avLst/>
          </a:prstGeom>
        </p:spPr>
        <p:txBody>
          <a:bodyPr lIns="0" tIns="0" rIns="0" bIns="0"/>
          <a:lstStyle>
            <a:lvl1pPr marL="162000" indent="-162000" algn="l" defTabSz="914400" rtl="0" eaLnBrk="1" latinLnBrk="0" hangingPunct="1">
              <a:lnSpc>
                <a:spcPct val="108000"/>
              </a:lnSpc>
              <a:spcBef>
                <a:spcPts val="0"/>
              </a:spcBef>
              <a:spcAft>
                <a:spcPts val="700"/>
              </a:spcAft>
              <a:buFont typeface="Arial" panose="020B0604020202020204" pitchFamily="34" charset="0"/>
              <a:buChar char="•"/>
              <a:defRPr sz="1800" kern="1200">
                <a:solidFill>
                  <a:schemeClr val="tx1"/>
                </a:solidFill>
                <a:latin typeface="+mn-lt"/>
                <a:ea typeface="+mn-ea"/>
                <a:cs typeface="+mn-cs"/>
              </a:defRPr>
            </a:lvl1pPr>
            <a:lvl2pPr marL="540000" indent="-162000" algn="l" defTabSz="914400" rtl="0" eaLnBrk="1" latinLnBrk="0" hangingPunct="1">
              <a:lnSpc>
                <a:spcPct val="108000"/>
              </a:lnSpc>
              <a:spcBef>
                <a:spcPts val="0"/>
              </a:spcBef>
              <a:spcAft>
                <a:spcPts val="400"/>
              </a:spcAft>
              <a:buFont typeface="Arial" panose="020B0604020202020204" pitchFamily="34" charset="0"/>
              <a:buChar char="•"/>
              <a:defRPr sz="1600" kern="1200">
                <a:solidFill>
                  <a:schemeClr val="tx1"/>
                </a:solidFill>
                <a:latin typeface="+mn-lt"/>
                <a:ea typeface="+mn-ea"/>
                <a:cs typeface="+mn-cs"/>
              </a:defRPr>
            </a:lvl2pPr>
            <a:lvl3pPr marL="900000" indent="-162000" algn="l" defTabSz="914400" rtl="0" eaLnBrk="1" latinLnBrk="0" hangingPunct="1">
              <a:lnSpc>
                <a:spcPct val="108000"/>
              </a:lnSpc>
              <a:spcBef>
                <a:spcPts val="0"/>
              </a:spcBef>
              <a:spcAft>
                <a:spcPts val="300"/>
              </a:spcAft>
              <a:buFont typeface="Arial" panose="020B0604020202020204" pitchFamily="34" charset="0"/>
              <a:buChar char="•"/>
              <a:defRPr sz="1200" kern="1200">
                <a:solidFill>
                  <a:schemeClr val="tx1"/>
                </a:solidFill>
                <a:latin typeface="+mn-lt"/>
                <a:ea typeface="+mn-ea"/>
                <a:cs typeface="+mn-cs"/>
              </a:defRPr>
            </a:lvl3pPr>
            <a:lvl4pPr marL="1260000" indent="-162000" algn="l" defTabSz="914400" rtl="0" eaLnBrk="1" latinLnBrk="0" hangingPunct="1">
              <a:lnSpc>
                <a:spcPct val="108000"/>
              </a:lnSpc>
              <a:spcBef>
                <a:spcPts val="0"/>
              </a:spcBef>
              <a:spcAft>
                <a:spcPts val="300"/>
              </a:spcAft>
              <a:buFont typeface="Arial" panose="020B0604020202020204" pitchFamily="34" charset="0"/>
              <a:buChar char="•"/>
              <a:defRPr sz="1100" kern="1200">
                <a:solidFill>
                  <a:schemeClr val="tx1"/>
                </a:solidFill>
                <a:latin typeface="+mn-lt"/>
                <a:ea typeface="+mn-ea"/>
                <a:cs typeface="+mn-cs"/>
              </a:defRPr>
            </a:lvl4pPr>
            <a:lvl5pPr marL="1627200" indent="-158400" algn="l" defTabSz="914400" rtl="0" eaLnBrk="1" latinLnBrk="0" hangingPunct="1">
              <a:lnSpc>
                <a:spcPct val="108000"/>
              </a:lnSpc>
              <a:spcBef>
                <a:spcPts val="0"/>
              </a:spcBef>
              <a:spcAft>
                <a:spcPts val="240"/>
              </a:spcAft>
              <a:buFont typeface="Arial" panose="020B0604020202020204"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Font typeface="Arial" panose="020B0604020202020204" pitchFamily="34" charset="0"/>
              <a:buNone/>
            </a:pPr>
            <a:r>
              <a:rPr lang="en-US" dirty="0"/>
              <a:t>Sandvik’s objective is zero</a:t>
            </a:r>
            <a:br>
              <a:rPr lang="en-US" dirty="0"/>
            </a:br>
            <a:r>
              <a:rPr lang="en-US" dirty="0"/>
              <a:t>harm to our people, the environment we work in, our customers and </a:t>
            </a:r>
            <a:br>
              <a:rPr lang="en-US" dirty="0"/>
            </a:br>
            <a:r>
              <a:rPr lang="en-US" dirty="0"/>
              <a:t>our suppliers.</a:t>
            </a:r>
          </a:p>
        </p:txBody>
      </p:sp>
      <p:sp>
        <p:nvSpPr>
          <p:cNvPr id="3" name="Date Placeholder 2"/>
          <p:cNvSpPr>
            <a:spLocks noGrp="1"/>
          </p:cNvSpPr>
          <p:nvPr>
            <p:ph type="dt" sz="half" idx="10"/>
          </p:nvPr>
        </p:nvSpPr>
        <p:spPr/>
        <p:txBody>
          <a:bodyPr/>
          <a:lstStyle/>
          <a:p>
            <a:fld id="{519B61F5-90DB-401B-A64C-D2E08EE0A242}" type="datetime1">
              <a:rPr lang="en-US" smtClean="0"/>
              <a:pPr/>
              <a:t>9/10/2018</a:t>
            </a:fld>
            <a:endParaRPr lang="en-US" dirty="0"/>
          </a:p>
        </p:txBody>
      </p:sp>
      <p:sp>
        <p:nvSpPr>
          <p:cNvPr id="4" name="Footer Placeholder 3"/>
          <p:cNvSpPr>
            <a:spLocks noGrp="1"/>
          </p:cNvSpPr>
          <p:nvPr>
            <p:ph type="ftr" sz="quarter" idx="11"/>
          </p:nvPr>
        </p:nvSpPr>
        <p:spPr/>
        <p:txBody>
          <a:bodyPr/>
          <a:lstStyle/>
          <a:p>
            <a:r>
              <a:rPr lang="en-US" dirty="0"/>
              <a:t>SANDVIK: Title of presentation</a:t>
            </a:r>
          </a:p>
        </p:txBody>
      </p:sp>
      <p:sp>
        <p:nvSpPr>
          <p:cNvPr id="5" name="Slide Number Placeholder 4"/>
          <p:cNvSpPr>
            <a:spLocks noGrp="1"/>
          </p:cNvSpPr>
          <p:nvPr>
            <p:ph type="sldNum" sz="quarter" idx="12"/>
          </p:nvPr>
        </p:nvSpPr>
        <p:spPr/>
        <p:txBody>
          <a:bodyPr/>
          <a:lstStyle/>
          <a:p>
            <a:fld id="{469B62F1-B431-48B6-8270-02431A1685B7}" type="slidenum">
              <a:rPr lang="en-US" smtClean="0"/>
              <a:pPr/>
              <a:t>‹#›</a:t>
            </a:fld>
            <a:endParaRPr lang="en-US" dirty="0"/>
          </a:p>
        </p:txBody>
      </p:sp>
      <p:sp>
        <p:nvSpPr>
          <p:cNvPr id="21" name="TextBox 20"/>
          <p:cNvSpPr txBox="1"/>
          <p:nvPr userDrawn="1"/>
        </p:nvSpPr>
        <p:spPr>
          <a:xfrm>
            <a:off x="268474" y="370122"/>
            <a:ext cx="8424936" cy="523210"/>
          </a:xfrm>
          <a:prstGeom prst="rect">
            <a:avLst/>
          </a:prstGeom>
          <a:noFill/>
        </p:spPr>
        <p:txBody>
          <a:bodyPr wrap="square" lIns="91430" tIns="45715" rIns="91430" bIns="45715" rtlCol="0">
            <a:spAutoFit/>
          </a:bodyPr>
          <a:lstStyle/>
          <a:p>
            <a:r>
              <a:rPr lang="en-US" sz="2800" dirty="0">
                <a:solidFill>
                  <a:schemeClr val="tx2"/>
                </a:solidFill>
              </a:rPr>
              <a:t>SAFETY FIRST</a:t>
            </a:r>
          </a:p>
        </p:txBody>
      </p:sp>
      <p:sp>
        <p:nvSpPr>
          <p:cNvPr id="20" name="Platshållare för text 8"/>
          <p:cNvSpPr txBox="1">
            <a:spLocks/>
          </p:cNvSpPr>
          <p:nvPr userDrawn="1"/>
        </p:nvSpPr>
        <p:spPr>
          <a:xfrm>
            <a:off x="899593" y="2883940"/>
            <a:ext cx="805261" cy="552146"/>
          </a:xfrm>
          <a:prstGeom prst="rect">
            <a:avLst/>
          </a:prstGeom>
          <a:noFill/>
        </p:spPr>
        <p:txBody>
          <a:bodyPr lIns="35996" tIns="45715" rIns="35996" bIns="45715" anchor="ctr" anchorCtr="0">
            <a:normAutofit/>
          </a:bodyPr>
          <a:lstStyle>
            <a:lvl1pPr marL="87313" indent="-87313"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1pPr>
            <a:lvl2pPr marL="269875" indent="-88900"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2pPr>
            <a:lvl3pPr marL="444500" indent="-87313"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3pPr>
            <a:lvl4pPr marL="627063" indent="-88900"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4pPr>
            <a:lvl5pPr marL="808038" indent="-87313"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buNone/>
            </a:pPr>
            <a:r>
              <a:rPr lang="en-US" sz="800" b="1" dirty="0">
                <a:solidFill>
                  <a:srgbClr val="333333"/>
                </a:solidFill>
              </a:rPr>
              <a:t> PROTECTIVE   </a:t>
            </a:r>
            <a:br>
              <a:rPr lang="en-US" sz="800" b="1" dirty="0">
                <a:solidFill>
                  <a:srgbClr val="333333"/>
                </a:solidFill>
              </a:rPr>
            </a:br>
            <a:r>
              <a:rPr lang="en-US" sz="800" b="1" dirty="0">
                <a:solidFill>
                  <a:srgbClr val="333333"/>
                </a:solidFill>
              </a:rPr>
              <a:t> EQUIPMENT</a:t>
            </a:r>
          </a:p>
        </p:txBody>
      </p:sp>
      <p:sp>
        <p:nvSpPr>
          <p:cNvPr id="22" name="Platshållare för text 9"/>
          <p:cNvSpPr txBox="1">
            <a:spLocks/>
          </p:cNvSpPr>
          <p:nvPr userDrawn="1"/>
        </p:nvSpPr>
        <p:spPr>
          <a:xfrm>
            <a:off x="3628499" y="3594967"/>
            <a:ext cx="768951" cy="556086"/>
          </a:xfrm>
          <a:prstGeom prst="rect">
            <a:avLst/>
          </a:prstGeom>
          <a:noFill/>
        </p:spPr>
        <p:txBody>
          <a:bodyPr lIns="35996" tIns="45715" rIns="35996" bIns="45715" anchor="ctr" anchorCtr="0">
            <a:normAutofit/>
          </a:bodyPr>
          <a:lstStyle>
            <a:lvl1pPr marL="87313" indent="-87313"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1pPr>
            <a:lvl2pPr marL="269875" indent="-88900"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2pPr>
            <a:lvl3pPr marL="444500" indent="-87313"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3pPr>
            <a:lvl4pPr marL="627063" indent="-88900"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4pPr>
            <a:lvl5pPr marL="808038" indent="-87313"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buNone/>
            </a:pPr>
            <a:r>
              <a:rPr lang="en-US" sz="800" b="1" dirty="0">
                <a:solidFill>
                  <a:srgbClr val="333333"/>
                </a:solidFill>
              </a:rPr>
              <a:t> ASSEMBLY</a:t>
            </a:r>
            <a:br>
              <a:rPr lang="en-US" sz="800" b="1" dirty="0">
                <a:solidFill>
                  <a:srgbClr val="333333"/>
                </a:solidFill>
              </a:rPr>
            </a:br>
            <a:r>
              <a:rPr lang="en-US" sz="800" b="1" dirty="0">
                <a:solidFill>
                  <a:srgbClr val="333333"/>
                </a:solidFill>
              </a:rPr>
              <a:t> POINT</a:t>
            </a:r>
          </a:p>
        </p:txBody>
      </p:sp>
      <p:sp>
        <p:nvSpPr>
          <p:cNvPr id="23" name="Platshållare för text 10"/>
          <p:cNvSpPr txBox="1">
            <a:spLocks/>
          </p:cNvSpPr>
          <p:nvPr userDrawn="1"/>
        </p:nvSpPr>
        <p:spPr>
          <a:xfrm>
            <a:off x="2260347" y="3594967"/>
            <a:ext cx="805260" cy="556086"/>
          </a:xfrm>
          <a:prstGeom prst="rect">
            <a:avLst/>
          </a:prstGeom>
          <a:noFill/>
        </p:spPr>
        <p:txBody>
          <a:bodyPr lIns="35996" tIns="45715" rIns="35996" bIns="45715" anchor="ctr" anchorCtr="0">
            <a:normAutofit/>
          </a:bodyPr>
          <a:lstStyle>
            <a:lvl1pPr marL="87313" indent="-87313"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1pPr>
            <a:lvl2pPr marL="269875" indent="-88900"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2pPr>
            <a:lvl3pPr marL="444500" indent="-87313"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3pPr>
            <a:lvl4pPr marL="627063" indent="-88900"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4pPr>
            <a:lvl5pPr marL="808038" indent="-87313"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buNone/>
            </a:pPr>
            <a:r>
              <a:rPr lang="en-US" sz="800" b="1" dirty="0">
                <a:solidFill>
                  <a:srgbClr val="333333"/>
                </a:solidFill>
              </a:rPr>
              <a:t> EMERGENCY</a:t>
            </a:r>
            <a:br>
              <a:rPr lang="en-US" sz="800" b="1" dirty="0">
                <a:solidFill>
                  <a:srgbClr val="333333"/>
                </a:solidFill>
              </a:rPr>
            </a:br>
            <a:r>
              <a:rPr lang="en-US" sz="800" b="1" dirty="0">
                <a:solidFill>
                  <a:srgbClr val="333333"/>
                </a:solidFill>
              </a:rPr>
              <a:t> EXIT</a:t>
            </a:r>
          </a:p>
        </p:txBody>
      </p:sp>
      <p:sp>
        <p:nvSpPr>
          <p:cNvPr id="24" name="Platshållare för text 12"/>
          <p:cNvSpPr txBox="1">
            <a:spLocks/>
          </p:cNvSpPr>
          <p:nvPr userDrawn="1"/>
        </p:nvSpPr>
        <p:spPr>
          <a:xfrm>
            <a:off x="898397" y="3594967"/>
            <a:ext cx="802808" cy="556086"/>
          </a:xfrm>
          <a:prstGeom prst="rect">
            <a:avLst/>
          </a:prstGeom>
          <a:noFill/>
        </p:spPr>
        <p:txBody>
          <a:bodyPr lIns="35996" tIns="45715" rIns="35996" bIns="45715" anchor="ctr" anchorCtr="0">
            <a:normAutofit/>
          </a:bodyPr>
          <a:lstStyle>
            <a:lvl1pPr marL="87313" indent="-87313"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1pPr>
            <a:lvl2pPr marL="269875" indent="-88900"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2pPr>
            <a:lvl3pPr marL="444500" indent="-87313"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3pPr>
            <a:lvl4pPr marL="627063" indent="-88900"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4pPr>
            <a:lvl5pPr marL="808038" indent="-87313"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buNone/>
            </a:pPr>
            <a:r>
              <a:rPr lang="en-US" sz="800" b="1" dirty="0">
                <a:solidFill>
                  <a:srgbClr val="333333"/>
                </a:solidFill>
              </a:rPr>
              <a:t> EMERGENCY</a:t>
            </a:r>
            <a:br>
              <a:rPr lang="en-US" sz="800" b="1" dirty="0">
                <a:solidFill>
                  <a:srgbClr val="333333"/>
                </a:solidFill>
              </a:rPr>
            </a:br>
            <a:r>
              <a:rPr lang="en-US" sz="800" b="1" dirty="0">
                <a:solidFill>
                  <a:srgbClr val="333333"/>
                </a:solidFill>
              </a:rPr>
              <a:t> NUMBER</a:t>
            </a:r>
          </a:p>
        </p:txBody>
      </p:sp>
      <p:sp>
        <p:nvSpPr>
          <p:cNvPr id="25" name="Platshållare för text 13"/>
          <p:cNvSpPr txBox="1">
            <a:spLocks/>
          </p:cNvSpPr>
          <p:nvPr userDrawn="1"/>
        </p:nvSpPr>
        <p:spPr>
          <a:xfrm>
            <a:off x="3625443" y="2883940"/>
            <a:ext cx="704054" cy="552146"/>
          </a:xfrm>
          <a:prstGeom prst="rect">
            <a:avLst/>
          </a:prstGeom>
          <a:noFill/>
        </p:spPr>
        <p:txBody>
          <a:bodyPr lIns="35996" tIns="45715" rIns="35996" bIns="45715" anchor="ctr" anchorCtr="0">
            <a:normAutofit/>
          </a:bodyPr>
          <a:lstStyle>
            <a:lvl1pPr marL="87313" indent="-87313"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1pPr>
            <a:lvl2pPr marL="269875" indent="-88900"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2pPr>
            <a:lvl3pPr marL="444500" indent="-87313"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3pPr>
            <a:lvl4pPr marL="627063" indent="-88900"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4pPr>
            <a:lvl5pPr marL="808038" indent="-87313"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buNone/>
            </a:pPr>
            <a:r>
              <a:rPr lang="en-US" sz="800" b="1" dirty="0">
                <a:solidFill>
                  <a:srgbClr val="333333"/>
                </a:solidFill>
              </a:rPr>
              <a:t> ALARM</a:t>
            </a:r>
          </a:p>
        </p:txBody>
      </p:sp>
      <p:pic>
        <p:nvPicPr>
          <p:cNvPr id="26" name="Bildobjekt 20" descr="sandvik_ppt_safety_icon_alarm.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062552" y="2880000"/>
            <a:ext cx="556086" cy="556086"/>
          </a:xfrm>
          <a:prstGeom prst="rect">
            <a:avLst/>
          </a:prstGeom>
        </p:spPr>
      </p:pic>
      <p:pic>
        <p:nvPicPr>
          <p:cNvPr id="27" name="Bildobjekt 21" descr="sandvik_ppt_safety_icon_assembly.png"/>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065607" y="3594967"/>
            <a:ext cx="556086" cy="556086"/>
          </a:xfrm>
          <a:prstGeom prst="rect">
            <a:avLst/>
          </a:prstGeom>
        </p:spPr>
      </p:pic>
      <p:pic>
        <p:nvPicPr>
          <p:cNvPr id="28" name="Bildobjekt 22" descr="sandvik_ppt_safety_icon_equipment.png"/>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40452" y="2880000"/>
            <a:ext cx="556086" cy="556086"/>
          </a:xfrm>
          <a:prstGeom prst="rect">
            <a:avLst/>
          </a:prstGeom>
        </p:spPr>
      </p:pic>
      <p:pic>
        <p:nvPicPr>
          <p:cNvPr id="29" name="Bildobjekt 33" descr="sandvik_ppt_safety_icon_exit.png"/>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701206" y="3594967"/>
            <a:ext cx="556086" cy="556086"/>
          </a:xfrm>
          <a:prstGeom prst="rect">
            <a:avLst/>
          </a:prstGeom>
        </p:spPr>
      </p:pic>
      <p:pic>
        <p:nvPicPr>
          <p:cNvPr id="30" name="Bildobjekt 24" descr="sandvik_ppt_safety_icon_number.png"/>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42312" y="3594967"/>
            <a:ext cx="556086" cy="556086"/>
          </a:xfrm>
          <a:prstGeom prst="rect">
            <a:avLst/>
          </a:prstGeom>
        </p:spPr>
      </p:pic>
      <p:sp>
        <p:nvSpPr>
          <p:cNvPr id="31" name="Platshållare för text 10"/>
          <p:cNvSpPr txBox="1">
            <a:spLocks/>
          </p:cNvSpPr>
          <p:nvPr userDrawn="1"/>
        </p:nvSpPr>
        <p:spPr>
          <a:xfrm>
            <a:off x="2260347" y="2880592"/>
            <a:ext cx="805260" cy="556086"/>
          </a:xfrm>
          <a:prstGeom prst="rect">
            <a:avLst/>
          </a:prstGeom>
          <a:noFill/>
        </p:spPr>
        <p:txBody>
          <a:bodyPr lIns="35996" tIns="45715" rIns="35996" bIns="45715" anchor="ctr" anchorCtr="0">
            <a:normAutofit/>
          </a:bodyPr>
          <a:lstStyle>
            <a:lvl1pPr marL="87313" indent="-87313"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1pPr>
            <a:lvl2pPr marL="269875" indent="-88900"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2pPr>
            <a:lvl3pPr marL="444500" indent="-87313"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3pPr>
            <a:lvl4pPr marL="627063" indent="-88900"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4pPr>
            <a:lvl5pPr marL="808038" indent="-87313"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buNone/>
            </a:pPr>
            <a:r>
              <a:rPr lang="en-US" sz="800" b="1" dirty="0">
                <a:solidFill>
                  <a:srgbClr val="333333"/>
                </a:solidFill>
              </a:rPr>
              <a:t> FIRST</a:t>
            </a:r>
            <a:r>
              <a:rPr lang="en-US" sz="800" b="1" baseline="0" dirty="0">
                <a:solidFill>
                  <a:srgbClr val="333333"/>
                </a:solidFill>
              </a:rPr>
              <a:t> AID </a:t>
            </a:r>
            <a:br>
              <a:rPr lang="en-US" sz="800" b="1" baseline="0" dirty="0">
                <a:solidFill>
                  <a:srgbClr val="333333"/>
                </a:solidFill>
              </a:rPr>
            </a:br>
            <a:r>
              <a:rPr lang="en-US" sz="800" b="1" baseline="0" dirty="0">
                <a:solidFill>
                  <a:srgbClr val="333333"/>
                </a:solidFill>
              </a:rPr>
              <a:t> KIT</a:t>
            </a:r>
            <a:endParaRPr lang="en-US" sz="800" b="1" dirty="0">
              <a:solidFill>
                <a:srgbClr val="333333"/>
              </a:solidFill>
            </a:endParaRPr>
          </a:p>
        </p:txBody>
      </p:sp>
      <p:sp>
        <p:nvSpPr>
          <p:cNvPr id="32" name="Rectangle 31"/>
          <p:cNvSpPr/>
          <p:nvPr userDrawn="1"/>
        </p:nvSpPr>
        <p:spPr>
          <a:xfrm>
            <a:off x="1701206" y="2883700"/>
            <a:ext cx="556086" cy="552146"/>
          </a:xfrm>
          <a:prstGeom prst="rect">
            <a:avLst/>
          </a:prstGeom>
          <a:solidFill>
            <a:srgbClr val="00B050"/>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endParaRPr lang="en-GB" dirty="0"/>
          </a:p>
        </p:txBody>
      </p:sp>
      <p:cxnSp>
        <p:nvCxnSpPr>
          <p:cNvPr id="33" name="Straight Connector 32"/>
          <p:cNvCxnSpPr/>
          <p:nvPr userDrawn="1"/>
        </p:nvCxnSpPr>
        <p:spPr>
          <a:xfrm>
            <a:off x="1976042" y="2974819"/>
            <a:ext cx="0" cy="366451"/>
          </a:xfrm>
          <a:prstGeom prst="line">
            <a:avLst/>
          </a:prstGeom>
          <a:ln w="114300">
            <a:solidFill>
              <a:schemeClr val="bg1"/>
            </a:solidFill>
          </a:ln>
          <a:effectLst/>
        </p:spPr>
        <p:style>
          <a:lnRef idx="3">
            <a:schemeClr val="accent1"/>
          </a:lnRef>
          <a:fillRef idx="0">
            <a:schemeClr val="accent1"/>
          </a:fillRef>
          <a:effectRef idx="2">
            <a:schemeClr val="accent1"/>
          </a:effectRef>
          <a:fontRef idx="minor">
            <a:schemeClr val="tx1"/>
          </a:fontRef>
        </p:style>
      </p:cxnSp>
      <p:cxnSp>
        <p:nvCxnSpPr>
          <p:cNvPr id="35" name="Straight Connector 34"/>
          <p:cNvCxnSpPr/>
          <p:nvPr userDrawn="1"/>
        </p:nvCxnSpPr>
        <p:spPr>
          <a:xfrm rot="16200000">
            <a:off x="1979248" y="2974818"/>
            <a:ext cx="0" cy="366451"/>
          </a:xfrm>
          <a:prstGeom prst="line">
            <a:avLst/>
          </a:prstGeom>
          <a:ln w="114300">
            <a:solidFill>
              <a:schemeClr val="bg1"/>
            </a:solidFill>
          </a:ln>
          <a:effectLst/>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28707817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166" y="3600451"/>
            <a:ext cx="5486400" cy="425054"/>
          </a:xfrm>
        </p:spPr>
        <p:txBody>
          <a:bodyPr anchor="b"/>
          <a:lstStyle>
            <a:lvl1pPr algn="l">
              <a:defRPr sz="1700" b="1"/>
            </a:lvl1pPr>
          </a:lstStyle>
          <a:p>
            <a:r>
              <a:rPr lang="en-US"/>
              <a:t>Click to edit Master title style</a:t>
            </a:r>
            <a:endParaRPr lang="en-AU"/>
          </a:p>
        </p:txBody>
      </p:sp>
      <p:sp>
        <p:nvSpPr>
          <p:cNvPr id="3" name="Picture Placeholder 2"/>
          <p:cNvSpPr>
            <a:spLocks noGrp="1"/>
          </p:cNvSpPr>
          <p:nvPr>
            <p:ph type="pic" idx="1"/>
          </p:nvPr>
        </p:nvSpPr>
        <p:spPr>
          <a:xfrm>
            <a:off x="1792166" y="459581"/>
            <a:ext cx="5486400" cy="3086100"/>
          </a:xfrm>
        </p:spPr>
        <p:txBody>
          <a:bodyPr/>
          <a:lstStyle>
            <a:lvl1pPr marL="0" indent="0">
              <a:buNone/>
              <a:defRPr sz="2700"/>
            </a:lvl1pPr>
            <a:lvl2pPr marL="389582" indent="0">
              <a:buNone/>
              <a:defRPr sz="2400"/>
            </a:lvl2pPr>
            <a:lvl3pPr marL="779163" indent="0">
              <a:buNone/>
              <a:defRPr sz="2000"/>
            </a:lvl3pPr>
            <a:lvl4pPr marL="1168745" indent="0">
              <a:buNone/>
              <a:defRPr sz="1700"/>
            </a:lvl4pPr>
            <a:lvl5pPr marL="1558326" indent="0">
              <a:buNone/>
              <a:defRPr sz="1700"/>
            </a:lvl5pPr>
            <a:lvl6pPr marL="1947908" indent="0">
              <a:buNone/>
              <a:defRPr sz="1700"/>
            </a:lvl6pPr>
            <a:lvl7pPr marL="2337489" indent="0">
              <a:buNone/>
              <a:defRPr sz="1700"/>
            </a:lvl7pPr>
            <a:lvl8pPr marL="2727071" indent="0">
              <a:buNone/>
              <a:defRPr sz="1700"/>
            </a:lvl8pPr>
            <a:lvl9pPr marL="3116652" indent="0">
              <a:buNone/>
              <a:defRPr sz="1700"/>
            </a:lvl9pPr>
          </a:lstStyle>
          <a:p>
            <a:endParaRPr lang="en-AU"/>
          </a:p>
        </p:txBody>
      </p:sp>
      <p:sp>
        <p:nvSpPr>
          <p:cNvPr id="4" name="Text Placeholder 3"/>
          <p:cNvSpPr>
            <a:spLocks noGrp="1"/>
          </p:cNvSpPr>
          <p:nvPr>
            <p:ph type="body" sz="half" idx="2"/>
          </p:nvPr>
        </p:nvSpPr>
        <p:spPr>
          <a:xfrm>
            <a:off x="1792166" y="4025504"/>
            <a:ext cx="5486400" cy="603647"/>
          </a:xfrm>
        </p:spPr>
        <p:txBody>
          <a:bodyPr/>
          <a:lstStyle>
            <a:lvl1pPr marL="0" indent="0">
              <a:buNone/>
              <a:defRPr sz="1200"/>
            </a:lvl1pPr>
            <a:lvl2pPr marL="389582" indent="0">
              <a:buNone/>
              <a:defRPr sz="1000"/>
            </a:lvl2pPr>
            <a:lvl3pPr marL="779163" indent="0">
              <a:buNone/>
              <a:defRPr sz="900"/>
            </a:lvl3pPr>
            <a:lvl4pPr marL="1168745" indent="0">
              <a:buNone/>
              <a:defRPr sz="800"/>
            </a:lvl4pPr>
            <a:lvl5pPr marL="1558326" indent="0">
              <a:buNone/>
              <a:defRPr sz="800"/>
            </a:lvl5pPr>
            <a:lvl6pPr marL="1947908" indent="0">
              <a:buNone/>
              <a:defRPr sz="800"/>
            </a:lvl6pPr>
            <a:lvl7pPr marL="2337489" indent="0">
              <a:buNone/>
              <a:defRPr sz="800"/>
            </a:lvl7pPr>
            <a:lvl8pPr marL="2727071" indent="0">
              <a:buNone/>
              <a:defRPr sz="800"/>
            </a:lvl8pPr>
            <a:lvl9pPr marL="3116652" indent="0">
              <a:buNone/>
              <a:defRPr sz="800"/>
            </a:lvl9pPr>
          </a:lstStyle>
          <a:p>
            <a:pPr lvl="0"/>
            <a:r>
              <a:rPr lang="en-US"/>
              <a:t>Click to edit Master text styles</a:t>
            </a:r>
          </a:p>
        </p:txBody>
      </p:sp>
      <p:sp>
        <p:nvSpPr>
          <p:cNvPr id="5" name="Slide Number Placeholder 4"/>
          <p:cNvSpPr>
            <a:spLocks noGrp="1"/>
          </p:cNvSpPr>
          <p:nvPr>
            <p:ph type="sldNum" sz="quarter" idx="10"/>
          </p:nvPr>
        </p:nvSpPr>
        <p:spPr/>
        <p:txBody>
          <a:bodyPr/>
          <a:lstStyle>
            <a:lvl1pPr>
              <a:defRPr smtClean="0"/>
            </a:lvl1pPr>
          </a:lstStyle>
          <a:p>
            <a:pPr>
              <a:defRPr/>
            </a:pPr>
            <a:fld id="{114C80F6-975E-4FAB-86AD-A0AB678DDDCB}" type="slidenum">
              <a:rPr lang="sv-SE">
                <a:solidFill>
                  <a:srgbClr val="000000"/>
                </a:solidFill>
              </a:rPr>
              <a:pPr>
                <a:defRPr/>
              </a:pPr>
              <a:t>‹#›</a:t>
            </a:fld>
            <a:endParaRPr lang="sv-SE">
              <a:solidFill>
                <a:srgbClr val="000000"/>
              </a:solidFill>
            </a:endParaRPr>
          </a:p>
        </p:txBody>
      </p:sp>
    </p:spTree>
    <p:extLst>
      <p:ext uri="{BB962C8B-B14F-4D97-AF65-F5344CB8AC3E}">
        <p14:creationId xmlns:p14="http://schemas.microsoft.com/office/powerpoint/2010/main" val="2322287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Slide Number Placeholder 3"/>
          <p:cNvSpPr>
            <a:spLocks noGrp="1"/>
          </p:cNvSpPr>
          <p:nvPr>
            <p:ph type="sldNum" sz="quarter" idx="10"/>
          </p:nvPr>
        </p:nvSpPr>
        <p:spPr/>
        <p:txBody>
          <a:bodyPr/>
          <a:lstStyle>
            <a:lvl1pPr>
              <a:defRPr smtClean="0"/>
            </a:lvl1pPr>
          </a:lstStyle>
          <a:p>
            <a:pPr>
              <a:defRPr/>
            </a:pPr>
            <a:fld id="{ACA9223D-DD26-48D0-955A-66E84E9E7506}" type="slidenum">
              <a:rPr lang="sv-SE">
                <a:solidFill>
                  <a:srgbClr val="000000"/>
                </a:solidFill>
              </a:rPr>
              <a:pPr>
                <a:defRPr/>
              </a:pPr>
              <a:t>‹#›</a:t>
            </a:fld>
            <a:endParaRPr lang="sv-SE">
              <a:solidFill>
                <a:srgbClr val="000000"/>
              </a:solidFill>
            </a:endParaRPr>
          </a:p>
        </p:txBody>
      </p:sp>
    </p:spTree>
    <p:extLst>
      <p:ext uri="{BB962C8B-B14F-4D97-AF65-F5344CB8AC3E}">
        <p14:creationId xmlns:p14="http://schemas.microsoft.com/office/powerpoint/2010/main" val="25235141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35262" y="363142"/>
            <a:ext cx="2076450" cy="4148138"/>
          </a:xfrm>
        </p:spPr>
        <p:txBody>
          <a:bodyPr vert="eaVert"/>
          <a:lstStyle/>
          <a:p>
            <a:r>
              <a:rPr lang="en-US"/>
              <a:t>Click to edit Master title style</a:t>
            </a:r>
            <a:endParaRPr lang="en-AU"/>
          </a:p>
        </p:txBody>
      </p:sp>
      <p:sp>
        <p:nvSpPr>
          <p:cNvPr id="3" name="Vertical Text Placeholder 2"/>
          <p:cNvSpPr>
            <a:spLocks noGrp="1"/>
          </p:cNvSpPr>
          <p:nvPr>
            <p:ph type="body" orient="vert" idx="1"/>
          </p:nvPr>
        </p:nvSpPr>
        <p:spPr>
          <a:xfrm>
            <a:off x="404446" y="363142"/>
            <a:ext cx="6090138" cy="41481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Slide Number Placeholder 3"/>
          <p:cNvSpPr>
            <a:spLocks noGrp="1"/>
          </p:cNvSpPr>
          <p:nvPr>
            <p:ph type="sldNum" sz="quarter" idx="10"/>
          </p:nvPr>
        </p:nvSpPr>
        <p:spPr/>
        <p:txBody>
          <a:bodyPr/>
          <a:lstStyle>
            <a:lvl1pPr>
              <a:defRPr smtClean="0"/>
            </a:lvl1pPr>
          </a:lstStyle>
          <a:p>
            <a:pPr>
              <a:defRPr/>
            </a:pPr>
            <a:fld id="{41F92D27-451E-4850-9824-812BB893E98F}" type="slidenum">
              <a:rPr lang="sv-SE">
                <a:solidFill>
                  <a:srgbClr val="000000"/>
                </a:solidFill>
              </a:rPr>
              <a:pPr>
                <a:defRPr/>
              </a:pPr>
              <a:t>‹#›</a:t>
            </a:fld>
            <a:endParaRPr lang="sv-SE">
              <a:solidFill>
                <a:srgbClr val="000000"/>
              </a:solidFill>
            </a:endParaRPr>
          </a:p>
        </p:txBody>
      </p:sp>
    </p:spTree>
    <p:extLst>
      <p:ext uri="{BB962C8B-B14F-4D97-AF65-F5344CB8AC3E}">
        <p14:creationId xmlns:p14="http://schemas.microsoft.com/office/powerpoint/2010/main" val="5420214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94210" name="Line 2"/>
          <p:cNvSpPr>
            <a:spLocks noChangeShapeType="1"/>
          </p:cNvSpPr>
          <p:nvPr/>
        </p:nvSpPr>
        <p:spPr bwMode="auto">
          <a:xfrm>
            <a:off x="-508000" y="1932385"/>
            <a:ext cx="9972675" cy="0"/>
          </a:xfrm>
          <a:prstGeom prst="line">
            <a:avLst/>
          </a:prstGeom>
          <a:noFill/>
          <a:ln w="317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AU">
              <a:solidFill>
                <a:srgbClr val="000000"/>
              </a:solidFill>
              <a:cs typeface="Arial" charset="0"/>
            </a:endParaRPr>
          </a:p>
        </p:txBody>
      </p:sp>
      <p:sp>
        <p:nvSpPr>
          <p:cNvPr id="94211" name="Line 3"/>
          <p:cNvSpPr>
            <a:spLocks noChangeShapeType="1"/>
          </p:cNvSpPr>
          <p:nvPr/>
        </p:nvSpPr>
        <p:spPr bwMode="auto">
          <a:xfrm>
            <a:off x="1141413" y="-95250"/>
            <a:ext cx="0" cy="95250"/>
          </a:xfrm>
          <a:prstGeom prst="line">
            <a:avLst/>
          </a:prstGeom>
          <a:noFill/>
          <a:ln w="317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AU">
              <a:solidFill>
                <a:srgbClr val="000000"/>
              </a:solidFill>
              <a:cs typeface="Arial" charset="0"/>
            </a:endParaRPr>
          </a:p>
        </p:txBody>
      </p:sp>
      <p:sp>
        <p:nvSpPr>
          <p:cNvPr id="94212" name="Line 4"/>
          <p:cNvSpPr>
            <a:spLocks noChangeShapeType="1"/>
          </p:cNvSpPr>
          <p:nvPr/>
        </p:nvSpPr>
        <p:spPr bwMode="auto">
          <a:xfrm>
            <a:off x="3427413" y="-95250"/>
            <a:ext cx="0" cy="95250"/>
          </a:xfrm>
          <a:prstGeom prst="line">
            <a:avLst/>
          </a:prstGeom>
          <a:noFill/>
          <a:ln w="317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AU">
              <a:solidFill>
                <a:srgbClr val="000000"/>
              </a:solidFill>
              <a:cs typeface="Arial" charset="0"/>
            </a:endParaRPr>
          </a:p>
        </p:txBody>
      </p:sp>
      <p:sp>
        <p:nvSpPr>
          <p:cNvPr id="94213" name="Line 5"/>
          <p:cNvSpPr>
            <a:spLocks noChangeShapeType="1"/>
          </p:cNvSpPr>
          <p:nvPr/>
        </p:nvSpPr>
        <p:spPr bwMode="auto">
          <a:xfrm>
            <a:off x="5711825" y="-95250"/>
            <a:ext cx="0" cy="95250"/>
          </a:xfrm>
          <a:prstGeom prst="line">
            <a:avLst/>
          </a:prstGeom>
          <a:noFill/>
          <a:ln w="317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AU">
              <a:solidFill>
                <a:srgbClr val="000000"/>
              </a:solidFill>
              <a:cs typeface="Arial" charset="0"/>
            </a:endParaRPr>
          </a:p>
        </p:txBody>
      </p:sp>
      <p:sp>
        <p:nvSpPr>
          <p:cNvPr id="94214" name="Line 6"/>
          <p:cNvSpPr>
            <a:spLocks noChangeShapeType="1"/>
          </p:cNvSpPr>
          <p:nvPr/>
        </p:nvSpPr>
        <p:spPr bwMode="auto">
          <a:xfrm>
            <a:off x="7997825" y="-95250"/>
            <a:ext cx="0" cy="95250"/>
          </a:xfrm>
          <a:prstGeom prst="line">
            <a:avLst/>
          </a:prstGeom>
          <a:noFill/>
          <a:ln w="317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AU">
              <a:solidFill>
                <a:srgbClr val="000000"/>
              </a:solidFill>
              <a:cs typeface="Arial" charset="0"/>
            </a:endParaRPr>
          </a:p>
        </p:txBody>
      </p:sp>
      <p:sp>
        <p:nvSpPr>
          <p:cNvPr id="94215" name="Line 7"/>
          <p:cNvSpPr>
            <a:spLocks noChangeShapeType="1"/>
          </p:cNvSpPr>
          <p:nvPr/>
        </p:nvSpPr>
        <p:spPr bwMode="auto">
          <a:xfrm>
            <a:off x="-508000" y="1077516"/>
            <a:ext cx="10191750" cy="0"/>
          </a:xfrm>
          <a:prstGeom prst="line">
            <a:avLst/>
          </a:prstGeom>
          <a:noFill/>
          <a:ln w="317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AU">
              <a:solidFill>
                <a:srgbClr val="000000"/>
              </a:solidFill>
              <a:cs typeface="Arial" charset="0"/>
            </a:endParaRPr>
          </a:p>
        </p:txBody>
      </p:sp>
      <p:sp>
        <p:nvSpPr>
          <p:cNvPr id="94216" name="Line 8"/>
          <p:cNvSpPr>
            <a:spLocks noChangeShapeType="1"/>
          </p:cNvSpPr>
          <p:nvPr/>
        </p:nvSpPr>
        <p:spPr bwMode="auto">
          <a:xfrm>
            <a:off x="-508000" y="2794397"/>
            <a:ext cx="10191750" cy="0"/>
          </a:xfrm>
          <a:prstGeom prst="line">
            <a:avLst/>
          </a:prstGeom>
          <a:noFill/>
          <a:ln w="317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AU">
              <a:solidFill>
                <a:srgbClr val="000000"/>
              </a:solidFill>
              <a:cs typeface="Arial" charset="0"/>
            </a:endParaRPr>
          </a:p>
        </p:txBody>
      </p:sp>
      <p:sp>
        <p:nvSpPr>
          <p:cNvPr id="94217" name="Line 9"/>
          <p:cNvSpPr>
            <a:spLocks noChangeShapeType="1"/>
          </p:cNvSpPr>
          <p:nvPr/>
        </p:nvSpPr>
        <p:spPr bwMode="auto">
          <a:xfrm>
            <a:off x="-508000" y="4507706"/>
            <a:ext cx="10191750" cy="0"/>
          </a:xfrm>
          <a:prstGeom prst="line">
            <a:avLst/>
          </a:prstGeom>
          <a:noFill/>
          <a:ln w="317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AU">
              <a:solidFill>
                <a:srgbClr val="000000"/>
              </a:solidFill>
              <a:cs typeface="Arial" charset="0"/>
            </a:endParaRPr>
          </a:p>
        </p:txBody>
      </p:sp>
      <p:sp>
        <p:nvSpPr>
          <p:cNvPr id="94218" name="Line 10"/>
          <p:cNvSpPr>
            <a:spLocks noChangeShapeType="1"/>
          </p:cNvSpPr>
          <p:nvPr/>
        </p:nvSpPr>
        <p:spPr bwMode="auto">
          <a:xfrm>
            <a:off x="2284413" y="-95250"/>
            <a:ext cx="0" cy="95250"/>
          </a:xfrm>
          <a:prstGeom prst="line">
            <a:avLst/>
          </a:prstGeom>
          <a:noFill/>
          <a:ln w="317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AU">
              <a:solidFill>
                <a:srgbClr val="000000"/>
              </a:solidFill>
              <a:cs typeface="Arial" charset="0"/>
            </a:endParaRPr>
          </a:p>
        </p:txBody>
      </p:sp>
      <p:sp>
        <p:nvSpPr>
          <p:cNvPr id="94219" name="Line 11"/>
          <p:cNvSpPr>
            <a:spLocks noChangeShapeType="1"/>
          </p:cNvSpPr>
          <p:nvPr/>
        </p:nvSpPr>
        <p:spPr bwMode="auto">
          <a:xfrm>
            <a:off x="4570413" y="-95250"/>
            <a:ext cx="0" cy="95250"/>
          </a:xfrm>
          <a:prstGeom prst="line">
            <a:avLst/>
          </a:prstGeom>
          <a:noFill/>
          <a:ln w="317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AU">
              <a:solidFill>
                <a:srgbClr val="000000"/>
              </a:solidFill>
              <a:cs typeface="Arial" charset="0"/>
            </a:endParaRPr>
          </a:p>
        </p:txBody>
      </p:sp>
      <p:sp>
        <p:nvSpPr>
          <p:cNvPr id="94220" name="Line 12"/>
          <p:cNvSpPr>
            <a:spLocks noChangeShapeType="1"/>
          </p:cNvSpPr>
          <p:nvPr/>
        </p:nvSpPr>
        <p:spPr bwMode="auto">
          <a:xfrm>
            <a:off x="6854825" y="-95250"/>
            <a:ext cx="0" cy="95250"/>
          </a:xfrm>
          <a:prstGeom prst="line">
            <a:avLst/>
          </a:prstGeom>
          <a:noFill/>
          <a:ln w="317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AU">
              <a:solidFill>
                <a:srgbClr val="000000"/>
              </a:solidFill>
              <a:cs typeface="Arial" charset="0"/>
            </a:endParaRPr>
          </a:p>
        </p:txBody>
      </p:sp>
      <p:sp>
        <p:nvSpPr>
          <p:cNvPr id="94221" name="Text Box 13"/>
          <p:cNvSpPr txBox="1">
            <a:spLocks noChangeArrowheads="1"/>
          </p:cNvSpPr>
          <p:nvPr/>
        </p:nvSpPr>
        <p:spPr bwMode="auto">
          <a:xfrm>
            <a:off x="-509588" y="939850"/>
            <a:ext cx="240450"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defTabSz="914400" fontAlgn="base">
              <a:spcBef>
                <a:spcPct val="50000"/>
              </a:spcBef>
              <a:spcAft>
                <a:spcPct val="0"/>
              </a:spcAft>
            </a:pPr>
            <a:r>
              <a:rPr lang="sv-SE" sz="1000">
                <a:solidFill>
                  <a:srgbClr val="FFFFFF"/>
                </a:solidFill>
                <a:cs typeface="Arial" charset="0"/>
              </a:rPr>
              <a:t>Grid</a:t>
            </a:r>
          </a:p>
        </p:txBody>
      </p:sp>
      <p:sp>
        <p:nvSpPr>
          <p:cNvPr id="94222" name="Text Box 14"/>
          <p:cNvSpPr txBox="1">
            <a:spLocks noChangeArrowheads="1"/>
          </p:cNvSpPr>
          <p:nvPr/>
        </p:nvSpPr>
        <p:spPr bwMode="auto">
          <a:xfrm>
            <a:off x="9463089" y="939850"/>
            <a:ext cx="240450"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defTabSz="914400" fontAlgn="base">
              <a:spcBef>
                <a:spcPct val="50000"/>
              </a:spcBef>
              <a:spcAft>
                <a:spcPct val="0"/>
              </a:spcAft>
            </a:pPr>
            <a:r>
              <a:rPr lang="sv-SE" sz="1000">
                <a:solidFill>
                  <a:srgbClr val="FFFFFF"/>
                </a:solidFill>
                <a:cs typeface="Arial" charset="0"/>
              </a:rPr>
              <a:t>Grid</a:t>
            </a:r>
          </a:p>
        </p:txBody>
      </p:sp>
      <p:sp>
        <p:nvSpPr>
          <p:cNvPr id="94223" name="Line 15"/>
          <p:cNvSpPr>
            <a:spLocks noChangeShapeType="1"/>
          </p:cNvSpPr>
          <p:nvPr/>
        </p:nvSpPr>
        <p:spPr bwMode="auto">
          <a:xfrm>
            <a:off x="-508000" y="3646885"/>
            <a:ext cx="10191750" cy="0"/>
          </a:xfrm>
          <a:prstGeom prst="line">
            <a:avLst/>
          </a:prstGeom>
          <a:noFill/>
          <a:ln w="317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AU">
              <a:solidFill>
                <a:srgbClr val="000000"/>
              </a:solidFill>
              <a:cs typeface="Arial" charset="0"/>
            </a:endParaRPr>
          </a:p>
        </p:txBody>
      </p:sp>
      <p:sp>
        <p:nvSpPr>
          <p:cNvPr id="94224" name="AutoShape 16"/>
          <p:cNvSpPr>
            <a:spLocks/>
          </p:cNvSpPr>
          <p:nvPr/>
        </p:nvSpPr>
        <p:spPr bwMode="auto">
          <a:xfrm flipH="1">
            <a:off x="-192088" y="1084660"/>
            <a:ext cx="88900" cy="848915"/>
          </a:xfrm>
          <a:prstGeom prst="rightBrace">
            <a:avLst>
              <a:gd name="adj1" fmla="val 106101"/>
              <a:gd name="adj2" fmla="val 50000"/>
            </a:avLst>
          </a:prstGeom>
          <a:noFill/>
          <a:ln w="9525">
            <a:solidFill>
              <a:schemeClr val="bg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AU">
              <a:solidFill>
                <a:srgbClr val="000000"/>
              </a:solidFill>
              <a:cs typeface="Arial" charset="0"/>
            </a:endParaRPr>
          </a:p>
        </p:txBody>
      </p:sp>
      <p:sp>
        <p:nvSpPr>
          <p:cNvPr id="94225" name="Text Box 17"/>
          <p:cNvSpPr txBox="1">
            <a:spLocks noChangeArrowheads="1"/>
          </p:cNvSpPr>
          <p:nvPr/>
        </p:nvSpPr>
        <p:spPr bwMode="auto">
          <a:xfrm rot="16200000">
            <a:off x="-650228" y="1428007"/>
            <a:ext cx="522580"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ctr" defTabSz="914400" fontAlgn="base">
              <a:spcBef>
                <a:spcPct val="50000"/>
              </a:spcBef>
              <a:spcAft>
                <a:spcPct val="0"/>
              </a:spcAft>
            </a:pPr>
            <a:r>
              <a:rPr lang="sv-SE" sz="1000">
                <a:solidFill>
                  <a:srgbClr val="FFFFFF"/>
                </a:solidFill>
                <a:cs typeface="Arial" charset="0"/>
              </a:rPr>
              <a:t>Size 3,175</a:t>
            </a:r>
          </a:p>
        </p:txBody>
      </p:sp>
      <p:sp>
        <p:nvSpPr>
          <p:cNvPr id="94226" name="AutoShape 18"/>
          <p:cNvSpPr>
            <a:spLocks/>
          </p:cNvSpPr>
          <p:nvPr/>
        </p:nvSpPr>
        <p:spPr bwMode="auto">
          <a:xfrm>
            <a:off x="9296401" y="1084660"/>
            <a:ext cx="42863" cy="1709738"/>
          </a:xfrm>
          <a:prstGeom prst="rightBrace">
            <a:avLst>
              <a:gd name="adj1" fmla="val 443205"/>
              <a:gd name="adj2" fmla="val 50000"/>
            </a:avLst>
          </a:prstGeom>
          <a:noFill/>
          <a:ln w="9525">
            <a:solidFill>
              <a:schemeClr val="bg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AU">
              <a:solidFill>
                <a:srgbClr val="000000"/>
              </a:solidFill>
              <a:cs typeface="Arial" charset="0"/>
            </a:endParaRPr>
          </a:p>
        </p:txBody>
      </p:sp>
      <p:sp>
        <p:nvSpPr>
          <p:cNvPr id="94227" name="Text Box 19"/>
          <p:cNvSpPr txBox="1">
            <a:spLocks noChangeArrowheads="1"/>
          </p:cNvSpPr>
          <p:nvPr/>
        </p:nvSpPr>
        <p:spPr bwMode="auto">
          <a:xfrm rot="5400000" flipH="1">
            <a:off x="9389434" y="1855441"/>
            <a:ext cx="458459"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ctr" defTabSz="914400" fontAlgn="base">
              <a:spcBef>
                <a:spcPct val="50000"/>
              </a:spcBef>
              <a:spcAft>
                <a:spcPct val="0"/>
              </a:spcAft>
            </a:pPr>
            <a:r>
              <a:rPr lang="sv-SE" sz="1000">
                <a:solidFill>
                  <a:srgbClr val="FFFFFF"/>
                </a:solidFill>
                <a:cs typeface="Arial" charset="0"/>
              </a:rPr>
              <a:t>Size 6,35</a:t>
            </a:r>
          </a:p>
        </p:txBody>
      </p:sp>
      <p:sp>
        <p:nvSpPr>
          <p:cNvPr id="94228" name="Rectangle 20"/>
          <p:cNvSpPr>
            <a:spLocks noChangeArrowheads="1"/>
          </p:cNvSpPr>
          <p:nvPr/>
        </p:nvSpPr>
        <p:spPr bwMode="auto">
          <a:xfrm>
            <a:off x="0" y="1078707"/>
            <a:ext cx="9144000" cy="3427810"/>
          </a:xfrm>
          <a:prstGeom prst="rect">
            <a:avLst/>
          </a:prstGeom>
          <a:solidFill>
            <a:srgbClr val="EAEAE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AU">
              <a:solidFill>
                <a:srgbClr val="000000"/>
              </a:solidFill>
              <a:cs typeface="Arial" charset="0"/>
            </a:endParaRPr>
          </a:p>
        </p:txBody>
      </p:sp>
      <p:sp>
        <p:nvSpPr>
          <p:cNvPr id="94229" name="Rectangle 21"/>
          <p:cNvSpPr>
            <a:spLocks noGrp="1" noChangeArrowheads="1"/>
          </p:cNvSpPr>
          <p:nvPr>
            <p:ph type="ctrTitle"/>
          </p:nvPr>
        </p:nvSpPr>
        <p:spPr>
          <a:xfrm>
            <a:off x="676275" y="1346597"/>
            <a:ext cx="7772400" cy="1102519"/>
          </a:xfrm>
        </p:spPr>
        <p:txBody>
          <a:bodyPr/>
          <a:lstStyle>
            <a:lvl1pPr marL="0" indent="0" algn="ctr">
              <a:defRPr sz="3000"/>
            </a:lvl1pPr>
          </a:lstStyle>
          <a:p>
            <a:pPr lvl="0"/>
            <a:r>
              <a:rPr lang="en-US" noProof="0"/>
              <a:t>Klicka här för att ändra format</a:t>
            </a:r>
          </a:p>
        </p:txBody>
      </p:sp>
      <p:sp>
        <p:nvSpPr>
          <p:cNvPr id="94230" name="Rectangle 22"/>
          <p:cNvSpPr>
            <a:spLocks noGrp="1" noChangeArrowheads="1"/>
          </p:cNvSpPr>
          <p:nvPr>
            <p:ph type="sldNum" sz="quarter" idx="4"/>
          </p:nvPr>
        </p:nvSpPr>
        <p:spPr>
          <a:xfrm>
            <a:off x="6553200" y="4683919"/>
            <a:ext cx="2133600" cy="357188"/>
          </a:xfrm>
        </p:spPr>
        <p:txBody>
          <a:bodyPr/>
          <a:lstStyle>
            <a:lvl1pPr>
              <a:defRPr/>
            </a:lvl1pPr>
          </a:lstStyle>
          <a:p>
            <a:fld id="{E1169FA3-5846-497E-BABE-287551DDF3F1}" type="slidenum">
              <a:rPr lang="sv-SE">
                <a:solidFill>
                  <a:srgbClr val="000000"/>
                </a:solidFill>
              </a:rPr>
              <a:pPr/>
              <a:t>‹#›</a:t>
            </a:fld>
            <a:endParaRPr lang="sv-SE">
              <a:solidFill>
                <a:srgbClr val="000000"/>
              </a:solidFill>
            </a:endParaRPr>
          </a:p>
        </p:txBody>
      </p:sp>
      <p:pic>
        <p:nvPicPr>
          <p:cNvPr id="94231" name="Picture 23" descr="Sandvik-logo"/>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8016875" y="4731544"/>
            <a:ext cx="935038" cy="255985"/>
          </a:xfrm>
          <a:prstGeom prst="rect">
            <a:avLst/>
          </a:prstGeom>
          <a:noFill/>
          <a:extLst>
            <a:ext uri="{909E8E84-426E-40DD-AFC4-6F175D3DCCD1}">
              <a14:hiddenFill xmlns:a14="http://schemas.microsoft.com/office/drawing/2010/main">
                <a:solidFill>
                  <a:srgbClr val="FFFFFF"/>
                </a:solidFill>
              </a14:hiddenFill>
            </a:ext>
          </a:extLst>
        </p:spPr>
      </p:pic>
      <p:sp>
        <p:nvSpPr>
          <p:cNvPr id="94232" name="Line 24"/>
          <p:cNvSpPr>
            <a:spLocks noChangeShapeType="1"/>
          </p:cNvSpPr>
          <p:nvPr/>
        </p:nvSpPr>
        <p:spPr bwMode="auto">
          <a:xfrm>
            <a:off x="2568575" y="4875610"/>
            <a:ext cx="5240338" cy="0"/>
          </a:xfrm>
          <a:prstGeom prst="line">
            <a:avLst/>
          </a:prstGeom>
          <a:noFill/>
          <a:ln w="12700">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AU">
              <a:solidFill>
                <a:srgbClr val="000000"/>
              </a:solidFill>
              <a:cs typeface="Arial" charset="0"/>
            </a:endParaRPr>
          </a:p>
        </p:txBody>
      </p:sp>
      <p:sp>
        <p:nvSpPr>
          <p:cNvPr id="94233" name="Rectangle 25"/>
          <p:cNvSpPr>
            <a:spLocks noGrp="1" noChangeArrowheads="1"/>
          </p:cNvSpPr>
          <p:nvPr>
            <p:ph type="subTitle" idx="1"/>
          </p:nvPr>
        </p:nvSpPr>
        <p:spPr>
          <a:xfrm>
            <a:off x="1355725" y="2819400"/>
            <a:ext cx="6400800" cy="1314450"/>
          </a:xfrm>
        </p:spPr>
        <p:txBody>
          <a:bodyPr/>
          <a:lstStyle>
            <a:lvl1pPr marL="0" indent="0" algn="ctr">
              <a:buFont typeface="Wingdings 2" pitchFamily="18" charset="2"/>
              <a:buNone/>
              <a:defRPr/>
            </a:lvl1pPr>
          </a:lstStyle>
          <a:p>
            <a:pPr lvl="0"/>
            <a:r>
              <a:rPr lang="en-US" noProof="0"/>
              <a:t>Klicka här för att ändra format på underrubrik i bakgrunden</a:t>
            </a:r>
          </a:p>
        </p:txBody>
      </p:sp>
      <p:sp>
        <p:nvSpPr>
          <p:cNvPr id="94234" name="Line 26"/>
          <p:cNvSpPr>
            <a:spLocks noChangeShapeType="1"/>
          </p:cNvSpPr>
          <p:nvPr/>
        </p:nvSpPr>
        <p:spPr bwMode="auto">
          <a:xfrm>
            <a:off x="565150" y="4801791"/>
            <a:ext cx="0" cy="128588"/>
          </a:xfrm>
          <a:prstGeom prst="line">
            <a:avLst/>
          </a:prstGeom>
          <a:noFill/>
          <a:ln w="63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AU">
              <a:solidFill>
                <a:srgbClr val="000000"/>
              </a:solidFill>
              <a:cs typeface="Arial" charset="0"/>
            </a:endParaRPr>
          </a:p>
        </p:txBody>
      </p:sp>
      <p:sp>
        <p:nvSpPr>
          <p:cNvPr id="94235" name="Text Box 27"/>
          <p:cNvSpPr txBox="1">
            <a:spLocks noChangeArrowheads="1"/>
          </p:cNvSpPr>
          <p:nvPr/>
        </p:nvSpPr>
        <p:spPr bwMode="auto">
          <a:xfrm>
            <a:off x="679450" y="4814888"/>
            <a:ext cx="1771650" cy="1023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defTabSz="914400" fontAlgn="base">
              <a:spcBef>
                <a:spcPct val="50000"/>
              </a:spcBef>
              <a:spcAft>
                <a:spcPct val="0"/>
              </a:spcAft>
            </a:pPr>
            <a:r>
              <a:rPr lang="sv-SE" sz="900" b="1">
                <a:solidFill>
                  <a:srgbClr val="000000"/>
                </a:solidFill>
                <a:cs typeface="Arial" charset="0"/>
              </a:rPr>
              <a:t>Sandvik Mining and Construction</a:t>
            </a:r>
          </a:p>
        </p:txBody>
      </p:sp>
      <p:sp>
        <p:nvSpPr>
          <p:cNvPr id="94236" name="Line 28"/>
          <p:cNvSpPr>
            <a:spLocks noChangeShapeType="1"/>
          </p:cNvSpPr>
          <p:nvPr/>
        </p:nvSpPr>
        <p:spPr bwMode="auto">
          <a:xfrm>
            <a:off x="1135063" y="5142310"/>
            <a:ext cx="0" cy="95250"/>
          </a:xfrm>
          <a:prstGeom prst="line">
            <a:avLst/>
          </a:prstGeom>
          <a:noFill/>
          <a:ln w="317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AU">
              <a:solidFill>
                <a:srgbClr val="000000"/>
              </a:solidFill>
              <a:cs typeface="Arial" charset="0"/>
            </a:endParaRPr>
          </a:p>
        </p:txBody>
      </p:sp>
      <p:sp>
        <p:nvSpPr>
          <p:cNvPr id="94237" name="Line 29"/>
          <p:cNvSpPr>
            <a:spLocks noChangeShapeType="1"/>
          </p:cNvSpPr>
          <p:nvPr/>
        </p:nvSpPr>
        <p:spPr bwMode="auto">
          <a:xfrm>
            <a:off x="3421063" y="5142310"/>
            <a:ext cx="0" cy="95250"/>
          </a:xfrm>
          <a:prstGeom prst="line">
            <a:avLst/>
          </a:prstGeom>
          <a:noFill/>
          <a:ln w="317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AU">
              <a:solidFill>
                <a:srgbClr val="000000"/>
              </a:solidFill>
              <a:cs typeface="Arial" charset="0"/>
            </a:endParaRPr>
          </a:p>
        </p:txBody>
      </p:sp>
      <p:sp>
        <p:nvSpPr>
          <p:cNvPr id="94238" name="Line 30"/>
          <p:cNvSpPr>
            <a:spLocks noChangeShapeType="1"/>
          </p:cNvSpPr>
          <p:nvPr/>
        </p:nvSpPr>
        <p:spPr bwMode="auto">
          <a:xfrm>
            <a:off x="5705475" y="5142310"/>
            <a:ext cx="0" cy="95250"/>
          </a:xfrm>
          <a:prstGeom prst="line">
            <a:avLst/>
          </a:prstGeom>
          <a:noFill/>
          <a:ln w="317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AU">
              <a:solidFill>
                <a:srgbClr val="000000"/>
              </a:solidFill>
              <a:cs typeface="Arial" charset="0"/>
            </a:endParaRPr>
          </a:p>
        </p:txBody>
      </p:sp>
      <p:sp>
        <p:nvSpPr>
          <p:cNvPr id="94239" name="Line 31"/>
          <p:cNvSpPr>
            <a:spLocks noChangeShapeType="1"/>
          </p:cNvSpPr>
          <p:nvPr/>
        </p:nvSpPr>
        <p:spPr bwMode="auto">
          <a:xfrm>
            <a:off x="7991475" y="5142310"/>
            <a:ext cx="0" cy="95250"/>
          </a:xfrm>
          <a:prstGeom prst="line">
            <a:avLst/>
          </a:prstGeom>
          <a:noFill/>
          <a:ln w="317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AU">
              <a:solidFill>
                <a:srgbClr val="000000"/>
              </a:solidFill>
              <a:cs typeface="Arial" charset="0"/>
            </a:endParaRPr>
          </a:p>
        </p:txBody>
      </p:sp>
      <p:sp>
        <p:nvSpPr>
          <p:cNvPr id="94240" name="Line 32"/>
          <p:cNvSpPr>
            <a:spLocks noChangeShapeType="1"/>
          </p:cNvSpPr>
          <p:nvPr/>
        </p:nvSpPr>
        <p:spPr bwMode="auto">
          <a:xfrm>
            <a:off x="2278063" y="5142310"/>
            <a:ext cx="0" cy="95250"/>
          </a:xfrm>
          <a:prstGeom prst="line">
            <a:avLst/>
          </a:prstGeom>
          <a:noFill/>
          <a:ln w="317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AU">
              <a:solidFill>
                <a:srgbClr val="000000"/>
              </a:solidFill>
              <a:cs typeface="Arial" charset="0"/>
            </a:endParaRPr>
          </a:p>
        </p:txBody>
      </p:sp>
      <p:sp>
        <p:nvSpPr>
          <p:cNvPr id="94241" name="Line 33"/>
          <p:cNvSpPr>
            <a:spLocks noChangeShapeType="1"/>
          </p:cNvSpPr>
          <p:nvPr/>
        </p:nvSpPr>
        <p:spPr bwMode="auto">
          <a:xfrm>
            <a:off x="4564063" y="5142310"/>
            <a:ext cx="0" cy="95250"/>
          </a:xfrm>
          <a:prstGeom prst="line">
            <a:avLst/>
          </a:prstGeom>
          <a:noFill/>
          <a:ln w="317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AU">
              <a:solidFill>
                <a:srgbClr val="000000"/>
              </a:solidFill>
              <a:cs typeface="Arial" charset="0"/>
            </a:endParaRPr>
          </a:p>
        </p:txBody>
      </p:sp>
      <p:sp>
        <p:nvSpPr>
          <p:cNvPr id="94242" name="Line 34"/>
          <p:cNvSpPr>
            <a:spLocks noChangeShapeType="1"/>
          </p:cNvSpPr>
          <p:nvPr/>
        </p:nvSpPr>
        <p:spPr bwMode="auto">
          <a:xfrm>
            <a:off x="6848475" y="5142310"/>
            <a:ext cx="0" cy="95250"/>
          </a:xfrm>
          <a:prstGeom prst="line">
            <a:avLst/>
          </a:prstGeom>
          <a:noFill/>
          <a:ln w="317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AU">
              <a:solidFill>
                <a:srgbClr val="000000"/>
              </a:solidFill>
              <a:cs typeface="Arial" charset="0"/>
            </a:endParaRPr>
          </a:p>
        </p:txBody>
      </p:sp>
    </p:spTree>
    <p:extLst>
      <p:ext uri="{BB962C8B-B14F-4D97-AF65-F5344CB8AC3E}">
        <p14:creationId xmlns:p14="http://schemas.microsoft.com/office/powerpoint/2010/main" val="25678474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Slide Number Placeholder 3"/>
          <p:cNvSpPr>
            <a:spLocks noGrp="1"/>
          </p:cNvSpPr>
          <p:nvPr>
            <p:ph type="sldNum" sz="quarter" idx="10"/>
          </p:nvPr>
        </p:nvSpPr>
        <p:spPr/>
        <p:txBody>
          <a:bodyPr/>
          <a:lstStyle>
            <a:lvl1pPr>
              <a:defRPr/>
            </a:lvl1pPr>
          </a:lstStyle>
          <a:p>
            <a:fld id="{DC1BD79B-1D43-406A-A871-42D43CC684A1}" type="slidenum">
              <a:rPr lang="sv-SE">
                <a:solidFill>
                  <a:srgbClr val="000000"/>
                </a:solidFill>
              </a:rPr>
              <a:pPr/>
              <a:t>‹#›</a:t>
            </a:fld>
            <a:endParaRPr lang="sv-SE">
              <a:solidFill>
                <a:srgbClr val="000000"/>
              </a:solidFill>
            </a:endParaRPr>
          </a:p>
        </p:txBody>
      </p:sp>
    </p:spTree>
    <p:extLst>
      <p:ext uri="{BB962C8B-B14F-4D97-AF65-F5344CB8AC3E}">
        <p14:creationId xmlns:p14="http://schemas.microsoft.com/office/powerpoint/2010/main" val="898801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lstStyle>
            <a:lvl1pPr algn="l">
              <a:defRPr sz="4000" b="1" cap="all"/>
            </a:lvl1pPr>
          </a:lstStyle>
          <a:p>
            <a:r>
              <a:rPr lang="en-US"/>
              <a:t>Click to edit Master title style</a:t>
            </a:r>
            <a:endParaRPr lang="en-AU"/>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Slide Number Placeholder 3"/>
          <p:cNvSpPr>
            <a:spLocks noGrp="1"/>
          </p:cNvSpPr>
          <p:nvPr>
            <p:ph type="sldNum" sz="quarter" idx="10"/>
          </p:nvPr>
        </p:nvSpPr>
        <p:spPr/>
        <p:txBody>
          <a:bodyPr/>
          <a:lstStyle>
            <a:lvl1pPr>
              <a:defRPr/>
            </a:lvl1pPr>
          </a:lstStyle>
          <a:p>
            <a:fld id="{50F07FE7-1CFD-4648-9117-0760979A6F6C}" type="slidenum">
              <a:rPr lang="sv-SE">
                <a:solidFill>
                  <a:srgbClr val="000000"/>
                </a:solidFill>
              </a:rPr>
              <a:pPr/>
              <a:t>‹#›</a:t>
            </a:fld>
            <a:endParaRPr lang="sv-SE">
              <a:solidFill>
                <a:srgbClr val="000000"/>
              </a:solidFill>
            </a:endParaRPr>
          </a:p>
        </p:txBody>
      </p:sp>
    </p:spTree>
    <p:extLst>
      <p:ext uri="{BB962C8B-B14F-4D97-AF65-F5344CB8AC3E}">
        <p14:creationId xmlns:p14="http://schemas.microsoft.com/office/powerpoint/2010/main" val="1897681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
        <p:nvSpPr>
          <p:cNvPr id="3" name="Content Placeholder 2"/>
          <p:cNvSpPr>
            <a:spLocks noGrp="1"/>
          </p:cNvSpPr>
          <p:nvPr>
            <p:ph sz="half" idx="1"/>
          </p:nvPr>
        </p:nvSpPr>
        <p:spPr>
          <a:xfrm>
            <a:off x="404813" y="1579960"/>
            <a:ext cx="4076700" cy="293131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Content Placeholder 3"/>
          <p:cNvSpPr>
            <a:spLocks noGrp="1"/>
          </p:cNvSpPr>
          <p:nvPr>
            <p:ph sz="half" idx="2"/>
          </p:nvPr>
        </p:nvSpPr>
        <p:spPr>
          <a:xfrm>
            <a:off x="4633914" y="1579960"/>
            <a:ext cx="4078287" cy="293131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Slide Number Placeholder 4"/>
          <p:cNvSpPr>
            <a:spLocks noGrp="1"/>
          </p:cNvSpPr>
          <p:nvPr>
            <p:ph type="sldNum" sz="quarter" idx="10"/>
          </p:nvPr>
        </p:nvSpPr>
        <p:spPr/>
        <p:txBody>
          <a:bodyPr/>
          <a:lstStyle>
            <a:lvl1pPr>
              <a:defRPr/>
            </a:lvl1pPr>
          </a:lstStyle>
          <a:p>
            <a:fld id="{F1DC6254-A22E-4A15-A90E-FFAB57D14B51}" type="slidenum">
              <a:rPr lang="sv-SE">
                <a:solidFill>
                  <a:srgbClr val="000000"/>
                </a:solidFill>
              </a:rPr>
              <a:pPr/>
              <a:t>‹#›</a:t>
            </a:fld>
            <a:endParaRPr lang="sv-SE">
              <a:solidFill>
                <a:srgbClr val="000000"/>
              </a:solidFill>
            </a:endParaRPr>
          </a:p>
        </p:txBody>
      </p:sp>
    </p:spTree>
    <p:extLst>
      <p:ext uri="{BB962C8B-B14F-4D97-AF65-F5344CB8AC3E}">
        <p14:creationId xmlns:p14="http://schemas.microsoft.com/office/powerpoint/2010/main" val="37366617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8"/>
            <a:ext cx="8229600" cy="857250"/>
          </a:xfrm>
        </p:spPr>
        <p:txBody>
          <a:bodyPr/>
          <a:lstStyle>
            <a:lvl1pPr>
              <a:defRPr/>
            </a:lvl1pPr>
          </a:lstStyle>
          <a:p>
            <a:r>
              <a:rPr lang="en-US"/>
              <a:t>Click to edit Master title style</a:t>
            </a:r>
            <a:endParaRPr lang="en-AU"/>
          </a:p>
        </p:txBody>
      </p:sp>
      <p:sp>
        <p:nvSpPr>
          <p:cNvPr id="3" name="Text Placeholder 2"/>
          <p:cNvSpPr>
            <a:spLocks noGrp="1"/>
          </p:cNvSpPr>
          <p:nvPr>
            <p:ph type="body" idx="1"/>
          </p:nvPr>
        </p:nvSpPr>
        <p:spPr>
          <a:xfrm>
            <a:off x="457200" y="1151335"/>
            <a:ext cx="4040188"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Text Placeholder 4"/>
          <p:cNvSpPr>
            <a:spLocks noGrp="1"/>
          </p:cNvSpPr>
          <p:nvPr>
            <p:ph type="body" sz="quarter" idx="3"/>
          </p:nvPr>
        </p:nvSpPr>
        <p:spPr>
          <a:xfrm>
            <a:off x="4645026" y="1151335"/>
            <a:ext cx="4041775"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6"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7" name="Slide Number Placeholder 6"/>
          <p:cNvSpPr>
            <a:spLocks noGrp="1"/>
          </p:cNvSpPr>
          <p:nvPr>
            <p:ph type="sldNum" sz="quarter" idx="10"/>
          </p:nvPr>
        </p:nvSpPr>
        <p:spPr/>
        <p:txBody>
          <a:bodyPr/>
          <a:lstStyle>
            <a:lvl1pPr>
              <a:defRPr/>
            </a:lvl1pPr>
          </a:lstStyle>
          <a:p>
            <a:fld id="{A40F638B-7792-479A-992D-5104FA5CBBD2}" type="slidenum">
              <a:rPr lang="sv-SE">
                <a:solidFill>
                  <a:srgbClr val="000000"/>
                </a:solidFill>
              </a:rPr>
              <a:pPr/>
              <a:t>‹#›</a:t>
            </a:fld>
            <a:endParaRPr lang="sv-SE">
              <a:solidFill>
                <a:srgbClr val="000000"/>
              </a:solidFill>
            </a:endParaRPr>
          </a:p>
        </p:txBody>
      </p:sp>
    </p:spTree>
    <p:extLst>
      <p:ext uri="{BB962C8B-B14F-4D97-AF65-F5344CB8AC3E}">
        <p14:creationId xmlns:p14="http://schemas.microsoft.com/office/powerpoint/2010/main" val="1896652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
        <p:nvSpPr>
          <p:cNvPr id="3" name="Slide Number Placeholder 2"/>
          <p:cNvSpPr>
            <a:spLocks noGrp="1"/>
          </p:cNvSpPr>
          <p:nvPr>
            <p:ph type="sldNum" sz="quarter" idx="10"/>
          </p:nvPr>
        </p:nvSpPr>
        <p:spPr/>
        <p:txBody>
          <a:bodyPr/>
          <a:lstStyle>
            <a:lvl1pPr>
              <a:defRPr/>
            </a:lvl1pPr>
          </a:lstStyle>
          <a:p>
            <a:fld id="{1D3B0B76-414A-4212-8659-5CDCA31AC308}" type="slidenum">
              <a:rPr lang="sv-SE">
                <a:solidFill>
                  <a:srgbClr val="000000"/>
                </a:solidFill>
              </a:rPr>
              <a:pPr/>
              <a:t>‹#›</a:t>
            </a:fld>
            <a:endParaRPr lang="sv-SE">
              <a:solidFill>
                <a:srgbClr val="000000"/>
              </a:solidFill>
            </a:endParaRPr>
          </a:p>
        </p:txBody>
      </p:sp>
    </p:spTree>
    <p:extLst>
      <p:ext uri="{BB962C8B-B14F-4D97-AF65-F5344CB8AC3E}">
        <p14:creationId xmlns:p14="http://schemas.microsoft.com/office/powerpoint/2010/main" val="1351200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46979D47-F0FD-45F3-8EFA-AACA92A769A9}" type="slidenum">
              <a:rPr lang="sv-SE">
                <a:solidFill>
                  <a:srgbClr val="000000"/>
                </a:solidFill>
              </a:rPr>
              <a:pPr/>
              <a:t>‹#›</a:t>
            </a:fld>
            <a:endParaRPr lang="sv-SE">
              <a:solidFill>
                <a:srgbClr val="000000"/>
              </a:solidFill>
            </a:endParaRPr>
          </a:p>
        </p:txBody>
      </p:sp>
    </p:spTree>
    <p:extLst>
      <p:ext uri="{BB962C8B-B14F-4D97-AF65-F5344CB8AC3E}">
        <p14:creationId xmlns:p14="http://schemas.microsoft.com/office/powerpoint/2010/main" val="1307197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Agenda blue">
    <p:bg>
      <p:bgPr>
        <a:solidFill>
          <a:schemeClr val="accent1"/>
        </a:solidFill>
        <a:effectLst/>
      </p:bgPr>
    </p:bg>
    <p:spTree>
      <p:nvGrpSpPr>
        <p:cNvPr id="1" name=""/>
        <p:cNvGrpSpPr/>
        <p:nvPr/>
      </p:nvGrpSpPr>
      <p:grpSpPr>
        <a:xfrm>
          <a:off x="0" y="0"/>
          <a:ext cx="0" cy="0"/>
          <a:chOff x="0" y="0"/>
          <a:chExt cx="0" cy="0"/>
        </a:xfrm>
      </p:grpSpPr>
      <p:sp>
        <p:nvSpPr>
          <p:cNvPr id="2" name="Rubrik 1"/>
          <p:cNvSpPr>
            <a:spLocks noGrp="1"/>
          </p:cNvSpPr>
          <p:nvPr>
            <p:ph type="title" hasCustomPrompt="1"/>
          </p:nvPr>
        </p:nvSpPr>
        <p:spPr/>
        <p:txBody>
          <a:bodyPr/>
          <a:lstStyle>
            <a:lvl1pPr>
              <a:defRPr>
                <a:solidFill>
                  <a:schemeClr val="bg1"/>
                </a:solidFill>
              </a:defRPr>
            </a:lvl1pPr>
          </a:lstStyle>
          <a:p>
            <a:r>
              <a:rPr lang="en-US" noProof="0" dirty="0"/>
              <a:t>Agenda for today</a:t>
            </a:r>
          </a:p>
        </p:txBody>
      </p:sp>
      <p:sp>
        <p:nvSpPr>
          <p:cNvPr id="4" name="Platshållare för datum 3"/>
          <p:cNvSpPr>
            <a:spLocks noGrp="1"/>
          </p:cNvSpPr>
          <p:nvPr>
            <p:ph type="dt" sz="half" idx="10"/>
          </p:nvPr>
        </p:nvSpPr>
        <p:spPr/>
        <p:txBody>
          <a:bodyPr/>
          <a:lstStyle>
            <a:lvl1pPr>
              <a:defRPr>
                <a:solidFill>
                  <a:schemeClr val="bg1"/>
                </a:solidFill>
              </a:defRPr>
            </a:lvl1pPr>
          </a:lstStyle>
          <a:p>
            <a:fld id="{F0879A06-EAF7-4EC6-A444-8258C5159BF5}" type="datetime1">
              <a:rPr lang="en-US" smtClean="0"/>
              <a:t>9/10/2018</a:t>
            </a:fld>
            <a:endParaRPr lang="en-US" dirty="0"/>
          </a:p>
        </p:txBody>
      </p:sp>
      <p:sp>
        <p:nvSpPr>
          <p:cNvPr id="5" name="Platshållare för sidfot 4"/>
          <p:cNvSpPr>
            <a:spLocks noGrp="1"/>
          </p:cNvSpPr>
          <p:nvPr>
            <p:ph type="ftr" sz="quarter" idx="11"/>
          </p:nvPr>
        </p:nvSpPr>
        <p:spPr/>
        <p:txBody>
          <a:bodyPr/>
          <a:lstStyle>
            <a:lvl1pPr>
              <a:defRPr>
                <a:solidFill>
                  <a:schemeClr val="bg1"/>
                </a:solidFill>
              </a:defRPr>
            </a:lvl1pPr>
          </a:lstStyle>
          <a:p>
            <a:r>
              <a:rPr lang="en-US" dirty="0"/>
              <a:t>SANDVIK: Title of presentation</a:t>
            </a:r>
          </a:p>
        </p:txBody>
      </p:sp>
      <p:sp>
        <p:nvSpPr>
          <p:cNvPr id="6" name="Platshållare för bildnummer 5"/>
          <p:cNvSpPr>
            <a:spLocks noGrp="1"/>
          </p:cNvSpPr>
          <p:nvPr>
            <p:ph type="sldNum" sz="quarter" idx="12"/>
          </p:nvPr>
        </p:nvSpPr>
        <p:spPr/>
        <p:txBody>
          <a:bodyPr/>
          <a:lstStyle>
            <a:lvl1pPr>
              <a:defRPr>
                <a:solidFill>
                  <a:schemeClr val="bg1"/>
                </a:solidFill>
              </a:defRPr>
            </a:lvl1pPr>
          </a:lstStyle>
          <a:p>
            <a:fld id="{469B62F1-B431-48B6-8270-02431A1685B7}" type="slidenum">
              <a:rPr lang="en-US" smtClean="0"/>
              <a:pPr/>
              <a:t>‹#›</a:t>
            </a:fld>
            <a:endParaRPr lang="en-US" dirty="0"/>
          </a:p>
        </p:txBody>
      </p:sp>
      <p:sp>
        <p:nvSpPr>
          <p:cNvPr id="10" name="Platshållare för text 9"/>
          <p:cNvSpPr>
            <a:spLocks noGrp="1"/>
          </p:cNvSpPr>
          <p:nvPr>
            <p:ph type="body" sz="quarter" idx="13" hasCustomPrompt="1"/>
          </p:nvPr>
        </p:nvSpPr>
        <p:spPr>
          <a:xfrm>
            <a:off x="360000" y="1080000"/>
            <a:ext cx="8424000" cy="270000"/>
          </a:xfrm>
        </p:spPr>
        <p:txBody>
          <a:bodyPr>
            <a:noAutofit/>
          </a:bodyPr>
          <a:lstStyle>
            <a:lvl1pPr marL="0" indent="0">
              <a:lnSpc>
                <a:spcPct val="100000"/>
              </a:lnSpc>
              <a:buNone/>
              <a:defRPr sz="1800" b="0" cap="all" baseline="0">
                <a:solidFill>
                  <a:schemeClr val="bg1"/>
                </a:solidFill>
              </a:defRPr>
            </a:lvl1pPr>
          </a:lstStyle>
          <a:p>
            <a:pPr lvl="0"/>
            <a:r>
              <a:rPr lang="en-US" noProof="0" dirty="0"/>
              <a:t>Subheading (if needed)</a:t>
            </a:r>
          </a:p>
        </p:txBody>
      </p:sp>
      <p:pic>
        <p:nvPicPr>
          <p:cNvPr id="11" name="Bildobjekt 10" descr="SAV_Logo_white_RGB300.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902838" y="4554000"/>
            <a:ext cx="889869" cy="324000"/>
          </a:xfrm>
          <a:prstGeom prst="rect">
            <a:avLst/>
          </a:prstGeom>
        </p:spPr>
      </p:pic>
      <p:sp>
        <p:nvSpPr>
          <p:cNvPr id="13" name="Platshållare för text 12"/>
          <p:cNvSpPr>
            <a:spLocks noGrp="1"/>
          </p:cNvSpPr>
          <p:nvPr>
            <p:ph type="body" sz="quarter" idx="14" hasCustomPrompt="1"/>
          </p:nvPr>
        </p:nvSpPr>
        <p:spPr>
          <a:xfrm>
            <a:off x="360000" y="1530000"/>
            <a:ext cx="8424000" cy="2844000"/>
          </a:xfrm>
        </p:spPr>
        <p:txBody>
          <a:bodyPr/>
          <a:lstStyle>
            <a:lvl1pPr>
              <a:buClr>
                <a:schemeClr val="bg1"/>
              </a:buClr>
              <a:defRPr>
                <a:solidFill>
                  <a:schemeClr val="bg1"/>
                </a:solidFill>
              </a:defRPr>
            </a:lvl1pPr>
            <a:lvl2pPr marL="539939" indent="-161982">
              <a:buClr>
                <a:schemeClr val="bg1"/>
              </a:buClr>
              <a:buFont typeface="Arial" panose="020B0604020202020204" pitchFamily="34" charset="0"/>
              <a:buChar cha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832064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04787"/>
            <a:ext cx="3008313" cy="871538"/>
          </a:xfrm>
        </p:spPr>
        <p:txBody>
          <a:bodyPr anchor="b"/>
          <a:lstStyle>
            <a:lvl1pPr algn="l">
              <a:defRPr sz="2000" b="1"/>
            </a:lvl1pPr>
          </a:lstStyle>
          <a:p>
            <a:r>
              <a:rPr lang="en-US"/>
              <a:t>Click to edit Master title style</a:t>
            </a:r>
            <a:endParaRPr lang="en-AU"/>
          </a:p>
        </p:txBody>
      </p:sp>
      <p:sp>
        <p:nvSpPr>
          <p:cNvPr id="3" name="Content Placeholder 2"/>
          <p:cNvSpPr>
            <a:spLocks noGrp="1"/>
          </p:cNvSpPr>
          <p:nvPr>
            <p:ph idx="1"/>
          </p:nvPr>
        </p:nvSpPr>
        <p:spPr>
          <a:xfrm>
            <a:off x="3575050" y="204788"/>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Text Placeholder 3"/>
          <p:cNvSpPr>
            <a:spLocks noGrp="1"/>
          </p:cNvSpPr>
          <p:nvPr>
            <p:ph type="body" sz="half" idx="2"/>
          </p:nvPr>
        </p:nvSpPr>
        <p:spPr>
          <a:xfrm>
            <a:off x="457201" y="1076326"/>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Slide Number Placeholder 4"/>
          <p:cNvSpPr>
            <a:spLocks noGrp="1"/>
          </p:cNvSpPr>
          <p:nvPr>
            <p:ph type="sldNum" sz="quarter" idx="10"/>
          </p:nvPr>
        </p:nvSpPr>
        <p:spPr/>
        <p:txBody>
          <a:bodyPr/>
          <a:lstStyle>
            <a:lvl1pPr>
              <a:defRPr/>
            </a:lvl1pPr>
          </a:lstStyle>
          <a:p>
            <a:fld id="{059CCA80-6100-43E6-8785-E5918FBE9426}" type="slidenum">
              <a:rPr lang="sv-SE">
                <a:solidFill>
                  <a:srgbClr val="000000"/>
                </a:solidFill>
              </a:rPr>
              <a:pPr/>
              <a:t>‹#›</a:t>
            </a:fld>
            <a:endParaRPr lang="sv-SE">
              <a:solidFill>
                <a:srgbClr val="000000"/>
              </a:solidFill>
            </a:endParaRPr>
          </a:p>
        </p:txBody>
      </p:sp>
    </p:spTree>
    <p:extLst>
      <p:ext uri="{BB962C8B-B14F-4D97-AF65-F5344CB8AC3E}">
        <p14:creationId xmlns:p14="http://schemas.microsoft.com/office/powerpoint/2010/main" val="3046639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0"/>
            <a:ext cx="5486400" cy="425054"/>
          </a:xfrm>
        </p:spPr>
        <p:txBody>
          <a:bodyPr anchor="b"/>
          <a:lstStyle>
            <a:lvl1pPr algn="l">
              <a:defRPr sz="2000" b="1"/>
            </a:lvl1pPr>
          </a:lstStyle>
          <a:p>
            <a:r>
              <a:rPr lang="en-US"/>
              <a:t>Click to edit Master title style</a:t>
            </a:r>
            <a:endParaRPr lang="en-AU"/>
          </a:p>
        </p:txBody>
      </p:sp>
      <p:sp>
        <p:nvSpPr>
          <p:cNvPr id="3" name="Picture Placeholder 2"/>
          <p:cNvSpPr>
            <a:spLocks noGrp="1"/>
          </p:cNvSpPr>
          <p:nvPr>
            <p:ph type="pic" idx="1"/>
          </p:nvPr>
        </p:nvSpPr>
        <p:spPr>
          <a:xfrm>
            <a:off x="1792288" y="459581"/>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AU"/>
          </a:p>
        </p:txBody>
      </p:sp>
      <p:sp>
        <p:nvSpPr>
          <p:cNvPr id="4" name="Text Placeholder 3"/>
          <p:cNvSpPr>
            <a:spLocks noGrp="1"/>
          </p:cNvSpPr>
          <p:nvPr>
            <p:ph type="body" sz="half" idx="2"/>
          </p:nvPr>
        </p:nvSpPr>
        <p:spPr>
          <a:xfrm>
            <a:off x="1792288" y="4025503"/>
            <a:ext cx="5486400" cy="60364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Slide Number Placeholder 4"/>
          <p:cNvSpPr>
            <a:spLocks noGrp="1"/>
          </p:cNvSpPr>
          <p:nvPr>
            <p:ph type="sldNum" sz="quarter" idx="10"/>
          </p:nvPr>
        </p:nvSpPr>
        <p:spPr/>
        <p:txBody>
          <a:bodyPr/>
          <a:lstStyle>
            <a:lvl1pPr>
              <a:defRPr/>
            </a:lvl1pPr>
          </a:lstStyle>
          <a:p>
            <a:fld id="{DE10B948-7634-49CE-98BF-3DEDA02AEDE4}" type="slidenum">
              <a:rPr lang="sv-SE">
                <a:solidFill>
                  <a:srgbClr val="000000"/>
                </a:solidFill>
              </a:rPr>
              <a:pPr/>
              <a:t>‹#›</a:t>
            </a:fld>
            <a:endParaRPr lang="sv-SE">
              <a:solidFill>
                <a:srgbClr val="000000"/>
              </a:solidFill>
            </a:endParaRPr>
          </a:p>
        </p:txBody>
      </p:sp>
    </p:spTree>
    <p:extLst>
      <p:ext uri="{BB962C8B-B14F-4D97-AF65-F5344CB8AC3E}">
        <p14:creationId xmlns:p14="http://schemas.microsoft.com/office/powerpoint/2010/main" val="4335316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Slide Number Placeholder 3"/>
          <p:cNvSpPr>
            <a:spLocks noGrp="1"/>
          </p:cNvSpPr>
          <p:nvPr>
            <p:ph type="sldNum" sz="quarter" idx="10"/>
          </p:nvPr>
        </p:nvSpPr>
        <p:spPr/>
        <p:txBody>
          <a:bodyPr/>
          <a:lstStyle>
            <a:lvl1pPr>
              <a:defRPr/>
            </a:lvl1pPr>
          </a:lstStyle>
          <a:p>
            <a:fld id="{41B5CE11-010A-4F64-B0D6-FB240F08B9B6}" type="slidenum">
              <a:rPr lang="sv-SE">
                <a:solidFill>
                  <a:srgbClr val="000000"/>
                </a:solidFill>
              </a:rPr>
              <a:pPr/>
              <a:t>‹#›</a:t>
            </a:fld>
            <a:endParaRPr lang="sv-SE">
              <a:solidFill>
                <a:srgbClr val="000000"/>
              </a:solidFill>
            </a:endParaRPr>
          </a:p>
        </p:txBody>
      </p:sp>
    </p:spTree>
    <p:extLst>
      <p:ext uri="{BB962C8B-B14F-4D97-AF65-F5344CB8AC3E}">
        <p14:creationId xmlns:p14="http://schemas.microsoft.com/office/powerpoint/2010/main" val="2656812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35750" y="363141"/>
            <a:ext cx="2076450" cy="4148138"/>
          </a:xfrm>
        </p:spPr>
        <p:txBody>
          <a:bodyPr vert="eaVert"/>
          <a:lstStyle/>
          <a:p>
            <a:r>
              <a:rPr lang="en-US"/>
              <a:t>Click to edit Master title style</a:t>
            </a:r>
            <a:endParaRPr lang="en-AU"/>
          </a:p>
        </p:txBody>
      </p:sp>
      <p:sp>
        <p:nvSpPr>
          <p:cNvPr id="3" name="Vertical Text Placeholder 2"/>
          <p:cNvSpPr>
            <a:spLocks noGrp="1"/>
          </p:cNvSpPr>
          <p:nvPr>
            <p:ph type="body" orient="vert" idx="1"/>
          </p:nvPr>
        </p:nvSpPr>
        <p:spPr>
          <a:xfrm>
            <a:off x="404813" y="363141"/>
            <a:ext cx="6078537" cy="41481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Slide Number Placeholder 3"/>
          <p:cNvSpPr>
            <a:spLocks noGrp="1"/>
          </p:cNvSpPr>
          <p:nvPr>
            <p:ph type="sldNum" sz="quarter" idx="10"/>
          </p:nvPr>
        </p:nvSpPr>
        <p:spPr/>
        <p:txBody>
          <a:bodyPr/>
          <a:lstStyle>
            <a:lvl1pPr>
              <a:defRPr/>
            </a:lvl1pPr>
          </a:lstStyle>
          <a:p>
            <a:fld id="{B954F0D8-9DA0-4A93-9E15-DA720F210A85}" type="slidenum">
              <a:rPr lang="sv-SE">
                <a:solidFill>
                  <a:srgbClr val="000000"/>
                </a:solidFill>
              </a:rPr>
              <a:pPr/>
              <a:t>‹#›</a:t>
            </a:fld>
            <a:endParaRPr lang="sv-SE">
              <a:solidFill>
                <a:srgbClr val="000000"/>
              </a:solidFill>
            </a:endParaRPr>
          </a:p>
        </p:txBody>
      </p:sp>
    </p:spTree>
    <p:extLst>
      <p:ext uri="{BB962C8B-B14F-4D97-AF65-F5344CB8AC3E}">
        <p14:creationId xmlns:p14="http://schemas.microsoft.com/office/powerpoint/2010/main" val="2584970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Startpage, pictur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7252" y="790302"/>
            <a:ext cx="9180000" cy="2148261"/>
          </a:xfrm>
          <a:prstGeom prst="rect">
            <a:avLst/>
          </a:prstGeom>
        </p:spPr>
      </p:pic>
      <p:sp>
        <p:nvSpPr>
          <p:cNvPr id="2" name="Rubrik 1"/>
          <p:cNvSpPr>
            <a:spLocks noGrp="1"/>
          </p:cNvSpPr>
          <p:nvPr>
            <p:ph type="ctrTitle" hasCustomPrompt="1"/>
          </p:nvPr>
        </p:nvSpPr>
        <p:spPr>
          <a:xfrm>
            <a:off x="360000" y="180000"/>
            <a:ext cx="7200000" cy="360000"/>
          </a:xfrm>
        </p:spPr>
        <p:txBody>
          <a:bodyPr/>
          <a:lstStyle>
            <a:lvl1pPr>
              <a:defRPr baseline="0"/>
            </a:lvl1pPr>
          </a:lstStyle>
          <a:p>
            <a:r>
              <a:rPr lang="en-US" noProof="0" dirty="0"/>
              <a:t>Headline First line</a:t>
            </a:r>
          </a:p>
        </p:txBody>
      </p:sp>
      <p:sp>
        <p:nvSpPr>
          <p:cNvPr id="3" name="Underrubrik 2"/>
          <p:cNvSpPr>
            <a:spLocks noGrp="1"/>
          </p:cNvSpPr>
          <p:nvPr>
            <p:ph type="subTitle" idx="1" hasCustomPrompt="1"/>
          </p:nvPr>
        </p:nvSpPr>
        <p:spPr>
          <a:xfrm>
            <a:off x="360000" y="540000"/>
            <a:ext cx="7200000" cy="360000"/>
          </a:xfrm>
        </p:spPr>
        <p:txBody>
          <a:bodyPr>
            <a:noAutofit/>
          </a:bodyPr>
          <a:lstStyle>
            <a:lvl1pPr marL="0" indent="0" algn="l">
              <a:lnSpc>
                <a:spcPct val="100000"/>
              </a:lnSpc>
              <a:spcAft>
                <a:spcPts val="0"/>
              </a:spcAft>
              <a:buNone/>
              <a:defRPr sz="2800" cap="all" baseline="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a:t>Headline Second line</a:t>
            </a:r>
          </a:p>
        </p:txBody>
      </p:sp>
      <p:sp>
        <p:nvSpPr>
          <p:cNvPr id="4" name="Platshållare för datum 3"/>
          <p:cNvSpPr>
            <a:spLocks noGrp="1"/>
          </p:cNvSpPr>
          <p:nvPr>
            <p:ph type="dt" sz="half" idx="10"/>
          </p:nvPr>
        </p:nvSpPr>
        <p:spPr/>
        <p:txBody>
          <a:bodyPr/>
          <a:lstStyle/>
          <a:p>
            <a:fld id="{FD53EE5B-179B-42EF-B88C-5BE3C7D22739}" type="datetime1">
              <a:rPr lang="en-US" smtClean="0">
                <a:solidFill>
                  <a:srgbClr val="7F7F7F"/>
                </a:solidFill>
              </a:rPr>
              <a:pPr/>
              <a:t>9/10/2018</a:t>
            </a:fld>
            <a:endParaRPr lang="en-US" dirty="0">
              <a:solidFill>
                <a:srgbClr val="7F7F7F"/>
              </a:solidFill>
            </a:endParaRPr>
          </a:p>
        </p:txBody>
      </p:sp>
      <p:sp>
        <p:nvSpPr>
          <p:cNvPr id="5" name="Platshållare för sidfot 4"/>
          <p:cNvSpPr>
            <a:spLocks noGrp="1"/>
          </p:cNvSpPr>
          <p:nvPr>
            <p:ph type="ftr" sz="quarter" idx="11"/>
          </p:nvPr>
        </p:nvSpPr>
        <p:spPr/>
        <p:txBody>
          <a:bodyPr/>
          <a:lstStyle/>
          <a:p>
            <a:r>
              <a:rPr lang="en-US" dirty="0">
                <a:solidFill>
                  <a:srgbClr val="7F7F7F"/>
                </a:solidFill>
              </a:rPr>
              <a:t>SANDVIK: Title of presentation</a:t>
            </a:r>
          </a:p>
        </p:txBody>
      </p:sp>
      <p:sp>
        <p:nvSpPr>
          <p:cNvPr id="6" name="Platshållare för bildnummer 5"/>
          <p:cNvSpPr>
            <a:spLocks noGrp="1"/>
          </p:cNvSpPr>
          <p:nvPr>
            <p:ph type="sldNum" sz="quarter" idx="12"/>
          </p:nvPr>
        </p:nvSpPr>
        <p:spPr/>
        <p:txBody>
          <a:bodyPr/>
          <a:lstStyle/>
          <a:p>
            <a:fld id="{469B62F1-B431-48B6-8270-02431A1685B7}" type="slidenum">
              <a:rPr lang="en-US" smtClean="0">
                <a:solidFill>
                  <a:srgbClr val="7F7F7F"/>
                </a:solidFill>
              </a:rPr>
              <a:pPr/>
              <a:t>‹#›</a:t>
            </a:fld>
            <a:endParaRPr lang="en-US" dirty="0">
              <a:solidFill>
                <a:srgbClr val="7F7F7F"/>
              </a:solidFill>
            </a:endParaRPr>
          </a:p>
        </p:txBody>
      </p:sp>
      <p:pic>
        <p:nvPicPr>
          <p:cNvPr id="9" name="Bildobjekt 8" descr="SAV_Logo_cyan_RGB300.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894137" y="275166"/>
            <a:ext cx="889863" cy="323998"/>
          </a:xfrm>
          <a:prstGeom prst="rect">
            <a:avLst/>
          </a:prstGeom>
        </p:spPr>
      </p:pic>
      <p:sp>
        <p:nvSpPr>
          <p:cNvPr id="11" name="Picture Placeholder 7"/>
          <p:cNvSpPr>
            <a:spLocks noGrp="1"/>
          </p:cNvSpPr>
          <p:nvPr>
            <p:ph type="pic" sz="quarter" idx="13"/>
          </p:nvPr>
        </p:nvSpPr>
        <p:spPr>
          <a:xfrm>
            <a:off x="0" y="1345763"/>
            <a:ext cx="9144000" cy="3797738"/>
          </a:xfrm>
          <a:custGeom>
            <a:avLst/>
            <a:gdLst>
              <a:gd name="connsiteX0" fmla="*/ 632660 w 9144000"/>
              <a:gd name="connsiteY0" fmla="*/ 0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632660 h 3795886"/>
              <a:gd name="connsiteX8" fmla="*/ 632660 w 9144000"/>
              <a:gd name="connsiteY8" fmla="*/ 0 h 3795886"/>
              <a:gd name="connsiteX0" fmla="*/ 2769178 w 9144000"/>
              <a:gd name="connsiteY0" fmla="*/ 207698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632660 h 3795886"/>
              <a:gd name="connsiteX8" fmla="*/ 2769178 w 9144000"/>
              <a:gd name="connsiteY8" fmla="*/ 207698 h 3795886"/>
              <a:gd name="connsiteX0" fmla="*/ 2769178 w 9144000"/>
              <a:gd name="connsiteY0" fmla="*/ 207698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1397835 h 3795886"/>
              <a:gd name="connsiteX8" fmla="*/ 2769178 w 9144000"/>
              <a:gd name="connsiteY8" fmla="*/ 207698 h 3795886"/>
              <a:gd name="connsiteX0" fmla="*/ 2769178 w 9144000"/>
              <a:gd name="connsiteY0" fmla="*/ 207698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1581985 h 3795886"/>
              <a:gd name="connsiteX8" fmla="*/ 2769178 w 9144000"/>
              <a:gd name="connsiteY8" fmla="*/ 207698 h 3795886"/>
              <a:gd name="connsiteX0" fmla="*/ 2750128 w 9144000"/>
              <a:gd name="connsiteY0" fmla="*/ 1323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1581985 h 3795886"/>
              <a:gd name="connsiteX8" fmla="*/ 2750128 w 9144000"/>
              <a:gd name="connsiteY8" fmla="*/ 1323 h 3795886"/>
              <a:gd name="connsiteX0" fmla="*/ 2753303 w 9144000"/>
              <a:gd name="connsiteY0" fmla="*/ 48948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1581985 h 3795886"/>
              <a:gd name="connsiteX8" fmla="*/ 2753303 w 9144000"/>
              <a:gd name="connsiteY8" fmla="*/ 48948 h 3795886"/>
              <a:gd name="connsiteX0" fmla="*/ 2743778 w 9144000"/>
              <a:gd name="connsiteY0" fmla="*/ 0 h 3797738"/>
              <a:gd name="connsiteX1" fmla="*/ 8511340 w 9144000"/>
              <a:gd name="connsiteY1" fmla="*/ 1852 h 3797738"/>
              <a:gd name="connsiteX2" fmla="*/ 9144000 w 9144000"/>
              <a:gd name="connsiteY2" fmla="*/ 634512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8511340 w 9144000"/>
              <a:gd name="connsiteY1" fmla="*/ 185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20715 w 9144000"/>
              <a:gd name="connsiteY1" fmla="*/ 52890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20715 w 9144000"/>
              <a:gd name="connsiteY1" fmla="*/ 52890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14365 w 9144000"/>
              <a:gd name="connsiteY1" fmla="*/ 57335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20715 w 9144000"/>
              <a:gd name="connsiteY1" fmla="*/ 532077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04840 w 9144000"/>
              <a:gd name="connsiteY1" fmla="*/ 627327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17540 w 9144000"/>
              <a:gd name="connsiteY1" fmla="*/ 52890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44000" h="3797738">
                <a:moveTo>
                  <a:pt x="2743778" y="0"/>
                </a:moveTo>
                <a:lnTo>
                  <a:pt x="7317540" y="528902"/>
                </a:lnTo>
                <a:lnTo>
                  <a:pt x="9144000" y="529737"/>
                </a:lnTo>
                <a:lnTo>
                  <a:pt x="9144000" y="3797738"/>
                </a:lnTo>
                <a:lnTo>
                  <a:pt x="9144000" y="3797738"/>
                </a:lnTo>
                <a:lnTo>
                  <a:pt x="0" y="3797738"/>
                </a:lnTo>
                <a:lnTo>
                  <a:pt x="0" y="3797738"/>
                </a:lnTo>
                <a:lnTo>
                  <a:pt x="0" y="1583837"/>
                </a:lnTo>
                <a:lnTo>
                  <a:pt x="2743778" y="0"/>
                </a:lnTo>
                <a:close/>
              </a:path>
            </a:pathLst>
          </a:custGeom>
          <a:noFill/>
        </p:spPr>
        <p:txBody>
          <a:bodyPr/>
          <a:lstStyle>
            <a:lvl1pPr marL="0" indent="0">
              <a:buNone/>
              <a:defRPr/>
            </a:lvl1pPr>
          </a:lstStyle>
          <a:p>
            <a:r>
              <a:rPr lang="en-US"/>
              <a:t>Click icon to add picture</a:t>
            </a:r>
            <a:endParaRPr lang="sv-SE" dirty="0"/>
          </a:p>
        </p:txBody>
      </p:sp>
      <p:sp>
        <p:nvSpPr>
          <p:cNvPr id="12" name="Rectangular Callout 11"/>
          <p:cNvSpPr/>
          <p:nvPr userDrawn="1"/>
        </p:nvSpPr>
        <p:spPr>
          <a:xfrm>
            <a:off x="9432540" y="-535"/>
            <a:ext cx="1440000" cy="2939097"/>
          </a:xfrm>
          <a:prstGeom prst="wedgeRectCallout">
            <a:avLst>
              <a:gd name="adj1" fmla="val -60810"/>
              <a:gd name="adj2" fmla="val -20925"/>
            </a:avLst>
          </a:prstGeom>
          <a:solidFill>
            <a:srgbClr val="7F7F7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400"/>
            <a:r>
              <a:rPr lang="en-US" sz="800" dirty="0">
                <a:solidFill>
                  <a:prstClr val="white"/>
                </a:solidFill>
              </a:rPr>
              <a:t>We use a two-color headline system to highlight our rational and emotional side alike. The first line appears in blue (the rational side), the second line in orange (the emotional side) and the duality principle is reflected in the wording of the headline.</a:t>
            </a:r>
          </a:p>
          <a:p>
            <a:pPr defTabSz="914400"/>
            <a:endParaRPr lang="en-US" sz="1000" b="1" dirty="0">
              <a:solidFill>
                <a:prstClr val="white"/>
              </a:solidFill>
            </a:endParaRPr>
          </a:p>
          <a:p>
            <a:pPr defTabSz="914400"/>
            <a:r>
              <a:rPr lang="en-US" sz="800" b="1" dirty="0">
                <a:solidFill>
                  <a:prstClr val="white"/>
                </a:solidFill>
              </a:rPr>
              <a:t>This system refers to the first page title only, all other headlines are blue.</a:t>
            </a:r>
          </a:p>
          <a:p>
            <a:pPr defTabSz="914400"/>
            <a:endParaRPr lang="en-US" sz="1000" b="1" dirty="0">
              <a:solidFill>
                <a:prstClr val="white"/>
              </a:solidFill>
            </a:endParaRPr>
          </a:p>
          <a:p>
            <a:pPr defTabSz="914400"/>
            <a:r>
              <a:rPr lang="en-US" sz="800" dirty="0">
                <a:solidFill>
                  <a:prstClr val="white"/>
                </a:solidFill>
              </a:rPr>
              <a:t>Learn more about our verbal identity in the Sandvik Brand Identity Directives, which you can download at the Intranet &gt; home.sandvik.com/brand</a:t>
            </a:r>
          </a:p>
        </p:txBody>
      </p:sp>
    </p:spTree>
    <p:extLst>
      <p:ext uri="{BB962C8B-B14F-4D97-AF65-F5344CB8AC3E}">
        <p14:creationId xmlns:p14="http://schemas.microsoft.com/office/powerpoint/2010/main" val="3648712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Startpage 2, pictur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7252" y="1134000"/>
            <a:ext cx="9180000" cy="1350000"/>
          </a:xfrm>
          <a:prstGeom prst="rect">
            <a:avLst/>
          </a:prstGeom>
        </p:spPr>
      </p:pic>
      <p:sp>
        <p:nvSpPr>
          <p:cNvPr id="2" name="Rubrik 1"/>
          <p:cNvSpPr>
            <a:spLocks noGrp="1"/>
          </p:cNvSpPr>
          <p:nvPr>
            <p:ph type="ctrTitle" hasCustomPrompt="1"/>
          </p:nvPr>
        </p:nvSpPr>
        <p:spPr>
          <a:xfrm>
            <a:off x="360000" y="180000"/>
            <a:ext cx="7200000" cy="360000"/>
          </a:xfrm>
        </p:spPr>
        <p:txBody>
          <a:bodyPr/>
          <a:lstStyle>
            <a:lvl1pPr>
              <a:defRPr baseline="0"/>
            </a:lvl1pPr>
          </a:lstStyle>
          <a:p>
            <a:r>
              <a:rPr lang="en-US" noProof="0" dirty="0"/>
              <a:t>Headline First line</a:t>
            </a:r>
          </a:p>
        </p:txBody>
      </p:sp>
      <p:sp>
        <p:nvSpPr>
          <p:cNvPr id="3" name="Underrubrik 2"/>
          <p:cNvSpPr>
            <a:spLocks noGrp="1"/>
          </p:cNvSpPr>
          <p:nvPr>
            <p:ph type="subTitle" idx="1" hasCustomPrompt="1"/>
          </p:nvPr>
        </p:nvSpPr>
        <p:spPr>
          <a:xfrm>
            <a:off x="360000" y="540000"/>
            <a:ext cx="7200000" cy="360000"/>
          </a:xfrm>
        </p:spPr>
        <p:txBody>
          <a:bodyPr>
            <a:noAutofit/>
          </a:bodyPr>
          <a:lstStyle>
            <a:lvl1pPr marL="0" indent="0" algn="l">
              <a:lnSpc>
                <a:spcPct val="100000"/>
              </a:lnSpc>
              <a:spcAft>
                <a:spcPts val="0"/>
              </a:spcAft>
              <a:buNone/>
              <a:defRPr sz="2800" cap="all" baseline="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a:t>Headline Second line</a:t>
            </a:r>
          </a:p>
        </p:txBody>
      </p:sp>
      <p:sp>
        <p:nvSpPr>
          <p:cNvPr id="4" name="Platshållare för datum 3"/>
          <p:cNvSpPr>
            <a:spLocks noGrp="1"/>
          </p:cNvSpPr>
          <p:nvPr>
            <p:ph type="dt" sz="half" idx="10"/>
          </p:nvPr>
        </p:nvSpPr>
        <p:spPr/>
        <p:txBody>
          <a:bodyPr/>
          <a:lstStyle/>
          <a:p>
            <a:fld id="{FD53EE5B-179B-42EF-B88C-5BE3C7D22739}" type="datetime1">
              <a:rPr lang="en-US" smtClean="0">
                <a:solidFill>
                  <a:srgbClr val="7F7F7F"/>
                </a:solidFill>
              </a:rPr>
              <a:pPr/>
              <a:t>9/10/2018</a:t>
            </a:fld>
            <a:endParaRPr lang="en-US" dirty="0">
              <a:solidFill>
                <a:srgbClr val="7F7F7F"/>
              </a:solidFill>
            </a:endParaRPr>
          </a:p>
        </p:txBody>
      </p:sp>
      <p:sp>
        <p:nvSpPr>
          <p:cNvPr id="5" name="Platshållare för sidfot 4"/>
          <p:cNvSpPr>
            <a:spLocks noGrp="1"/>
          </p:cNvSpPr>
          <p:nvPr>
            <p:ph type="ftr" sz="quarter" idx="11"/>
          </p:nvPr>
        </p:nvSpPr>
        <p:spPr/>
        <p:txBody>
          <a:bodyPr/>
          <a:lstStyle/>
          <a:p>
            <a:r>
              <a:rPr lang="en-US" dirty="0">
                <a:solidFill>
                  <a:srgbClr val="7F7F7F"/>
                </a:solidFill>
              </a:rPr>
              <a:t>SANDVIK: Title of presentation</a:t>
            </a:r>
          </a:p>
        </p:txBody>
      </p:sp>
      <p:sp>
        <p:nvSpPr>
          <p:cNvPr id="6" name="Platshållare för bildnummer 5"/>
          <p:cNvSpPr>
            <a:spLocks noGrp="1"/>
          </p:cNvSpPr>
          <p:nvPr>
            <p:ph type="sldNum" sz="quarter" idx="12"/>
          </p:nvPr>
        </p:nvSpPr>
        <p:spPr/>
        <p:txBody>
          <a:bodyPr/>
          <a:lstStyle/>
          <a:p>
            <a:fld id="{469B62F1-B431-48B6-8270-02431A1685B7}" type="slidenum">
              <a:rPr lang="en-US" smtClean="0">
                <a:solidFill>
                  <a:srgbClr val="7F7F7F"/>
                </a:solidFill>
              </a:rPr>
              <a:pPr/>
              <a:t>‹#›</a:t>
            </a:fld>
            <a:endParaRPr lang="en-US" dirty="0">
              <a:solidFill>
                <a:srgbClr val="7F7F7F"/>
              </a:solidFill>
            </a:endParaRPr>
          </a:p>
        </p:txBody>
      </p:sp>
      <p:pic>
        <p:nvPicPr>
          <p:cNvPr id="9" name="Bildobjekt 8" descr="SAV_Logo_cyan_RGB300.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894137" y="275166"/>
            <a:ext cx="889863" cy="323998"/>
          </a:xfrm>
          <a:prstGeom prst="rect">
            <a:avLst/>
          </a:prstGeom>
        </p:spPr>
      </p:pic>
      <p:sp>
        <p:nvSpPr>
          <p:cNvPr id="11" name="Picture Placeholder 7"/>
          <p:cNvSpPr>
            <a:spLocks noGrp="1"/>
          </p:cNvSpPr>
          <p:nvPr>
            <p:ph type="pic" sz="quarter" idx="13"/>
          </p:nvPr>
        </p:nvSpPr>
        <p:spPr>
          <a:xfrm>
            <a:off x="0" y="1953749"/>
            <a:ext cx="9144000" cy="3189752"/>
          </a:xfrm>
          <a:custGeom>
            <a:avLst/>
            <a:gdLst>
              <a:gd name="connsiteX0" fmla="*/ 530647 w 9144000"/>
              <a:gd name="connsiteY0" fmla="*/ 0 h 3183818"/>
              <a:gd name="connsiteX1" fmla="*/ 8613353 w 9144000"/>
              <a:gd name="connsiteY1" fmla="*/ 0 h 3183818"/>
              <a:gd name="connsiteX2" fmla="*/ 9144000 w 9144000"/>
              <a:gd name="connsiteY2" fmla="*/ 530647 h 3183818"/>
              <a:gd name="connsiteX3" fmla="*/ 9144000 w 9144000"/>
              <a:gd name="connsiteY3" fmla="*/ 3183818 h 3183818"/>
              <a:gd name="connsiteX4" fmla="*/ 9144000 w 9144000"/>
              <a:gd name="connsiteY4" fmla="*/ 3183818 h 3183818"/>
              <a:gd name="connsiteX5" fmla="*/ 0 w 9144000"/>
              <a:gd name="connsiteY5" fmla="*/ 3183818 h 3183818"/>
              <a:gd name="connsiteX6" fmla="*/ 0 w 9144000"/>
              <a:gd name="connsiteY6" fmla="*/ 3183818 h 3183818"/>
              <a:gd name="connsiteX7" fmla="*/ 0 w 9144000"/>
              <a:gd name="connsiteY7" fmla="*/ 530647 h 3183818"/>
              <a:gd name="connsiteX8" fmla="*/ 530647 w 9144000"/>
              <a:gd name="connsiteY8" fmla="*/ 0 h 3183818"/>
              <a:gd name="connsiteX0" fmla="*/ 4115249 w 9144000"/>
              <a:gd name="connsiteY0" fmla="*/ 278909 h 3183818"/>
              <a:gd name="connsiteX1" fmla="*/ 8613353 w 9144000"/>
              <a:gd name="connsiteY1" fmla="*/ 0 h 3183818"/>
              <a:gd name="connsiteX2" fmla="*/ 9144000 w 9144000"/>
              <a:gd name="connsiteY2" fmla="*/ 530647 h 3183818"/>
              <a:gd name="connsiteX3" fmla="*/ 9144000 w 9144000"/>
              <a:gd name="connsiteY3" fmla="*/ 3183818 h 3183818"/>
              <a:gd name="connsiteX4" fmla="*/ 9144000 w 9144000"/>
              <a:gd name="connsiteY4" fmla="*/ 3183818 h 3183818"/>
              <a:gd name="connsiteX5" fmla="*/ 0 w 9144000"/>
              <a:gd name="connsiteY5" fmla="*/ 3183818 h 3183818"/>
              <a:gd name="connsiteX6" fmla="*/ 0 w 9144000"/>
              <a:gd name="connsiteY6" fmla="*/ 3183818 h 3183818"/>
              <a:gd name="connsiteX7" fmla="*/ 0 w 9144000"/>
              <a:gd name="connsiteY7" fmla="*/ 530647 h 3183818"/>
              <a:gd name="connsiteX8" fmla="*/ 4115249 w 9144000"/>
              <a:gd name="connsiteY8" fmla="*/ 278909 h 3183818"/>
              <a:gd name="connsiteX0" fmla="*/ 4115249 w 9144000"/>
              <a:gd name="connsiteY0" fmla="*/ 284843 h 3189752"/>
              <a:gd name="connsiteX1" fmla="*/ 6856661 w 9144000"/>
              <a:gd name="connsiteY1" fmla="*/ 0 h 3189752"/>
              <a:gd name="connsiteX2" fmla="*/ 9144000 w 9144000"/>
              <a:gd name="connsiteY2" fmla="*/ 536581 h 3189752"/>
              <a:gd name="connsiteX3" fmla="*/ 9144000 w 9144000"/>
              <a:gd name="connsiteY3" fmla="*/ 3189752 h 3189752"/>
              <a:gd name="connsiteX4" fmla="*/ 9144000 w 9144000"/>
              <a:gd name="connsiteY4" fmla="*/ 3189752 h 3189752"/>
              <a:gd name="connsiteX5" fmla="*/ 0 w 9144000"/>
              <a:gd name="connsiteY5" fmla="*/ 3189752 h 3189752"/>
              <a:gd name="connsiteX6" fmla="*/ 0 w 9144000"/>
              <a:gd name="connsiteY6" fmla="*/ 3189752 h 3189752"/>
              <a:gd name="connsiteX7" fmla="*/ 0 w 9144000"/>
              <a:gd name="connsiteY7" fmla="*/ 536581 h 3189752"/>
              <a:gd name="connsiteX8" fmla="*/ 4115249 w 9144000"/>
              <a:gd name="connsiteY8" fmla="*/ 284843 h 3189752"/>
              <a:gd name="connsiteX0" fmla="*/ 4115249 w 9144000"/>
              <a:gd name="connsiteY0" fmla="*/ 284843 h 3189752"/>
              <a:gd name="connsiteX1" fmla="*/ 6856661 w 9144000"/>
              <a:gd name="connsiteY1" fmla="*/ 0 h 3189752"/>
              <a:gd name="connsiteX2" fmla="*/ 9144000 w 9144000"/>
              <a:gd name="connsiteY2" fmla="*/ 536581 h 3189752"/>
              <a:gd name="connsiteX3" fmla="*/ 9144000 w 9144000"/>
              <a:gd name="connsiteY3" fmla="*/ 3189752 h 3189752"/>
              <a:gd name="connsiteX4" fmla="*/ 9144000 w 9144000"/>
              <a:gd name="connsiteY4" fmla="*/ 3189752 h 3189752"/>
              <a:gd name="connsiteX5" fmla="*/ 0 w 9144000"/>
              <a:gd name="connsiteY5" fmla="*/ 3189752 h 3189752"/>
              <a:gd name="connsiteX6" fmla="*/ 0 w 9144000"/>
              <a:gd name="connsiteY6" fmla="*/ 3189752 h 3189752"/>
              <a:gd name="connsiteX7" fmla="*/ 0 w 9144000"/>
              <a:gd name="connsiteY7" fmla="*/ 527056 h 3189752"/>
              <a:gd name="connsiteX8" fmla="*/ 4115249 w 9144000"/>
              <a:gd name="connsiteY8" fmla="*/ 284843 h 3189752"/>
              <a:gd name="connsiteX0" fmla="*/ 4115249 w 9144000"/>
              <a:gd name="connsiteY0" fmla="*/ 284843 h 3189752"/>
              <a:gd name="connsiteX1" fmla="*/ 6856661 w 9144000"/>
              <a:gd name="connsiteY1" fmla="*/ 0 h 3189752"/>
              <a:gd name="connsiteX2" fmla="*/ 9144000 w 9144000"/>
              <a:gd name="connsiteY2" fmla="*/ 536581 h 3189752"/>
              <a:gd name="connsiteX3" fmla="*/ 9144000 w 9144000"/>
              <a:gd name="connsiteY3" fmla="*/ 3189752 h 3189752"/>
              <a:gd name="connsiteX4" fmla="*/ 9144000 w 9144000"/>
              <a:gd name="connsiteY4" fmla="*/ 3189752 h 3189752"/>
              <a:gd name="connsiteX5" fmla="*/ 0 w 9144000"/>
              <a:gd name="connsiteY5" fmla="*/ 3189752 h 3189752"/>
              <a:gd name="connsiteX6" fmla="*/ 0 w 9144000"/>
              <a:gd name="connsiteY6" fmla="*/ 3189752 h 3189752"/>
              <a:gd name="connsiteX7" fmla="*/ 0 w 9144000"/>
              <a:gd name="connsiteY7" fmla="*/ 511181 h 3189752"/>
              <a:gd name="connsiteX8" fmla="*/ 4115249 w 9144000"/>
              <a:gd name="connsiteY8" fmla="*/ 284843 h 3189752"/>
              <a:gd name="connsiteX0" fmla="*/ 4115249 w 9144000"/>
              <a:gd name="connsiteY0" fmla="*/ 284843 h 3189752"/>
              <a:gd name="connsiteX1" fmla="*/ 6856661 w 9144000"/>
              <a:gd name="connsiteY1" fmla="*/ 0 h 3189752"/>
              <a:gd name="connsiteX2" fmla="*/ 9144000 w 9144000"/>
              <a:gd name="connsiteY2" fmla="*/ 536581 h 3189752"/>
              <a:gd name="connsiteX3" fmla="*/ 9144000 w 9144000"/>
              <a:gd name="connsiteY3" fmla="*/ 3189752 h 3189752"/>
              <a:gd name="connsiteX4" fmla="*/ 9144000 w 9144000"/>
              <a:gd name="connsiteY4" fmla="*/ 3189752 h 3189752"/>
              <a:gd name="connsiteX5" fmla="*/ 0 w 9144000"/>
              <a:gd name="connsiteY5" fmla="*/ 3189752 h 3189752"/>
              <a:gd name="connsiteX6" fmla="*/ 0 w 9144000"/>
              <a:gd name="connsiteY6" fmla="*/ 3189752 h 3189752"/>
              <a:gd name="connsiteX7" fmla="*/ 0 w 9144000"/>
              <a:gd name="connsiteY7" fmla="*/ 527056 h 3189752"/>
              <a:gd name="connsiteX8" fmla="*/ 4115249 w 9144000"/>
              <a:gd name="connsiteY8" fmla="*/ 284843 h 3189752"/>
              <a:gd name="connsiteX0" fmla="*/ 4115249 w 9144000"/>
              <a:gd name="connsiteY0" fmla="*/ 284843 h 3189752"/>
              <a:gd name="connsiteX1" fmla="*/ 6856661 w 9144000"/>
              <a:gd name="connsiteY1" fmla="*/ 0 h 3189752"/>
              <a:gd name="connsiteX2" fmla="*/ 9144000 w 9144000"/>
              <a:gd name="connsiteY2" fmla="*/ 536581 h 3189752"/>
              <a:gd name="connsiteX3" fmla="*/ 9144000 w 9144000"/>
              <a:gd name="connsiteY3" fmla="*/ 3189752 h 3189752"/>
              <a:gd name="connsiteX4" fmla="*/ 9144000 w 9144000"/>
              <a:gd name="connsiteY4" fmla="*/ 3189752 h 3189752"/>
              <a:gd name="connsiteX5" fmla="*/ 0 w 9144000"/>
              <a:gd name="connsiteY5" fmla="*/ 3189752 h 3189752"/>
              <a:gd name="connsiteX6" fmla="*/ 0 w 9144000"/>
              <a:gd name="connsiteY6" fmla="*/ 3189752 h 3189752"/>
              <a:gd name="connsiteX7" fmla="*/ 0 w 9144000"/>
              <a:gd name="connsiteY7" fmla="*/ 508006 h 3189752"/>
              <a:gd name="connsiteX8" fmla="*/ 4115249 w 9144000"/>
              <a:gd name="connsiteY8" fmla="*/ 284843 h 3189752"/>
              <a:gd name="connsiteX0" fmla="*/ 4115249 w 9144000"/>
              <a:gd name="connsiteY0" fmla="*/ 284843 h 3189752"/>
              <a:gd name="connsiteX1" fmla="*/ 6856661 w 9144000"/>
              <a:gd name="connsiteY1" fmla="*/ 0 h 3189752"/>
              <a:gd name="connsiteX2" fmla="*/ 9144000 w 9144000"/>
              <a:gd name="connsiteY2" fmla="*/ 536581 h 3189752"/>
              <a:gd name="connsiteX3" fmla="*/ 9144000 w 9144000"/>
              <a:gd name="connsiteY3" fmla="*/ 3189752 h 3189752"/>
              <a:gd name="connsiteX4" fmla="*/ 9144000 w 9144000"/>
              <a:gd name="connsiteY4" fmla="*/ 3189752 h 3189752"/>
              <a:gd name="connsiteX5" fmla="*/ 0 w 9144000"/>
              <a:gd name="connsiteY5" fmla="*/ 3189752 h 3189752"/>
              <a:gd name="connsiteX6" fmla="*/ 0 w 9144000"/>
              <a:gd name="connsiteY6" fmla="*/ 3189752 h 3189752"/>
              <a:gd name="connsiteX7" fmla="*/ 0 w 9144000"/>
              <a:gd name="connsiteY7" fmla="*/ 523881 h 3189752"/>
              <a:gd name="connsiteX8" fmla="*/ 4115249 w 9144000"/>
              <a:gd name="connsiteY8" fmla="*/ 284843 h 3189752"/>
              <a:gd name="connsiteX0" fmla="*/ 4118424 w 9144000"/>
              <a:gd name="connsiteY0" fmla="*/ 262618 h 3189752"/>
              <a:gd name="connsiteX1" fmla="*/ 6856661 w 9144000"/>
              <a:gd name="connsiteY1" fmla="*/ 0 h 3189752"/>
              <a:gd name="connsiteX2" fmla="*/ 9144000 w 9144000"/>
              <a:gd name="connsiteY2" fmla="*/ 536581 h 3189752"/>
              <a:gd name="connsiteX3" fmla="*/ 9144000 w 9144000"/>
              <a:gd name="connsiteY3" fmla="*/ 3189752 h 3189752"/>
              <a:gd name="connsiteX4" fmla="*/ 9144000 w 9144000"/>
              <a:gd name="connsiteY4" fmla="*/ 3189752 h 3189752"/>
              <a:gd name="connsiteX5" fmla="*/ 0 w 9144000"/>
              <a:gd name="connsiteY5" fmla="*/ 3189752 h 3189752"/>
              <a:gd name="connsiteX6" fmla="*/ 0 w 9144000"/>
              <a:gd name="connsiteY6" fmla="*/ 3189752 h 3189752"/>
              <a:gd name="connsiteX7" fmla="*/ 0 w 9144000"/>
              <a:gd name="connsiteY7" fmla="*/ 523881 h 3189752"/>
              <a:gd name="connsiteX8" fmla="*/ 4118424 w 9144000"/>
              <a:gd name="connsiteY8" fmla="*/ 262618 h 3189752"/>
              <a:gd name="connsiteX0" fmla="*/ 4118424 w 9144000"/>
              <a:gd name="connsiteY0" fmla="*/ 265787 h 3192921"/>
              <a:gd name="connsiteX1" fmla="*/ 6856661 w 9144000"/>
              <a:gd name="connsiteY1" fmla="*/ 3169 h 3192921"/>
              <a:gd name="connsiteX2" fmla="*/ 9144000 w 9144000"/>
              <a:gd name="connsiteY2" fmla="*/ 0 h 3192921"/>
              <a:gd name="connsiteX3" fmla="*/ 9144000 w 9144000"/>
              <a:gd name="connsiteY3" fmla="*/ 3192921 h 3192921"/>
              <a:gd name="connsiteX4" fmla="*/ 9144000 w 9144000"/>
              <a:gd name="connsiteY4" fmla="*/ 3192921 h 3192921"/>
              <a:gd name="connsiteX5" fmla="*/ 0 w 9144000"/>
              <a:gd name="connsiteY5" fmla="*/ 3192921 h 3192921"/>
              <a:gd name="connsiteX6" fmla="*/ 0 w 9144000"/>
              <a:gd name="connsiteY6" fmla="*/ 3192921 h 3192921"/>
              <a:gd name="connsiteX7" fmla="*/ 0 w 9144000"/>
              <a:gd name="connsiteY7" fmla="*/ 527050 h 3192921"/>
              <a:gd name="connsiteX8" fmla="*/ 4118424 w 9144000"/>
              <a:gd name="connsiteY8" fmla="*/ 265787 h 3192921"/>
              <a:gd name="connsiteX0" fmla="*/ 4118424 w 9144000"/>
              <a:gd name="connsiteY0" fmla="*/ 265787 h 3192921"/>
              <a:gd name="connsiteX1" fmla="*/ 6863011 w 9144000"/>
              <a:gd name="connsiteY1" fmla="*/ 111119 h 3192921"/>
              <a:gd name="connsiteX2" fmla="*/ 9144000 w 9144000"/>
              <a:gd name="connsiteY2" fmla="*/ 0 h 3192921"/>
              <a:gd name="connsiteX3" fmla="*/ 9144000 w 9144000"/>
              <a:gd name="connsiteY3" fmla="*/ 3192921 h 3192921"/>
              <a:gd name="connsiteX4" fmla="*/ 9144000 w 9144000"/>
              <a:gd name="connsiteY4" fmla="*/ 3192921 h 3192921"/>
              <a:gd name="connsiteX5" fmla="*/ 0 w 9144000"/>
              <a:gd name="connsiteY5" fmla="*/ 3192921 h 3192921"/>
              <a:gd name="connsiteX6" fmla="*/ 0 w 9144000"/>
              <a:gd name="connsiteY6" fmla="*/ 3192921 h 3192921"/>
              <a:gd name="connsiteX7" fmla="*/ 0 w 9144000"/>
              <a:gd name="connsiteY7" fmla="*/ 527050 h 3192921"/>
              <a:gd name="connsiteX8" fmla="*/ 4118424 w 9144000"/>
              <a:gd name="connsiteY8" fmla="*/ 265787 h 3192921"/>
              <a:gd name="connsiteX0" fmla="*/ 4118424 w 9144000"/>
              <a:gd name="connsiteY0" fmla="*/ 265787 h 3192921"/>
              <a:gd name="connsiteX1" fmla="*/ 6856661 w 9144000"/>
              <a:gd name="connsiteY1" fmla="*/ 3169 h 3192921"/>
              <a:gd name="connsiteX2" fmla="*/ 9144000 w 9144000"/>
              <a:gd name="connsiteY2" fmla="*/ 0 h 3192921"/>
              <a:gd name="connsiteX3" fmla="*/ 9144000 w 9144000"/>
              <a:gd name="connsiteY3" fmla="*/ 3192921 h 3192921"/>
              <a:gd name="connsiteX4" fmla="*/ 9144000 w 9144000"/>
              <a:gd name="connsiteY4" fmla="*/ 3192921 h 3192921"/>
              <a:gd name="connsiteX5" fmla="*/ 0 w 9144000"/>
              <a:gd name="connsiteY5" fmla="*/ 3192921 h 3192921"/>
              <a:gd name="connsiteX6" fmla="*/ 0 w 9144000"/>
              <a:gd name="connsiteY6" fmla="*/ 3192921 h 3192921"/>
              <a:gd name="connsiteX7" fmla="*/ 0 w 9144000"/>
              <a:gd name="connsiteY7" fmla="*/ 527050 h 3192921"/>
              <a:gd name="connsiteX8" fmla="*/ 4118424 w 9144000"/>
              <a:gd name="connsiteY8" fmla="*/ 265787 h 3192921"/>
              <a:gd name="connsiteX0" fmla="*/ 4118424 w 9144000"/>
              <a:gd name="connsiteY0" fmla="*/ 262618 h 3189752"/>
              <a:gd name="connsiteX1" fmla="*/ 6856661 w 9144000"/>
              <a:gd name="connsiteY1" fmla="*/ 0 h 3189752"/>
              <a:gd name="connsiteX2" fmla="*/ 9144000 w 9144000"/>
              <a:gd name="connsiteY2" fmla="*/ 9531 h 3189752"/>
              <a:gd name="connsiteX3" fmla="*/ 9144000 w 9144000"/>
              <a:gd name="connsiteY3" fmla="*/ 3189752 h 3189752"/>
              <a:gd name="connsiteX4" fmla="*/ 9144000 w 9144000"/>
              <a:gd name="connsiteY4" fmla="*/ 3189752 h 3189752"/>
              <a:gd name="connsiteX5" fmla="*/ 0 w 9144000"/>
              <a:gd name="connsiteY5" fmla="*/ 3189752 h 3189752"/>
              <a:gd name="connsiteX6" fmla="*/ 0 w 9144000"/>
              <a:gd name="connsiteY6" fmla="*/ 3189752 h 3189752"/>
              <a:gd name="connsiteX7" fmla="*/ 0 w 9144000"/>
              <a:gd name="connsiteY7" fmla="*/ 523881 h 3189752"/>
              <a:gd name="connsiteX8" fmla="*/ 4118424 w 9144000"/>
              <a:gd name="connsiteY8" fmla="*/ 262618 h 3189752"/>
              <a:gd name="connsiteX0" fmla="*/ 4118424 w 9144000"/>
              <a:gd name="connsiteY0" fmla="*/ 262618 h 3189752"/>
              <a:gd name="connsiteX1" fmla="*/ 6856661 w 9144000"/>
              <a:gd name="connsiteY1" fmla="*/ 0 h 3189752"/>
              <a:gd name="connsiteX2" fmla="*/ 9144000 w 9144000"/>
              <a:gd name="connsiteY2" fmla="*/ 6 h 3189752"/>
              <a:gd name="connsiteX3" fmla="*/ 9144000 w 9144000"/>
              <a:gd name="connsiteY3" fmla="*/ 3189752 h 3189752"/>
              <a:gd name="connsiteX4" fmla="*/ 9144000 w 9144000"/>
              <a:gd name="connsiteY4" fmla="*/ 3189752 h 3189752"/>
              <a:gd name="connsiteX5" fmla="*/ 0 w 9144000"/>
              <a:gd name="connsiteY5" fmla="*/ 3189752 h 3189752"/>
              <a:gd name="connsiteX6" fmla="*/ 0 w 9144000"/>
              <a:gd name="connsiteY6" fmla="*/ 3189752 h 3189752"/>
              <a:gd name="connsiteX7" fmla="*/ 0 w 9144000"/>
              <a:gd name="connsiteY7" fmla="*/ 523881 h 3189752"/>
              <a:gd name="connsiteX8" fmla="*/ 4118424 w 9144000"/>
              <a:gd name="connsiteY8" fmla="*/ 262618 h 3189752"/>
              <a:gd name="connsiteX0" fmla="*/ 4118424 w 9144000"/>
              <a:gd name="connsiteY0" fmla="*/ 262618 h 3189752"/>
              <a:gd name="connsiteX1" fmla="*/ 6856661 w 9144000"/>
              <a:gd name="connsiteY1" fmla="*/ 0 h 3189752"/>
              <a:gd name="connsiteX2" fmla="*/ 9144000 w 9144000"/>
              <a:gd name="connsiteY2" fmla="*/ 6 h 3189752"/>
              <a:gd name="connsiteX3" fmla="*/ 9144000 w 9144000"/>
              <a:gd name="connsiteY3" fmla="*/ 3189752 h 3189752"/>
              <a:gd name="connsiteX4" fmla="*/ 9144000 w 9144000"/>
              <a:gd name="connsiteY4" fmla="*/ 3189752 h 3189752"/>
              <a:gd name="connsiteX5" fmla="*/ 0 w 9144000"/>
              <a:gd name="connsiteY5" fmla="*/ 3189752 h 3189752"/>
              <a:gd name="connsiteX6" fmla="*/ 0 w 9144000"/>
              <a:gd name="connsiteY6" fmla="*/ 3189752 h 3189752"/>
              <a:gd name="connsiteX7" fmla="*/ 0 w 9144000"/>
              <a:gd name="connsiteY7" fmla="*/ 536581 h 3189752"/>
              <a:gd name="connsiteX8" fmla="*/ 4118424 w 9144000"/>
              <a:gd name="connsiteY8" fmla="*/ 262618 h 3189752"/>
              <a:gd name="connsiteX0" fmla="*/ 4118424 w 9144000"/>
              <a:gd name="connsiteY0" fmla="*/ 262618 h 3189752"/>
              <a:gd name="connsiteX1" fmla="*/ 6856661 w 9144000"/>
              <a:gd name="connsiteY1" fmla="*/ 0 h 3189752"/>
              <a:gd name="connsiteX2" fmla="*/ 9144000 w 9144000"/>
              <a:gd name="connsiteY2" fmla="*/ 6 h 3189752"/>
              <a:gd name="connsiteX3" fmla="*/ 9144000 w 9144000"/>
              <a:gd name="connsiteY3" fmla="*/ 3189752 h 3189752"/>
              <a:gd name="connsiteX4" fmla="*/ 9144000 w 9144000"/>
              <a:gd name="connsiteY4" fmla="*/ 3189752 h 3189752"/>
              <a:gd name="connsiteX5" fmla="*/ 0 w 9144000"/>
              <a:gd name="connsiteY5" fmla="*/ 3189752 h 3189752"/>
              <a:gd name="connsiteX6" fmla="*/ 0 w 9144000"/>
              <a:gd name="connsiteY6" fmla="*/ 3189752 h 3189752"/>
              <a:gd name="connsiteX7" fmla="*/ 0 w 9144000"/>
              <a:gd name="connsiteY7" fmla="*/ 527056 h 3189752"/>
              <a:gd name="connsiteX8" fmla="*/ 4118424 w 9144000"/>
              <a:gd name="connsiteY8" fmla="*/ 262618 h 3189752"/>
              <a:gd name="connsiteX0" fmla="*/ 4118424 w 9144000"/>
              <a:gd name="connsiteY0" fmla="*/ 262618 h 3189752"/>
              <a:gd name="connsiteX1" fmla="*/ 6856661 w 9144000"/>
              <a:gd name="connsiteY1" fmla="*/ 0 h 3189752"/>
              <a:gd name="connsiteX2" fmla="*/ 9144000 w 9144000"/>
              <a:gd name="connsiteY2" fmla="*/ 6 h 3189752"/>
              <a:gd name="connsiteX3" fmla="*/ 9144000 w 9144000"/>
              <a:gd name="connsiteY3" fmla="*/ 3189752 h 3189752"/>
              <a:gd name="connsiteX4" fmla="*/ 9144000 w 9144000"/>
              <a:gd name="connsiteY4" fmla="*/ 3189752 h 3189752"/>
              <a:gd name="connsiteX5" fmla="*/ 0 w 9144000"/>
              <a:gd name="connsiteY5" fmla="*/ 3189752 h 3189752"/>
              <a:gd name="connsiteX6" fmla="*/ 0 w 9144000"/>
              <a:gd name="connsiteY6" fmla="*/ 3189752 h 3189752"/>
              <a:gd name="connsiteX7" fmla="*/ 41275 w 9144000"/>
              <a:gd name="connsiteY7" fmla="*/ 533406 h 3189752"/>
              <a:gd name="connsiteX8" fmla="*/ 4118424 w 9144000"/>
              <a:gd name="connsiteY8" fmla="*/ 262618 h 3189752"/>
              <a:gd name="connsiteX0" fmla="*/ 4118424 w 9144000"/>
              <a:gd name="connsiteY0" fmla="*/ 262618 h 3189752"/>
              <a:gd name="connsiteX1" fmla="*/ 6856661 w 9144000"/>
              <a:gd name="connsiteY1" fmla="*/ 0 h 3189752"/>
              <a:gd name="connsiteX2" fmla="*/ 9144000 w 9144000"/>
              <a:gd name="connsiteY2" fmla="*/ 6 h 3189752"/>
              <a:gd name="connsiteX3" fmla="*/ 9144000 w 9144000"/>
              <a:gd name="connsiteY3" fmla="*/ 3189752 h 3189752"/>
              <a:gd name="connsiteX4" fmla="*/ 9144000 w 9144000"/>
              <a:gd name="connsiteY4" fmla="*/ 3189752 h 3189752"/>
              <a:gd name="connsiteX5" fmla="*/ 0 w 9144000"/>
              <a:gd name="connsiteY5" fmla="*/ 3189752 h 3189752"/>
              <a:gd name="connsiteX6" fmla="*/ 0 w 9144000"/>
              <a:gd name="connsiteY6" fmla="*/ 3189752 h 3189752"/>
              <a:gd name="connsiteX7" fmla="*/ 3175 w 9144000"/>
              <a:gd name="connsiteY7" fmla="*/ 530231 h 3189752"/>
              <a:gd name="connsiteX8" fmla="*/ 4118424 w 9144000"/>
              <a:gd name="connsiteY8" fmla="*/ 262618 h 3189752"/>
              <a:gd name="connsiteX0" fmla="*/ 4118424 w 9144000"/>
              <a:gd name="connsiteY0" fmla="*/ 262618 h 3189752"/>
              <a:gd name="connsiteX1" fmla="*/ 6856661 w 9144000"/>
              <a:gd name="connsiteY1" fmla="*/ 0 h 3189752"/>
              <a:gd name="connsiteX2" fmla="*/ 9144000 w 9144000"/>
              <a:gd name="connsiteY2" fmla="*/ 6 h 3189752"/>
              <a:gd name="connsiteX3" fmla="*/ 9144000 w 9144000"/>
              <a:gd name="connsiteY3" fmla="*/ 3189752 h 3189752"/>
              <a:gd name="connsiteX4" fmla="*/ 9144000 w 9144000"/>
              <a:gd name="connsiteY4" fmla="*/ 3189752 h 3189752"/>
              <a:gd name="connsiteX5" fmla="*/ 0 w 9144000"/>
              <a:gd name="connsiteY5" fmla="*/ 3189752 h 3189752"/>
              <a:gd name="connsiteX6" fmla="*/ 0 w 9144000"/>
              <a:gd name="connsiteY6" fmla="*/ 3189752 h 3189752"/>
              <a:gd name="connsiteX7" fmla="*/ 3175 w 9144000"/>
              <a:gd name="connsiteY7" fmla="*/ 523881 h 3189752"/>
              <a:gd name="connsiteX8" fmla="*/ 4118424 w 9144000"/>
              <a:gd name="connsiteY8" fmla="*/ 262618 h 3189752"/>
              <a:gd name="connsiteX0" fmla="*/ 4118424 w 9144000"/>
              <a:gd name="connsiteY0" fmla="*/ 262618 h 3189752"/>
              <a:gd name="connsiteX1" fmla="*/ 6856661 w 9144000"/>
              <a:gd name="connsiteY1" fmla="*/ 0 h 3189752"/>
              <a:gd name="connsiteX2" fmla="*/ 9144000 w 9144000"/>
              <a:gd name="connsiteY2" fmla="*/ 6 h 3189752"/>
              <a:gd name="connsiteX3" fmla="*/ 9144000 w 9144000"/>
              <a:gd name="connsiteY3" fmla="*/ 3189752 h 3189752"/>
              <a:gd name="connsiteX4" fmla="*/ 9144000 w 9144000"/>
              <a:gd name="connsiteY4" fmla="*/ 3189752 h 3189752"/>
              <a:gd name="connsiteX5" fmla="*/ 0 w 9144000"/>
              <a:gd name="connsiteY5" fmla="*/ 3189752 h 3189752"/>
              <a:gd name="connsiteX6" fmla="*/ 0 w 9144000"/>
              <a:gd name="connsiteY6" fmla="*/ 3189752 h 3189752"/>
              <a:gd name="connsiteX7" fmla="*/ 3175 w 9144000"/>
              <a:gd name="connsiteY7" fmla="*/ 558806 h 3189752"/>
              <a:gd name="connsiteX8" fmla="*/ 4118424 w 9144000"/>
              <a:gd name="connsiteY8" fmla="*/ 262618 h 3189752"/>
              <a:gd name="connsiteX0" fmla="*/ 4118424 w 9144000"/>
              <a:gd name="connsiteY0" fmla="*/ 262618 h 3189752"/>
              <a:gd name="connsiteX1" fmla="*/ 6856661 w 9144000"/>
              <a:gd name="connsiteY1" fmla="*/ 0 h 3189752"/>
              <a:gd name="connsiteX2" fmla="*/ 9144000 w 9144000"/>
              <a:gd name="connsiteY2" fmla="*/ 6 h 3189752"/>
              <a:gd name="connsiteX3" fmla="*/ 9144000 w 9144000"/>
              <a:gd name="connsiteY3" fmla="*/ 3189752 h 3189752"/>
              <a:gd name="connsiteX4" fmla="*/ 9144000 w 9144000"/>
              <a:gd name="connsiteY4" fmla="*/ 3189752 h 3189752"/>
              <a:gd name="connsiteX5" fmla="*/ 0 w 9144000"/>
              <a:gd name="connsiteY5" fmla="*/ 3189752 h 3189752"/>
              <a:gd name="connsiteX6" fmla="*/ 0 w 9144000"/>
              <a:gd name="connsiteY6" fmla="*/ 3189752 h 3189752"/>
              <a:gd name="connsiteX7" fmla="*/ 3175 w 9144000"/>
              <a:gd name="connsiteY7" fmla="*/ 527056 h 3189752"/>
              <a:gd name="connsiteX8" fmla="*/ 4118424 w 9144000"/>
              <a:gd name="connsiteY8" fmla="*/ 262618 h 3189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44000" h="3189752">
                <a:moveTo>
                  <a:pt x="4118424" y="262618"/>
                </a:moveTo>
                <a:lnTo>
                  <a:pt x="6856661" y="0"/>
                </a:lnTo>
                <a:lnTo>
                  <a:pt x="9144000" y="6"/>
                </a:lnTo>
                <a:lnTo>
                  <a:pt x="9144000" y="3189752"/>
                </a:lnTo>
                <a:lnTo>
                  <a:pt x="9144000" y="3189752"/>
                </a:lnTo>
                <a:lnTo>
                  <a:pt x="0" y="3189752"/>
                </a:lnTo>
                <a:lnTo>
                  <a:pt x="0" y="3189752"/>
                </a:lnTo>
                <a:cubicBezTo>
                  <a:pt x="1058" y="2303245"/>
                  <a:pt x="2117" y="1413563"/>
                  <a:pt x="3175" y="527056"/>
                </a:cubicBezTo>
                <a:lnTo>
                  <a:pt x="4118424" y="262618"/>
                </a:lnTo>
                <a:close/>
              </a:path>
            </a:pathLst>
          </a:custGeom>
          <a:noFill/>
        </p:spPr>
        <p:txBody>
          <a:bodyPr/>
          <a:lstStyle>
            <a:lvl1pPr marL="0" indent="0">
              <a:buNone/>
              <a:defRPr/>
            </a:lvl1pPr>
          </a:lstStyle>
          <a:p>
            <a:r>
              <a:rPr lang="en-US"/>
              <a:t>Click icon to add picture</a:t>
            </a:r>
            <a:endParaRPr lang="sv-SE" dirty="0"/>
          </a:p>
        </p:txBody>
      </p:sp>
      <p:sp>
        <p:nvSpPr>
          <p:cNvPr id="12" name="Rectangular Callout 11"/>
          <p:cNvSpPr/>
          <p:nvPr userDrawn="1"/>
        </p:nvSpPr>
        <p:spPr>
          <a:xfrm>
            <a:off x="9432540" y="-535"/>
            <a:ext cx="1440000" cy="2939097"/>
          </a:xfrm>
          <a:prstGeom prst="wedgeRectCallout">
            <a:avLst>
              <a:gd name="adj1" fmla="val -60810"/>
              <a:gd name="adj2" fmla="val -20925"/>
            </a:avLst>
          </a:prstGeom>
          <a:solidFill>
            <a:srgbClr val="7F7F7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400"/>
            <a:r>
              <a:rPr lang="en-US" sz="800" dirty="0">
                <a:solidFill>
                  <a:prstClr val="white"/>
                </a:solidFill>
              </a:rPr>
              <a:t>We use a two-color headline system to highlight our rational and emotional side alike. The first line appears in blue (the rational side), the second line in orange (the emotional side) and the duality principle is reflected in the wording of the headline.</a:t>
            </a:r>
          </a:p>
          <a:p>
            <a:pPr defTabSz="914400"/>
            <a:endParaRPr lang="en-US" sz="1000" b="1" dirty="0">
              <a:solidFill>
                <a:prstClr val="white"/>
              </a:solidFill>
            </a:endParaRPr>
          </a:p>
          <a:p>
            <a:pPr defTabSz="914400"/>
            <a:r>
              <a:rPr lang="en-US" sz="800" b="1" dirty="0">
                <a:solidFill>
                  <a:prstClr val="white"/>
                </a:solidFill>
              </a:rPr>
              <a:t>This system refers to the first page title only, all other headlines are blue.</a:t>
            </a:r>
          </a:p>
          <a:p>
            <a:pPr defTabSz="914400"/>
            <a:endParaRPr lang="en-US" sz="1000" b="1" dirty="0">
              <a:solidFill>
                <a:prstClr val="white"/>
              </a:solidFill>
            </a:endParaRPr>
          </a:p>
          <a:p>
            <a:pPr defTabSz="914400"/>
            <a:r>
              <a:rPr lang="en-US" sz="800" dirty="0">
                <a:solidFill>
                  <a:prstClr val="white"/>
                </a:solidFill>
              </a:rPr>
              <a:t>Learn more about our verbal identity in the Sandvik Brand Identity Directives, which you can download at the Intranet &gt; home.sandvik.com/brand</a:t>
            </a:r>
          </a:p>
        </p:txBody>
      </p:sp>
    </p:spTree>
    <p:extLst>
      <p:ext uri="{BB962C8B-B14F-4D97-AF65-F5344CB8AC3E}">
        <p14:creationId xmlns:p14="http://schemas.microsoft.com/office/powerpoint/2010/main" val="804796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p:cSld name="Startpage orange, no picture">
    <p:bg>
      <p:bgRef idx="1001">
        <a:schemeClr val="bg1"/>
      </p:bgRef>
    </p:bg>
    <p:spTree>
      <p:nvGrpSpPr>
        <p:cNvPr id="1" name=""/>
        <p:cNvGrpSpPr/>
        <p:nvPr/>
      </p:nvGrpSpPr>
      <p:grpSpPr>
        <a:xfrm>
          <a:off x="0" y="0"/>
          <a:ext cx="0" cy="0"/>
          <a:chOff x="0" y="0"/>
          <a:chExt cx="0" cy="0"/>
        </a:xfrm>
      </p:grpSpPr>
      <p:pic>
        <p:nvPicPr>
          <p:cNvPr id="11"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5030" y="601951"/>
            <a:ext cx="9177588" cy="4559290"/>
          </a:xfrm>
          <a:prstGeom prst="rect">
            <a:avLst/>
          </a:prstGeom>
        </p:spPr>
      </p:pic>
      <p:sp>
        <p:nvSpPr>
          <p:cNvPr id="2" name="Rubrik 1"/>
          <p:cNvSpPr>
            <a:spLocks noGrp="1"/>
          </p:cNvSpPr>
          <p:nvPr>
            <p:ph type="ctrTitle" hasCustomPrompt="1"/>
          </p:nvPr>
        </p:nvSpPr>
        <p:spPr>
          <a:xfrm>
            <a:off x="360000" y="1259250"/>
            <a:ext cx="8424000" cy="360000"/>
          </a:xfrm>
        </p:spPr>
        <p:txBody>
          <a:bodyPr/>
          <a:lstStyle>
            <a:lvl1pPr>
              <a:defRPr baseline="0"/>
            </a:lvl1pPr>
          </a:lstStyle>
          <a:p>
            <a:r>
              <a:rPr lang="en-US" noProof="0" dirty="0"/>
              <a:t>Headline First line</a:t>
            </a:r>
          </a:p>
        </p:txBody>
      </p:sp>
      <p:sp>
        <p:nvSpPr>
          <p:cNvPr id="3" name="Underrubrik 2"/>
          <p:cNvSpPr>
            <a:spLocks noGrp="1"/>
          </p:cNvSpPr>
          <p:nvPr>
            <p:ph type="subTitle" idx="1" hasCustomPrompt="1"/>
          </p:nvPr>
        </p:nvSpPr>
        <p:spPr>
          <a:xfrm>
            <a:off x="360000" y="1619250"/>
            <a:ext cx="8424000" cy="360000"/>
          </a:xfrm>
        </p:spPr>
        <p:txBody>
          <a:bodyPr>
            <a:noAutofit/>
          </a:bodyPr>
          <a:lstStyle>
            <a:lvl1pPr marL="0" indent="0" algn="l">
              <a:lnSpc>
                <a:spcPct val="100000"/>
              </a:lnSpc>
              <a:spcAft>
                <a:spcPts val="0"/>
              </a:spcAft>
              <a:buNone/>
              <a:defRPr sz="2800" cap="all" baseline="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a:t>Headline Second line</a:t>
            </a:r>
          </a:p>
        </p:txBody>
      </p:sp>
      <p:sp>
        <p:nvSpPr>
          <p:cNvPr id="4" name="Platshållare för datum 3"/>
          <p:cNvSpPr>
            <a:spLocks noGrp="1"/>
          </p:cNvSpPr>
          <p:nvPr>
            <p:ph type="dt" sz="half" idx="10"/>
          </p:nvPr>
        </p:nvSpPr>
        <p:spPr/>
        <p:txBody>
          <a:bodyPr/>
          <a:lstStyle/>
          <a:p>
            <a:fld id="{04D6C328-91B4-44E5-AA41-7ACA77601281}" type="datetime1">
              <a:rPr lang="en-US" smtClean="0">
                <a:solidFill>
                  <a:srgbClr val="7F7F7F"/>
                </a:solidFill>
              </a:rPr>
              <a:pPr/>
              <a:t>9/10/2018</a:t>
            </a:fld>
            <a:endParaRPr lang="en-US" dirty="0">
              <a:solidFill>
                <a:srgbClr val="7F7F7F"/>
              </a:solidFill>
            </a:endParaRPr>
          </a:p>
        </p:txBody>
      </p:sp>
      <p:sp>
        <p:nvSpPr>
          <p:cNvPr id="5" name="Platshållare för sidfot 4"/>
          <p:cNvSpPr>
            <a:spLocks noGrp="1"/>
          </p:cNvSpPr>
          <p:nvPr>
            <p:ph type="ftr" sz="quarter" idx="11"/>
          </p:nvPr>
        </p:nvSpPr>
        <p:spPr/>
        <p:txBody>
          <a:bodyPr/>
          <a:lstStyle/>
          <a:p>
            <a:r>
              <a:rPr lang="en-US" dirty="0">
                <a:solidFill>
                  <a:srgbClr val="7F7F7F"/>
                </a:solidFill>
              </a:rPr>
              <a:t>SANDVIK: Title of presentation</a:t>
            </a:r>
          </a:p>
        </p:txBody>
      </p:sp>
      <p:sp>
        <p:nvSpPr>
          <p:cNvPr id="6" name="Platshållare för bildnummer 5"/>
          <p:cNvSpPr>
            <a:spLocks noGrp="1"/>
          </p:cNvSpPr>
          <p:nvPr>
            <p:ph type="sldNum" sz="quarter" idx="12"/>
          </p:nvPr>
        </p:nvSpPr>
        <p:spPr/>
        <p:txBody>
          <a:bodyPr/>
          <a:lstStyle/>
          <a:p>
            <a:fld id="{469B62F1-B431-48B6-8270-02431A1685B7}" type="slidenum">
              <a:rPr lang="en-US" smtClean="0">
                <a:solidFill>
                  <a:srgbClr val="7F7F7F"/>
                </a:solidFill>
              </a:rPr>
              <a:pPr/>
              <a:t>‹#›</a:t>
            </a:fld>
            <a:endParaRPr lang="en-US" dirty="0">
              <a:solidFill>
                <a:srgbClr val="7F7F7F"/>
              </a:solidFill>
            </a:endParaRPr>
          </a:p>
        </p:txBody>
      </p:sp>
      <p:pic>
        <p:nvPicPr>
          <p:cNvPr id="9" name="Bildobjekt 8" descr="SAV_Logo_cyan_RGB300.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894137" y="275166"/>
            <a:ext cx="889863" cy="323998"/>
          </a:xfrm>
          <a:prstGeom prst="rect">
            <a:avLst/>
          </a:prstGeom>
        </p:spPr>
      </p:pic>
      <p:sp>
        <p:nvSpPr>
          <p:cNvPr id="12" name="Rectangular Callout 11"/>
          <p:cNvSpPr/>
          <p:nvPr userDrawn="1"/>
        </p:nvSpPr>
        <p:spPr>
          <a:xfrm>
            <a:off x="9432540" y="771550"/>
            <a:ext cx="1440000" cy="2939097"/>
          </a:xfrm>
          <a:prstGeom prst="wedgeRectCallout">
            <a:avLst>
              <a:gd name="adj1" fmla="val -60810"/>
              <a:gd name="adj2" fmla="val -20925"/>
            </a:avLst>
          </a:prstGeom>
          <a:solidFill>
            <a:srgbClr val="7F7F7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400"/>
            <a:r>
              <a:rPr lang="en-US" sz="800" dirty="0">
                <a:solidFill>
                  <a:prstClr val="white"/>
                </a:solidFill>
              </a:rPr>
              <a:t>We use a two-color headline system to highlight our rational and emotional side alike. The first line appears in blue (the rational side), the second line in orange (the emotional side) and the duality principle is reflected in the wording of the headline.</a:t>
            </a:r>
          </a:p>
          <a:p>
            <a:pPr defTabSz="914400"/>
            <a:endParaRPr lang="en-US" sz="1000" b="1" dirty="0">
              <a:solidFill>
                <a:prstClr val="white"/>
              </a:solidFill>
            </a:endParaRPr>
          </a:p>
          <a:p>
            <a:pPr defTabSz="914400"/>
            <a:r>
              <a:rPr lang="en-US" sz="800" b="1" dirty="0">
                <a:solidFill>
                  <a:prstClr val="white"/>
                </a:solidFill>
              </a:rPr>
              <a:t>This system refers to the first page title only, all other headlines are blue.</a:t>
            </a:r>
          </a:p>
          <a:p>
            <a:pPr defTabSz="914400"/>
            <a:endParaRPr lang="en-US" sz="1000" b="1" dirty="0">
              <a:solidFill>
                <a:prstClr val="white"/>
              </a:solidFill>
            </a:endParaRPr>
          </a:p>
          <a:p>
            <a:pPr defTabSz="914400"/>
            <a:r>
              <a:rPr lang="en-US" sz="800" dirty="0">
                <a:solidFill>
                  <a:prstClr val="white"/>
                </a:solidFill>
              </a:rPr>
              <a:t>Learn more about our verbal identity in the Sandvik Brand Identity Directives, which you can download at the Intranet &gt; home.sandvik.com/brand</a:t>
            </a:r>
          </a:p>
        </p:txBody>
      </p:sp>
    </p:spTree>
    <p:extLst>
      <p:ext uri="{BB962C8B-B14F-4D97-AF65-F5344CB8AC3E}">
        <p14:creationId xmlns:p14="http://schemas.microsoft.com/office/powerpoint/2010/main" val="36378804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p:cSld name="Startpage blue, no picture">
    <p:bg>
      <p:bgRef idx="1001">
        <a:schemeClr val="bg1"/>
      </p:bgRef>
    </p:bg>
    <p:spTree>
      <p:nvGrpSpPr>
        <p:cNvPr id="1" name=""/>
        <p:cNvGrpSpPr/>
        <p:nvPr/>
      </p:nvGrpSpPr>
      <p:grpSpPr>
        <a:xfrm>
          <a:off x="0" y="0"/>
          <a:ext cx="0" cy="0"/>
          <a:chOff x="0" y="0"/>
          <a:chExt cx="0" cy="0"/>
        </a:xfrm>
      </p:grpSpPr>
      <p:sp>
        <p:nvSpPr>
          <p:cNvPr id="2" name="Rubrik 1"/>
          <p:cNvSpPr>
            <a:spLocks noGrp="1"/>
          </p:cNvSpPr>
          <p:nvPr>
            <p:ph type="ctrTitle" hasCustomPrompt="1"/>
          </p:nvPr>
        </p:nvSpPr>
        <p:spPr>
          <a:xfrm>
            <a:off x="360000" y="3240000"/>
            <a:ext cx="8424000" cy="360000"/>
          </a:xfrm>
        </p:spPr>
        <p:txBody>
          <a:bodyPr/>
          <a:lstStyle>
            <a:lvl1pPr>
              <a:defRPr baseline="0"/>
            </a:lvl1pPr>
          </a:lstStyle>
          <a:p>
            <a:r>
              <a:rPr lang="en-US" noProof="0" dirty="0"/>
              <a:t>Headline First line</a:t>
            </a:r>
          </a:p>
        </p:txBody>
      </p:sp>
      <p:sp>
        <p:nvSpPr>
          <p:cNvPr id="3" name="Underrubrik 2"/>
          <p:cNvSpPr>
            <a:spLocks noGrp="1"/>
          </p:cNvSpPr>
          <p:nvPr>
            <p:ph type="subTitle" idx="1" hasCustomPrompt="1"/>
          </p:nvPr>
        </p:nvSpPr>
        <p:spPr>
          <a:xfrm>
            <a:off x="360000" y="3600000"/>
            <a:ext cx="8424000" cy="360000"/>
          </a:xfrm>
        </p:spPr>
        <p:txBody>
          <a:bodyPr>
            <a:noAutofit/>
          </a:bodyPr>
          <a:lstStyle>
            <a:lvl1pPr marL="0" indent="0" algn="l">
              <a:lnSpc>
                <a:spcPct val="100000"/>
              </a:lnSpc>
              <a:spcAft>
                <a:spcPts val="0"/>
              </a:spcAft>
              <a:buNone/>
              <a:defRPr sz="2800" cap="all" baseline="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a:t>Headline Second line</a:t>
            </a:r>
          </a:p>
        </p:txBody>
      </p:sp>
      <p:sp>
        <p:nvSpPr>
          <p:cNvPr id="4" name="Platshållare för datum 3"/>
          <p:cNvSpPr>
            <a:spLocks noGrp="1"/>
          </p:cNvSpPr>
          <p:nvPr>
            <p:ph type="dt" sz="half" idx="10"/>
          </p:nvPr>
        </p:nvSpPr>
        <p:spPr/>
        <p:txBody>
          <a:bodyPr/>
          <a:lstStyle/>
          <a:p>
            <a:fld id="{D16F672A-22C2-4DD6-B832-D4E7E450A29F}" type="datetime1">
              <a:rPr lang="en-US" smtClean="0">
                <a:solidFill>
                  <a:srgbClr val="7F7F7F"/>
                </a:solidFill>
              </a:rPr>
              <a:pPr/>
              <a:t>9/10/2018</a:t>
            </a:fld>
            <a:endParaRPr lang="en-US" dirty="0">
              <a:solidFill>
                <a:srgbClr val="7F7F7F"/>
              </a:solidFill>
            </a:endParaRPr>
          </a:p>
        </p:txBody>
      </p:sp>
      <p:sp>
        <p:nvSpPr>
          <p:cNvPr id="5" name="Platshållare för sidfot 4"/>
          <p:cNvSpPr>
            <a:spLocks noGrp="1"/>
          </p:cNvSpPr>
          <p:nvPr>
            <p:ph type="ftr" sz="quarter" idx="11"/>
          </p:nvPr>
        </p:nvSpPr>
        <p:spPr/>
        <p:txBody>
          <a:bodyPr/>
          <a:lstStyle/>
          <a:p>
            <a:r>
              <a:rPr lang="en-US" dirty="0">
                <a:solidFill>
                  <a:srgbClr val="7F7F7F"/>
                </a:solidFill>
              </a:rPr>
              <a:t>SANDVIK: Title of presentation</a:t>
            </a:r>
          </a:p>
        </p:txBody>
      </p:sp>
      <p:sp>
        <p:nvSpPr>
          <p:cNvPr id="6" name="Platshållare för bildnummer 5"/>
          <p:cNvSpPr>
            <a:spLocks noGrp="1"/>
          </p:cNvSpPr>
          <p:nvPr>
            <p:ph type="sldNum" sz="quarter" idx="12"/>
          </p:nvPr>
        </p:nvSpPr>
        <p:spPr/>
        <p:txBody>
          <a:bodyPr/>
          <a:lstStyle/>
          <a:p>
            <a:fld id="{469B62F1-B431-48B6-8270-02431A1685B7}" type="slidenum">
              <a:rPr lang="en-US" smtClean="0">
                <a:solidFill>
                  <a:srgbClr val="7F7F7F"/>
                </a:solidFill>
              </a:rPr>
              <a:pPr/>
              <a:t>‹#›</a:t>
            </a:fld>
            <a:endParaRPr lang="en-US" dirty="0">
              <a:solidFill>
                <a:srgbClr val="7F7F7F"/>
              </a:solidFill>
            </a:endParaRPr>
          </a:p>
        </p:txBody>
      </p:sp>
      <p:pic>
        <p:nvPicPr>
          <p:cNvPr id="9" name="Bildobjekt 8" descr="SAV_Logo_cyan_RGB300.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890203" y="4542481"/>
            <a:ext cx="889868" cy="324000"/>
          </a:xfrm>
          <a:prstGeom prst="rect">
            <a:avLst/>
          </a:prstGeom>
        </p:spPr>
      </p:pic>
      <p:pic>
        <p:nvPicPr>
          <p:cNvPr id="7" name="Picture 6"/>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15466"/>
            <a:ext cx="9144000" cy="2909479"/>
          </a:xfrm>
          <a:prstGeom prst="rect">
            <a:avLst/>
          </a:prstGeom>
        </p:spPr>
      </p:pic>
      <p:sp>
        <p:nvSpPr>
          <p:cNvPr id="11" name="Rectangular Callout 10"/>
          <p:cNvSpPr/>
          <p:nvPr userDrawn="1"/>
        </p:nvSpPr>
        <p:spPr>
          <a:xfrm>
            <a:off x="9432540" y="2751770"/>
            <a:ext cx="1440000" cy="2939097"/>
          </a:xfrm>
          <a:prstGeom prst="wedgeRectCallout">
            <a:avLst>
              <a:gd name="adj1" fmla="val -60810"/>
              <a:gd name="adj2" fmla="val -20925"/>
            </a:avLst>
          </a:prstGeom>
          <a:solidFill>
            <a:srgbClr val="7F7F7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400"/>
            <a:r>
              <a:rPr lang="en-US" sz="800" dirty="0">
                <a:solidFill>
                  <a:prstClr val="white"/>
                </a:solidFill>
              </a:rPr>
              <a:t>We use a two-color headline system to highlight our rational and emotional side alike. The first line appears in blue (the rational side), the second line in orange (the emotional side) and the duality principle is reflected in the wording of the headline.</a:t>
            </a:r>
          </a:p>
          <a:p>
            <a:pPr defTabSz="914400"/>
            <a:endParaRPr lang="en-US" sz="1000" b="1" dirty="0">
              <a:solidFill>
                <a:prstClr val="white"/>
              </a:solidFill>
            </a:endParaRPr>
          </a:p>
          <a:p>
            <a:pPr defTabSz="914400"/>
            <a:r>
              <a:rPr lang="en-US" sz="800" b="1" dirty="0">
                <a:solidFill>
                  <a:prstClr val="white"/>
                </a:solidFill>
              </a:rPr>
              <a:t>This system refers to the first page title only, all other headlines are blue.</a:t>
            </a:r>
          </a:p>
          <a:p>
            <a:pPr defTabSz="914400"/>
            <a:endParaRPr lang="en-US" sz="1000" b="1" dirty="0">
              <a:solidFill>
                <a:prstClr val="white"/>
              </a:solidFill>
            </a:endParaRPr>
          </a:p>
          <a:p>
            <a:pPr defTabSz="914400"/>
            <a:r>
              <a:rPr lang="en-US" sz="800" dirty="0">
                <a:solidFill>
                  <a:prstClr val="white"/>
                </a:solidFill>
              </a:rPr>
              <a:t>Learn more about our verbal identity in the Sandvik Brand Identity Directives, which you can download at the Intranet &gt; home.sandvik.com/brand</a:t>
            </a:r>
          </a:p>
        </p:txBody>
      </p:sp>
    </p:spTree>
    <p:extLst>
      <p:ext uri="{BB962C8B-B14F-4D97-AF65-F5344CB8AC3E}">
        <p14:creationId xmlns:p14="http://schemas.microsoft.com/office/powerpoint/2010/main" val="403880663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afety first, general">
    <p:spTree>
      <p:nvGrpSpPr>
        <p:cNvPr id="1" name=""/>
        <p:cNvGrpSpPr/>
        <p:nvPr/>
      </p:nvGrpSpPr>
      <p:grpSpPr>
        <a:xfrm>
          <a:off x="0" y="0"/>
          <a:ext cx="0" cy="0"/>
          <a:chOff x="0" y="0"/>
          <a:chExt cx="0" cy="0"/>
        </a:xfrm>
      </p:grpSpPr>
      <p:pic>
        <p:nvPicPr>
          <p:cNvPr id="6" name="Picture 5" descr="_MAB1819.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707904" y="102198"/>
            <a:ext cx="5436096" cy="5041302"/>
          </a:xfrm>
          <a:prstGeom prst="rect">
            <a:avLst/>
          </a:prstGeom>
        </p:spPr>
      </p:pic>
      <p:sp>
        <p:nvSpPr>
          <p:cNvPr id="8" name="Content Placeholder 2"/>
          <p:cNvSpPr txBox="1">
            <a:spLocks/>
          </p:cNvSpPr>
          <p:nvPr userDrawn="1"/>
        </p:nvSpPr>
        <p:spPr>
          <a:xfrm>
            <a:off x="360000" y="1260000"/>
            <a:ext cx="3995976" cy="1311749"/>
          </a:xfrm>
          <a:prstGeom prst="rect">
            <a:avLst/>
          </a:prstGeom>
        </p:spPr>
        <p:txBody>
          <a:bodyPr lIns="0" tIns="0" rIns="0" bIns="0"/>
          <a:lstStyle>
            <a:lvl1pPr marL="162000" indent="-162000" algn="l" defTabSz="914400" rtl="0" eaLnBrk="1" latinLnBrk="0" hangingPunct="1">
              <a:lnSpc>
                <a:spcPct val="108000"/>
              </a:lnSpc>
              <a:spcBef>
                <a:spcPts val="0"/>
              </a:spcBef>
              <a:spcAft>
                <a:spcPts val="700"/>
              </a:spcAft>
              <a:buFont typeface="Arial" panose="020B0604020202020204" pitchFamily="34" charset="0"/>
              <a:buChar char="•"/>
              <a:defRPr sz="1800" kern="1200">
                <a:solidFill>
                  <a:schemeClr val="tx1"/>
                </a:solidFill>
                <a:latin typeface="+mn-lt"/>
                <a:ea typeface="+mn-ea"/>
                <a:cs typeface="+mn-cs"/>
              </a:defRPr>
            </a:lvl1pPr>
            <a:lvl2pPr marL="540000" indent="-162000" algn="l" defTabSz="914400" rtl="0" eaLnBrk="1" latinLnBrk="0" hangingPunct="1">
              <a:lnSpc>
                <a:spcPct val="108000"/>
              </a:lnSpc>
              <a:spcBef>
                <a:spcPts val="0"/>
              </a:spcBef>
              <a:spcAft>
                <a:spcPts val="400"/>
              </a:spcAft>
              <a:buFont typeface="Arial" panose="020B0604020202020204" pitchFamily="34" charset="0"/>
              <a:buChar char="•"/>
              <a:defRPr sz="1600" kern="1200">
                <a:solidFill>
                  <a:schemeClr val="tx1"/>
                </a:solidFill>
                <a:latin typeface="+mn-lt"/>
                <a:ea typeface="+mn-ea"/>
                <a:cs typeface="+mn-cs"/>
              </a:defRPr>
            </a:lvl2pPr>
            <a:lvl3pPr marL="900000" indent="-162000" algn="l" defTabSz="914400" rtl="0" eaLnBrk="1" latinLnBrk="0" hangingPunct="1">
              <a:lnSpc>
                <a:spcPct val="108000"/>
              </a:lnSpc>
              <a:spcBef>
                <a:spcPts val="0"/>
              </a:spcBef>
              <a:spcAft>
                <a:spcPts val="300"/>
              </a:spcAft>
              <a:buFont typeface="Arial" panose="020B0604020202020204" pitchFamily="34" charset="0"/>
              <a:buChar char="•"/>
              <a:defRPr sz="1200" kern="1200">
                <a:solidFill>
                  <a:schemeClr val="tx1"/>
                </a:solidFill>
                <a:latin typeface="+mn-lt"/>
                <a:ea typeface="+mn-ea"/>
                <a:cs typeface="+mn-cs"/>
              </a:defRPr>
            </a:lvl3pPr>
            <a:lvl4pPr marL="1260000" indent="-162000" algn="l" defTabSz="914400" rtl="0" eaLnBrk="1" latinLnBrk="0" hangingPunct="1">
              <a:lnSpc>
                <a:spcPct val="108000"/>
              </a:lnSpc>
              <a:spcBef>
                <a:spcPts val="0"/>
              </a:spcBef>
              <a:spcAft>
                <a:spcPts val="300"/>
              </a:spcAft>
              <a:buFont typeface="Arial" panose="020B0604020202020204" pitchFamily="34" charset="0"/>
              <a:buChar char="•"/>
              <a:defRPr sz="1100" kern="1200">
                <a:solidFill>
                  <a:schemeClr val="tx1"/>
                </a:solidFill>
                <a:latin typeface="+mn-lt"/>
                <a:ea typeface="+mn-ea"/>
                <a:cs typeface="+mn-cs"/>
              </a:defRPr>
            </a:lvl4pPr>
            <a:lvl5pPr marL="1627200" indent="-158400" algn="l" defTabSz="914400" rtl="0" eaLnBrk="1" latinLnBrk="0" hangingPunct="1">
              <a:lnSpc>
                <a:spcPct val="108000"/>
              </a:lnSpc>
              <a:spcBef>
                <a:spcPts val="0"/>
              </a:spcBef>
              <a:spcAft>
                <a:spcPts val="240"/>
              </a:spcAft>
              <a:buFont typeface="Arial" panose="020B0604020202020204"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Font typeface="Arial" panose="020B0604020202020204" pitchFamily="34" charset="0"/>
              <a:buNone/>
            </a:pPr>
            <a:r>
              <a:rPr lang="en-US" dirty="0">
                <a:solidFill>
                  <a:prstClr val="black"/>
                </a:solidFill>
              </a:rPr>
              <a:t>Sandvik’s objective is zero</a:t>
            </a:r>
            <a:br>
              <a:rPr lang="en-US" dirty="0">
                <a:solidFill>
                  <a:prstClr val="black"/>
                </a:solidFill>
              </a:rPr>
            </a:br>
            <a:r>
              <a:rPr lang="en-US" dirty="0">
                <a:solidFill>
                  <a:prstClr val="black"/>
                </a:solidFill>
              </a:rPr>
              <a:t>harm to our people, the environment we work in, our customers and </a:t>
            </a:r>
            <a:br>
              <a:rPr lang="en-US" dirty="0">
                <a:solidFill>
                  <a:prstClr val="black"/>
                </a:solidFill>
              </a:rPr>
            </a:br>
            <a:r>
              <a:rPr lang="en-US" dirty="0">
                <a:solidFill>
                  <a:prstClr val="black"/>
                </a:solidFill>
              </a:rPr>
              <a:t>our suppliers.</a:t>
            </a:r>
          </a:p>
        </p:txBody>
      </p:sp>
      <p:sp>
        <p:nvSpPr>
          <p:cNvPr id="3" name="Date Placeholder 2"/>
          <p:cNvSpPr>
            <a:spLocks noGrp="1"/>
          </p:cNvSpPr>
          <p:nvPr>
            <p:ph type="dt" sz="half" idx="10"/>
          </p:nvPr>
        </p:nvSpPr>
        <p:spPr/>
        <p:txBody>
          <a:bodyPr/>
          <a:lstStyle/>
          <a:p>
            <a:fld id="{519B61F5-90DB-401B-A64C-D2E08EE0A242}" type="datetime1">
              <a:rPr lang="en-US" smtClean="0">
                <a:solidFill>
                  <a:srgbClr val="7F7F7F"/>
                </a:solidFill>
              </a:rPr>
              <a:pPr/>
              <a:t>9/10/2018</a:t>
            </a:fld>
            <a:endParaRPr lang="en-US" dirty="0">
              <a:solidFill>
                <a:srgbClr val="7F7F7F"/>
              </a:solidFill>
            </a:endParaRPr>
          </a:p>
        </p:txBody>
      </p:sp>
      <p:sp>
        <p:nvSpPr>
          <p:cNvPr id="4" name="Footer Placeholder 3"/>
          <p:cNvSpPr>
            <a:spLocks noGrp="1"/>
          </p:cNvSpPr>
          <p:nvPr>
            <p:ph type="ftr" sz="quarter" idx="11"/>
          </p:nvPr>
        </p:nvSpPr>
        <p:spPr/>
        <p:txBody>
          <a:bodyPr/>
          <a:lstStyle/>
          <a:p>
            <a:r>
              <a:rPr lang="en-US" dirty="0">
                <a:solidFill>
                  <a:srgbClr val="7F7F7F"/>
                </a:solidFill>
              </a:rPr>
              <a:t>SANDVIK: Title of presentation</a:t>
            </a:r>
          </a:p>
        </p:txBody>
      </p:sp>
      <p:sp>
        <p:nvSpPr>
          <p:cNvPr id="5" name="Slide Number Placeholder 4"/>
          <p:cNvSpPr>
            <a:spLocks noGrp="1"/>
          </p:cNvSpPr>
          <p:nvPr>
            <p:ph type="sldNum" sz="quarter" idx="12"/>
          </p:nvPr>
        </p:nvSpPr>
        <p:spPr/>
        <p:txBody>
          <a:bodyPr/>
          <a:lstStyle/>
          <a:p>
            <a:fld id="{469B62F1-B431-48B6-8270-02431A1685B7}" type="slidenum">
              <a:rPr lang="en-US" smtClean="0">
                <a:solidFill>
                  <a:srgbClr val="7F7F7F"/>
                </a:solidFill>
              </a:rPr>
              <a:pPr/>
              <a:t>‹#›</a:t>
            </a:fld>
            <a:endParaRPr lang="en-US" dirty="0">
              <a:solidFill>
                <a:srgbClr val="7F7F7F"/>
              </a:solidFill>
            </a:endParaRPr>
          </a:p>
        </p:txBody>
      </p:sp>
      <p:sp>
        <p:nvSpPr>
          <p:cNvPr id="21" name="TextBox 20"/>
          <p:cNvSpPr txBox="1"/>
          <p:nvPr userDrawn="1"/>
        </p:nvSpPr>
        <p:spPr>
          <a:xfrm>
            <a:off x="268474" y="370121"/>
            <a:ext cx="8424936" cy="523220"/>
          </a:xfrm>
          <a:prstGeom prst="rect">
            <a:avLst/>
          </a:prstGeom>
          <a:noFill/>
        </p:spPr>
        <p:txBody>
          <a:bodyPr wrap="square" rtlCol="0">
            <a:spAutoFit/>
          </a:bodyPr>
          <a:lstStyle/>
          <a:p>
            <a:pPr defTabSz="914400"/>
            <a:r>
              <a:rPr lang="en-US" sz="2800" dirty="0">
                <a:solidFill>
                  <a:srgbClr val="0099FF"/>
                </a:solidFill>
              </a:rPr>
              <a:t>SAFETY FIRST</a:t>
            </a:r>
          </a:p>
        </p:txBody>
      </p:sp>
      <p:sp>
        <p:nvSpPr>
          <p:cNvPr id="20" name="Platshållare för text 8"/>
          <p:cNvSpPr txBox="1">
            <a:spLocks/>
          </p:cNvSpPr>
          <p:nvPr userDrawn="1"/>
        </p:nvSpPr>
        <p:spPr>
          <a:xfrm>
            <a:off x="899592" y="2883940"/>
            <a:ext cx="805261" cy="552146"/>
          </a:xfrm>
          <a:prstGeom prst="rect">
            <a:avLst/>
          </a:prstGeom>
          <a:noFill/>
        </p:spPr>
        <p:txBody>
          <a:bodyPr lIns="36000" rIns="36000" anchor="ctr" anchorCtr="0">
            <a:normAutofit/>
          </a:bodyPr>
          <a:lstStyle>
            <a:lvl1pPr marL="87313" indent="-87313"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1pPr>
            <a:lvl2pPr marL="269875" indent="-88900"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2pPr>
            <a:lvl3pPr marL="444500" indent="-87313"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3pPr>
            <a:lvl4pPr marL="627063" indent="-88900"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4pPr>
            <a:lvl5pPr marL="808038" indent="-87313"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buClr>
                <a:srgbClr val="7FB4D3"/>
              </a:buClr>
              <a:buFont typeface="Arial" pitchFamily="34" charset="0"/>
              <a:buNone/>
            </a:pPr>
            <a:r>
              <a:rPr lang="en-US" sz="800" b="1" dirty="0">
                <a:solidFill>
                  <a:srgbClr val="333333"/>
                </a:solidFill>
              </a:rPr>
              <a:t> PROTECTIVE   </a:t>
            </a:r>
            <a:br>
              <a:rPr lang="en-US" sz="800" b="1" dirty="0">
                <a:solidFill>
                  <a:srgbClr val="333333"/>
                </a:solidFill>
              </a:rPr>
            </a:br>
            <a:r>
              <a:rPr lang="en-US" sz="800" b="1" dirty="0">
                <a:solidFill>
                  <a:srgbClr val="333333"/>
                </a:solidFill>
              </a:rPr>
              <a:t> EQUIPMENT</a:t>
            </a:r>
          </a:p>
        </p:txBody>
      </p:sp>
      <p:sp>
        <p:nvSpPr>
          <p:cNvPr id="22" name="Platshållare för text 9"/>
          <p:cNvSpPr txBox="1">
            <a:spLocks/>
          </p:cNvSpPr>
          <p:nvPr userDrawn="1"/>
        </p:nvSpPr>
        <p:spPr>
          <a:xfrm>
            <a:off x="3628498" y="3594967"/>
            <a:ext cx="768951" cy="556086"/>
          </a:xfrm>
          <a:prstGeom prst="rect">
            <a:avLst/>
          </a:prstGeom>
          <a:noFill/>
        </p:spPr>
        <p:txBody>
          <a:bodyPr lIns="36000" rIns="36000" anchor="ctr" anchorCtr="0">
            <a:normAutofit/>
          </a:bodyPr>
          <a:lstStyle>
            <a:lvl1pPr marL="87313" indent="-87313"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1pPr>
            <a:lvl2pPr marL="269875" indent="-88900"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2pPr>
            <a:lvl3pPr marL="444500" indent="-87313"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3pPr>
            <a:lvl4pPr marL="627063" indent="-88900"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4pPr>
            <a:lvl5pPr marL="808038" indent="-87313"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buClr>
                <a:srgbClr val="7FB4D3"/>
              </a:buClr>
              <a:buFont typeface="Arial" pitchFamily="34" charset="0"/>
              <a:buNone/>
            </a:pPr>
            <a:r>
              <a:rPr lang="en-US" sz="800" b="1" dirty="0">
                <a:solidFill>
                  <a:srgbClr val="333333"/>
                </a:solidFill>
              </a:rPr>
              <a:t> ASSEMBLY</a:t>
            </a:r>
            <a:br>
              <a:rPr lang="en-US" sz="800" b="1" dirty="0">
                <a:solidFill>
                  <a:srgbClr val="333333"/>
                </a:solidFill>
              </a:rPr>
            </a:br>
            <a:r>
              <a:rPr lang="en-US" sz="800" b="1" dirty="0">
                <a:solidFill>
                  <a:srgbClr val="333333"/>
                </a:solidFill>
              </a:rPr>
              <a:t> POINT</a:t>
            </a:r>
          </a:p>
        </p:txBody>
      </p:sp>
      <p:sp>
        <p:nvSpPr>
          <p:cNvPr id="23" name="Platshållare för text 10"/>
          <p:cNvSpPr txBox="1">
            <a:spLocks/>
          </p:cNvSpPr>
          <p:nvPr userDrawn="1"/>
        </p:nvSpPr>
        <p:spPr>
          <a:xfrm>
            <a:off x="2260347" y="3594967"/>
            <a:ext cx="805260" cy="556086"/>
          </a:xfrm>
          <a:prstGeom prst="rect">
            <a:avLst/>
          </a:prstGeom>
          <a:noFill/>
        </p:spPr>
        <p:txBody>
          <a:bodyPr lIns="36000" rIns="36000" anchor="ctr" anchorCtr="0">
            <a:normAutofit/>
          </a:bodyPr>
          <a:lstStyle>
            <a:lvl1pPr marL="87313" indent="-87313"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1pPr>
            <a:lvl2pPr marL="269875" indent="-88900"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2pPr>
            <a:lvl3pPr marL="444500" indent="-87313"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3pPr>
            <a:lvl4pPr marL="627063" indent="-88900"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4pPr>
            <a:lvl5pPr marL="808038" indent="-87313"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buClr>
                <a:srgbClr val="7FB4D3"/>
              </a:buClr>
              <a:buFont typeface="Arial" pitchFamily="34" charset="0"/>
              <a:buNone/>
            </a:pPr>
            <a:r>
              <a:rPr lang="en-US" sz="800" b="1" dirty="0">
                <a:solidFill>
                  <a:srgbClr val="333333"/>
                </a:solidFill>
              </a:rPr>
              <a:t> EMERGENCY</a:t>
            </a:r>
            <a:br>
              <a:rPr lang="en-US" sz="800" b="1" dirty="0">
                <a:solidFill>
                  <a:srgbClr val="333333"/>
                </a:solidFill>
              </a:rPr>
            </a:br>
            <a:r>
              <a:rPr lang="en-US" sz="800" b="1" dirty="0">
                <a:solidFill>
                  <a:srgbClr val="333333"/>
                </a:solidFill>
              </a:rPr>
              <a:t> EXIT</a:t>
            </a:r>
          </a:p>
        </p:txBody>
      </p:sp>
      <p:sp>
        <p:nvSpPr>
          <p:cNvPr id="24" name="Platshållare för text 12"/>
          <p:cNvSpPr txBox="1">
            <a:spLocks/>
          </p:cNvSpPr>
          <p:nvPr userDrawn="1"/>
        </p:nvSpPr>
        <p:spPr>
          <a:xfrm>
            <a:off x="898397" y="3594967"/>
            <a:ext cx="802808" cy="556086"/>
          </a:xfrm>
          <a:prstGeom prst="rect">
            <a:avLst/>
          </a:prstGeom>
          <a:noFill/>
        </p:spPr>
        <p:txBody>
          <a:bodyPr lIns="36000" rIns="36000" anchor="ctr" anchorCtr="0">
            <a:normAutofit/>
          </a:bodyPr>
          <a:lstStyle>
            <a:lvl1pPr marL="87313" indent="-87313"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1pPr>
            <a:lvl2pPr marL="269875" indent="-88900"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2pPr>
            <a:lvl3pPr marL="444500" indent="-87313"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3pPr>
            <a:lvl4pPr marL="627063" indent="-88900"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4pPr>
            <a:lvl5pPr marL="808038" indent="-87313"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buClr>
                <a:srgbClr val="7FB4D3"/>
              </a:buClr>
              <a:buFont typeface="Arial" pitchFamily="34" charset="0"/>
              <a:buNone/>
            </a:pPr>
            <a:r>
              <a:rPr lang="en-US" sz="800" b="1" dirty="0">
                <a:solidFill>
                  <a:srgbClr val="333333"/>
                </a:solidFill>
              </a:rPr>
              <a:t> EMERGENCY</a:t>
            </a:r>
            <a:br>
              <a:rPr lang="en-US" sz="800" b="1" dirty="0">
                <a:solidFill>
                  <a:srgbClr val="333333"/>
                </a:solidFill>
              </a:rPr>
            </a:br>
            <a:r>
              <a:rPr lang="en-US" sz="800" b="1" dirty="0">
                <a:solidFill>
                  <a:srgbClr val="333333"/>
                </a:solidFill>
              </a:rPr>
              <a:t> NUMBER</a:t>
            </a:r>
          </a:p>
        </p:txBody>
      </p:sp>
      <p:sp>
        <p:nvSpPr>
          <p:cNvPr id="25" name="Platshållare för text 13"/>
          <p:cNvSpPr txBox="1">
            <a:spLocks/>
          </p:cNvSpPr>
          <p:nvPr userDrawn="1"/>
        </p:nvSpPr>
        <p:spPr>
          <a:xfrm>
            <a:off x="3625443" y="2883940"/>
            <a:ext cx="704054" cy="552146"/>
          </a:xfrm>
          <a:prstGeom prst="rect">
            <a:avLst/>
          </a:prstGeom>
          <a:noFill/>
        </p:spPr>
        <p:txBody>
          <a:bodyPr lIns="36000" rIns="36000" anchor="ctr" anchorCtr="0">
            <a:normAutofit/>
          </a:bodyPr>
          <a:lstStyle>
            <a:lvl1pPr marL="87313" indent="-87313"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1pPr>
            <a:lvl2pPr marL="269875" indent="-88900"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2pPr>
            <a:lvl3pPr marL="444500" indent="-87313"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3pPr>
            <a:lvl4pPr marL="627063" indent="-88900"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4pPr>
            <a:lvl5pPr marL="808038" indent="-87313"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buClr>
                <a:srgbClr val="7FB4D3"/>
              </a:buClr>
              <a:buFont typeface="Arial" pitchFamily="34" charset="0"/>
              <a:buNone/>
            </a:pPr>
            <a:r>
              <a:rPr lang="en-US" sz="800" b="1" dirty="0">
                <a:solidFill>
                  <a:srgbClr val="333333"/>
                </a:solidFill>
              </a:rPr>
              <a:t> ALARM</a:t>
            </a:r>
          </a:p>
        </p:txBody>
      </p:sp>
      <p:pic>
        <p:nvPicPr>
          <p:cNvPr id="26" name="Bildobjekt 20" descr="sandvik_ppt_safety_icon_alarm.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062552" y="2880000"/>
            <a:ext cx="556086" cy="556086"/>
          </a:xfrm>
          <a:prstGeom prst="rect">
            <a:avLst/>
          </a:prstGeom>
        </p:spPr>
      </p:pic>
      <p:pic>
        <p:nvPicPr>
          <p:cNvPr id="27" name="Bildobjekt 21" descr="sandvik_ppt_safety_icon_assembly.png"/>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065607" y="3594967"/>
            <a:ext cx="556086" cy="556086"/>
          </a:xfrm>
          <a:prstGeom prst="rect">
            <a:avLst/>
          </a:prstGeom>
        </p:spPr>
      </p:pic>
      <p:pic>
        <p:nvPicPr>
          <p:cNvPr id="28" name="Bildobjekt 22" descr="sandvik_ppt_safety_icon_equipment.png"/>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40451" y="2880000"/>
            <a:ext cx="556086" cy="556086"/>
          </a:xfrm>
          <a:prstGeom prst="rect">
            <a:avLst/>
          </a:prstGeom>
        </p:spPr>
      </p:pic>
      <p:pic>
        <p:nvPicPr>
          <p:cNvPr id="29" name="Bildobjekt 33" descr="sandvik_ppt_safety_icon_exit.png"/>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701205" y="3594967"/>
            <a:ext cx="556086" cy="556086"/>
          </a:xfrm>
          <a:prstGeom prst="rect">
            <a:avLst/>
          </a:prstGeom>
        </p:spPr>
      </p:pic>
      <p:pic>
        <p:nvPicPr>
          <p:cNvPr id="30" name="Bildobjekt 24" descr="sandvik_ppt_safety_icon_number.png"/>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42311" y="3594967"/>
            <a:ext cx="556086" cy="556086"/>
          </a:xfrm>
          <a:prstGeom prst="rect">
            <a:avLst/>
          </a:prstGeom>
        </p:spPr>
      </p:pic>
      <p:sp>
        <p:nvSpPr>
          <p:cNvPr id="31" name="Platshållare för text 10"/>
          <p:cNvSpPr txBox="1">
            <a:spLocks/>
          </p:cNvSpPr>
          <p:nvPr userDrawn="1"/>
        </p:nvSpPr>
        <p:spPr>
          <a:xfrm>
            <a:off x="2260347" y="2880592"/>
            <a:ext cx="805260" cy="556086"/>
          </a:xfrm>
          <a:prstGeom prst="rect">
            <a:avLst/>
          </a:prstGeom>
          <a:noFill/>
        </p:spPr>
        <p:txBody>
          <a:bodyPr lIns="36000" rIns="36000" anchor="ctr" anchorCtr="0">
            <a:normAutofit/>
          </a:bodyPr>
          <a:lstStyle>
            <a:lvl1pPr marL="87313" indent="-87313"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1pPr>
            <a:lvl2pPr marL="269875" indent="-88900"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2pPr>
            <a:lvl3pPr marL="444500" indent="-87313"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3pPr>
            <a:lvl4pPr marL="627063" indent="-88900"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4pPr>
            <a:lvl5pPr marL="808038" indent="-87313"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buClr>
                <a:srgbClr val="7FB4D3"/>
              </a:buClr>
              <a:buFont typeface="Arial" pitchFamily="34" charset="0"/>
              <a:buNone/>
            </a:pPr>
            <a:r>
              <a:rPr lang="en-US" sz="800" b="1" dirty="0">
                <a:solidFill>
                  <a:srgbClr val="333333"/>
                </a:solidFill>
              </a:rPr>
              <a:t> FIRST AID </a:t>
            </a:r>
            <a:br>
              <a:rPr lang="en-US" sz="800" b="1" dirty="0">
                <a:solidFill>
                  <a:srgbClr val="333333"/>
                </a:solidFill>
              </a:rPr>
            </a:br>
            <a:r>
              <a:rPr lang="en-US" sz="800" b="1" dirty="0">
                <a:solidFill>
                  <a:srgbClr val="333333"/>
                </a:solidFill>
              </a:rPr>
              <a:t> KIT</a:t>
            </a:r>
          </a:p>
        </p:txBody>
      </p:sp>
      <p:sp>
        <p:nvSpPr>
          <p:cNvPr id="32" name="Rectangle 31"/>
          <p:cNvSpPr/>
          <p:nvPr userDrawn="1"/>
        </p:nvSpPr>
        <p:spPr>
          <a:xfrm>
            <a:off x="1701205" y="2883700"/>
            <a:ext cx="556086" cy="552146"/>
          </a:xfrm>
          <a:prstGeom prst="rect">
            <a:avLst/>
          </a:prstGeom>
          <a:solidFill>
            <a:srgbClr val="00B050"/>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GB" dirty="0">
              <a:solidFill>
                <a:prstClr val="white"/>
              </a:solidFill>
            </a:endParaRPr>
          </a:p>
        </p:txBody>
      </p:sp>
      <p:cxnSp>
        <p:nvCxnSpPr>
          <p:cNvPr id="33" name="Straight Connector 32"/>
          <p:cNvCxnSpPr/>
          <p:nvPr userDrawn="1"/>
        </p:nvCxnSpPr>
        <p:spPr>
          <a:xfrm>
            <a:off x="1976042" y="2974818"/>
            <a:ext cx="0" cy="366451"/>
          </a:xfrm>
          <a:prstGeom prst="line">
            <a:avLst/>
          </a:prstGeom>
          <a:ln w="114300">
            <a:solidFill>
              <a:schemeClr val="bg1"/>
            </a:solidFill>
          </a:ln>
          <a:effectLst/>
        </p:spPr>
        <p:style>
          <a:lnRef idx="3">
            <a:schemeClr val="accent1"/>
          </a:lnRef>
          <a:fillRef idx="0">
            <a:schemeClr val="accent1"/>
          </a:fillRef>
          <a:effectRef idx="2">
            <a:schemeClr val="accent1"/>
          </a:effectRef>
          <a:fontRef idx="minor">
            <a:schemeClr val="tx1"/>
          </a:fontRef>
        </p:style>
      </p:cxnSp>
      <p:cxnSp>
        <p:nvCxnSpPr>
          <p:cNvPr id="35" name="Straight Connector 34"/>
          <p:cNvCxnSpPr/>
          <p:nvPr userDrawn="1"/>
        </p:nvCxnSpPr>
        <p:spPr>
          <a:xfrm rot="16200000">
            <a:off x="1979248" y="2974817"/>
            <a:ext cx="0" cy="366451"/>
          </a:xfrm>
          <a:prstGeom prst="line">
            <a:avLst/>
          </a:prstGeom>
          <a:ln w="114300">
            <a:solidFill>
              <a:schemeClr val="bg1"/>
            </a:solidFill>
          </a:ln>
          <a:effectLst/>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30807971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p:cSld name="Agenda blue">
    <p:bg>
      <p:bgPr>
        <a:solidFill>
          <a:schemeClr val="accent1"/>
        </a:solidFill>
        <a:effectLst/>
      </p:bgPr>
    </p:bg>
    <p:spTree>
      <p:nvGrpSpPr>
        <p:cNvPr id="1" name=""/>
        <p:cNvGrpSpPr/>
        <p:nvPr/>
      </p:nvGrpSpPr>
      <p:grpSpPr>
        <a:xfrm>
          <a:off x="0" y="0"/>
          <a:ext cx="0" cy="0"/>
          <a:chOff x="0" y="0"/>
          <a:chExt cx="0" cy="0"/>
        </a:xfrm>
      </p:grpSpPr>
      <p:sp>
        <p:nvSpPr>
          <p:cNvPr id="2" name="Rubrik 1"/>
          <p:cNvSpPr>
            <a:spLocks noGrp="1"/>
          </p:cNvSpPr>
          <p:nvPr>
            <p:ph type="title" hasCustomPrompt="1"/>
          </p:nvPr>
        </p:nvSpPr>
        <p:spPr/>
        <p:txBody>
          <a:bodyPr/>
          <a:lstStyle>
            <a:lvl1pPr>
              <a:defRPr>
                <a:solidFill>
                  <a:schemeClr val="bg1"/>
                </a:solidFill>
              </a:defRPr>
            </a:lvl1pPr>
          </a:lstStyle>
          <a:p>
            <a:r>
              <a:rPr lang="en-US" noProof="0" dirty="0"/>
              <a:t>Agenda for today</a:t>
            </a:r>
          </a:p>
        </p:txBody>
      </p:sp>
      <p:sp>
        <p:nvSpPr>
          <p:cNvPr id="4" name="Platshållare för datum 3"/>
          <p:cNvSpPr>
            <a:spLocks noGrp="1"/>
          </p:cNvSpPr>
          <p:nvPr>
            <p:ph type="dt" sz="half" idx="10"/>
          </p:nvPr>
        </p:nvSpPr>
        <p:spPr/>
        <p:txBody>
          <a:bodyPr/>
          <a:lstStyle>
            <a:lvl1pPr>
              <a:defRPr>
                <a:solidFill>
                  <a:schemeClr val="bg1"/>
                </a:solidFill>
              </a:defRPr>
            </a:lvl1pPr>
          </a:lstStyle>
          <a:p>
            <a:fld id="{F0879A06-EAF7-4EC6-A444-8258C5159BF5}" type="datetime1">
              <a:rPr lang="en-US" smtClean="0">
                <a:solidFill>
                  <a:prstClr val="white"/>
                </a:solidFill>
              </a:rPr>
              <a:pPr/>
              <a:t>9/10/2018</a:t>
            </a:fld>
            <a:endParaRPr lang="en-US" dirty="0">
              <a:solidFill>
                <a:prstClr val="white"/>
              </a:solidFill>
            </a:endParaRPr>
          </a:p>
        </p:txBody>
      </p:sp>
      <p:sp>
        <p:nvSpPr>
          <p:cNvPr id="5" name="Platshållare för sidfot 4"/>
          <p:cNvSpPr>
            <a:spLocks noGrp="1"/>
          </p:cNvSpPr>
          <p:nvPr>
            <p:ph type="ftr" sz="quarter" idx="11"/>
          </p:nvPr>
        </p:nvSpPr>
        <p:spPr/>
        <p:txBody>
          <a:bodyPr/>
          <a:lstStyle>
            <a:lvl1pPr>
              <a:defRPr>
                <a:solidFill>
                  <a:schemeClr val="bg1"/>
                </a:solidFill>
              </a:defRPr>
            </a:lvl1pPr>
          </a:lstStyle>
          <a:p>
            <a:r>
              <a:rPr lang="en-US" dirty="0">
                <a:solidFill>
                  <a:prstClr val="white"/>
                </a:solidFill>
              </a:rPr>
              <a:t>SANDVIK: Title of presentation</a:t>
            </a:r>
          </a:p>
        </p:txBody>
      </p:sp>
      <p:sp>
        <p:nvSpPr>
          <p:cNvPr id="6" name="Platshållare för bildnummer 5"/>
          <p:cNvSpPr>
            <a:spLocks noGrp="1"/>
          </p:cNvSpPr>
          <p:nvPr>
            <p:ph type="sldNum" sz="quarter" idx="12"/>
          </p:nvPr>
        </p:nvSpPr>
        <p:spPr/>
        <p:txBody>
          <a:bodyPr/>
          <a:lstStyle>
            <a:lvl1pPr>
              <a:defRPr>
                <a:solidFill>
                  <a:schemeClr val="bg1"/>
                </a:solidFill>
              </a:defRPr>
            </a:lvl1pPr>
          </a:lstStyle>
          <a:p>
            <a:fld id="{469B62F1-B431-48B6-8270-02431A1685B7}" type="slidenum">
              <a:rPr lang="en-US" smtClean="0">
                <a:solidFill>
                  <a:prstClr val="white"/>
                </a:solidFill>
              </a:rPr>
              <a:pPr/>
              <a:t>‹#›</a:t>
            </a:fld>
            <a:endParaRPr lang="en-US" dirty="0">
              <a:solidFill>
                <a:prstClr val="white"/>
              </a:solidFill>
            </a:endParaRPr>
          </a:p>
        </p:txBody>
      </p:sp>
      <p:sp>
        <p:nvSpPr>
          <p:cNvPr id="10" name="Platshållare för text 9"/>
          <p:cNvSpPr>
            <a:spLocks noGrp="1"/>
          </p:cNvSpPr>
          <p:nvPr>
            <p:ph type="body" sz="quarter" idx="13" hasCustomPrompt="1"/>
          </p:nvPr>
        </p:nvSpPr>
        <p:spPr>
          <a:xfrm>
            <a:off x="360000" y="1080000"/>
            <a:ext cx="8424000" cy="270000"/>
          </a:xfrm>
        </p:spPr>
        <p:txBody>
          <a:bodyPr>
            <a:noAutofit/>
          </a:bodyPr>
          <a:lstStyle>
            <a:lvl1pPr marL="0" indent="0">
              <a:lnSpc>
                <a:spcPct val="100000"/>
              </a:lnSpc>
              <a:buNone/>
              <a:defRPr sz="1800" b="0" cap="all" baseline="0">
                <a:solidFill>
                  <a:schemeClr val="bg1"/>
                </a:solidFill>
              </a:defRPr>
            </a:lvl1pPr>
          </a:lstStyle>
          <a:p>
            <a:pPr lvl="0"/>
            <a:r>
              <a:rPr lang="en-US" noProof="0" dirty="0"/>
              <a:t>Subheading (if needed)</a:t>
            </a:r>
          </a:p>
        </p:txBody>
      </p:sp>
      <p:pic>
        <p:nvPicPr>
          <p:cNvPr id="11" name="Bildobjekt 10" descr="SAV_Logo_white_RGB300.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902837" y="4554000"/>
            <a:ext cx="889869" cy="324000"/>
          </a:xfrm>
          <a:prstGeom prst="rect">
            <a:avLst/>
          </a:prstGeom>
        </p:spPr>
      </p:pic>
      <p:sp>
        <p:nvSpPr>
          <p:cNvPr id="13" name="Platshållare för text 12"/>
          <p:cNvSpPr>
            <a:spLocks noGrp="1"/>
          </p:cNvSpPr>
          <p:nvPr>
            <p:ph type="body" sz="quarter" idx="14" hasCustomPrompt="1"/>
          </p:nvPr>
        </p:nvSpPr>
        <p:spPr>
          <a:xfrm>
            <a:off x="360000" y="1530000"/>
            <a:ext cx="8424000" cy="2844000"/>
          </a:xfrm>
        </p:spPr>
        <p:txBody>
          <a:bodyPr/>
          <a:lstStyle>
            <a:lvl1pPr>
              <a:buClr>
                <a:schemeClr val="bg1"/>
              </a:buClr>
              <a:defRPr>
                <a:solidFill>
                  <a:schemeClr val="bg1"/>
                </a:solidFill>
              </a:defRPr>
            </a:lvl1pPr>
            <a:lvl2pPr marL="540000" indent="-162000">
              <a:buClr>
                <a:schemeClr val="bg1"/>
              </a:buClr>
              <a:buFont typeface="Arial" panose="020B0604020202020204" pitchFamily="34" charset="0"/>
              <a:buChar cha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568762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Agenda orange">
    <p:bg>
      <p:bgPr>
        <a:solidFill>
          <a:schemeClr val="accent2"/>
        </a:solidFill>
        <a:effectLst/>
      </p:bgPr>
    </p:bg>
    <p:spTree>
      <p:nvGrpSpPr>
        <p:cNvPr id="1" name=""/>
        <p:cNvGrpSpPr/>
        <p:nvPr/>
      </p:nvGrpSpPr>
      <p:grpSpPr>
        <a:xfrm>
          <a:off x="0" y="0"/>
          <a:ext cx="0" cy="0"/>
          <a:chOff x="0" y="0"/>
          <a:chExt cx="0" cy="0"/>
        </a:xfrm>
      </p:grpSpPr>
      <p:sp>
        <p:nvSpPr>
          <p:cNvPr id="2" name="Rubrik 1"/>
          <p:cNvSpPr>
            <a:spLocks noGrp="1"/>
          </p:cNvSpPr>
          <p:nvPr>
            <p:ph type="title" hasCustomPrompt="1"/>
          </p:nvPr>
        </p:nvSpPr>
        <p:spPr/>
        <p:txBody>
          <a:bodyPr/>
          <a:lstStyle>
            <a:lvl1pPr>
              <a:defRPr>
                <a:solidFill>
                  <a:schemeClr val="bg1"/>
                </a:solidFill>
              </a:defRPr>
            </a:lvl1pPr>
          </a:lstStyle>
          <a:p>
            <a:r>
              <a:rPr lang="en-US" noProof="0" dirty="0"/>
              <a:t>Agenda for today</a:t>
            </a:r>
          </a:p>
        </p:txBody>
      </p:sp>
      <p:sp>
        <p:nvSpPr>
          <p:cNvPr id="4" name="Platshållare för datum 3"/>
          <p:cNvSpPr>
            <a:spLocks noGrp="1"/>
          </p:cNvSpPr>
          <p:nvPr>
            <p:ph type="dt" sz="half" idx="10"/>
          </p:nvPr>
        </p:nvSpPr>
        <p:spPr/>
        <p:txBody>
          <a:bodyPr/>
          <a:lstStyle>
            <a:lvl1pPr>
              <a:defRPr>
                <a:solidFill>
                  <a:schemeClr val="bg1"/>
                </a:solidFill>
              </a:defRPr>
            </a:lvl1pPr>
          </a:lstStyle>
          <a:p>
            <a:fld id="{FE2DA2F3-4AA8-4350-8324-EDE8AF0B4FF2}" type="datetime1">
              <a:rPr lang="en-US" smtClean="0"/>
              <a:t>9/10/2018</a:t>
            </a:fld>
            <a:endParaRPr lang="en-US" dirty="0"/>
          </a:p>
        </p:txBody>
      </p:sp>
      <p:sp>
        <p:nvSpPr>
          <p:cNvPr id="5" name="Platshållare för sidfot 4"/>
          <p:cNvSpPr>
            <a:spLocks noGrp="1"/>
          </p:cNvSpPr>
          <p:nvPr>
            <p:ph type="ftr" sz="quarter" idx="11"/>
          </p:nvPr>
        </p:nvSpPr>
        <p:spPr/>
        <p:txBody>
          <a:bodyPr/>
          <a:lstStyle>
            <a:lvl1pPr>
              <a:defRPr>
                <a:solidFill>
                  <a:schemeClr val="bg1"/>
                </a:solidFill>
              </a:defRPr>
            </a:lvl1pPr>
          </a:lstStyle>
          <a:p>
            <a:r>
              <a:rPr lang="en-US" dirty="0"/>
              <a:t>SANDVIK: Title of presentation</a:t>
            </a:r>
          </a:p>
        </p:txBody>
      </p:sp>
      <p:sp>
        <p:nvSpPr>
          <p:cNvPr id="6" name="Platshållare för bildnummer 5"/>
          <p:cNvSpPr>
            <a:spLocks noGrp="1"/>
          </p:cNvSpPr>
          <p:nvPr>
            <p:ph type="sldNum" sz="quarter" idx="12"/>
          </p:nvPr>
        </p:nvSpPr>
        <p:spPr/>
        <p:txBody>
          <a:bodyPr/>
          <a:lstStyle>
            <a:lvl1pPr>
              <a:defRPr>
                <a:solidFill>
                  <a:schemeClr val="bg1"/>
                </a:solidFill>
              </a:defRPr>
            </a:lvl1pPr>
          </a:lstStyle>
          <a:p>
            <a:fld id="{469B62F1-B431-48B6-8270-02431A1685B7}" type="slidenum">
              <a:rPr lang="en-US" smtClean="0"/>
              <a:pPr/>
              <a:t>‹#›</a:t>
            </a:fld>
            <a:endParaRPr lang="en-US" dirty="0"/>
          </a:p>
        </p:txBody>
      </p:sp>
      <p:sp>
        <p:nvSpPr>
          <p:cNvPr id="10" name="Platshållare för text 9"/>
          <p:cNvSpPr>
            <a:spLocks noGrp="1"/>
          </p:cNvSpPr>
          <p:nvPr>
            <p:ph type="body" sz="quarter" idx="13" hasCustomPrompt="1"/>
          </p:nvPr>
        </p:nvSpPr>
        <p:spPr>
          <a:xfrm>
            <a:off x="360000" y="1080000"/>
            <a:ext cx="8424000" cy="270000"/>
          </a:xfrm>
        </p:spPr>
        <p:txBody>
          <a:bodyPr>
            <a:noAutofit/>
          </a:bodyPr>
          <a:lstStyle>
            <a:lvl1pPr marL="0" indent="0">
              <a:lnSpc>
                <a:spcPct val="100000"/>
              </a:lnSpc>
              <a:buNone/>
              <a:defRPr sz="1800" b="0" cap="all" baseline="0">
                <a:solidFill>
                  <a:schemeClr val="bg1"/>
                </a:solidFill>
              </a:defRPr>
            </a:lvl1pPr>
          </a:lstStyle>
          <a:p>
            <a:pPr lvl="0"/>
            <a:r>
              <a:rPr lang="en-US" noProof="0" dirty="0"/>
              <a:t>Subheading (if needed)</a:t>
            </a:r>
          </a:p>
        </p:txBody>
      </p:sp>
      <p:pic>
        <p:nvPicPr>
          <p:cNvPr id="11" name="Bildobjekt 10" descr="SAV_Logo_white_RGB300.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902838" y="4554000"/>
            <a:ext cx="889869" cy="324000"/>
          </a:xfrm>
          <a:prstGeom prst="rect">
            <a:avLst/>
          </a:prstGeom>
        </p:spPr>
      </p:pic>
      <p:sp>
        <p:nvSpPr>
          <p:cNvPr id="13" name="Platshållare för text 12"/>
          <p:cNvSpPr>
            <a:spLocks noGrp="1"/>
          </p:cNvSpPr>
          <p:nvPr>
            <p:ph type="body" sz="quarter" idx="14" hasCustomPrompt="1"/>
          </p:nvPr>
        </p:nvSpPr>
        <p:spPr>
          <a:xfrm>
            <a:off x="360000" y="1530000"/>
            <a:ext cx="8424000" cy="2844000"/>
          </a:xfrm>
        </p:spPr>
        <p:txBody>
          <a:bodyPr/>
          <a:lstStyle>
            <a:lvl1pPr>
              <a:buClr>
                <a:schemeClr val="bg1"/>
              </a:buClr>
              <a:defRPr>
                <a:solidFill>
                  <a:schemeClr val="bg1"/>
                </a:solidFill>
              </a:defRPr>
            </a:lvl1pPr>
            <a:lvl2pPr marL="539939" indent="-161982">
              <a:buClr>
                <a:schemeClr val="bg1"/>
              </a:buClr>
              <a:buFont typeface="Arial" panose="020B0604020202020204" pitchFamily="34" charset="0"/>
              <a:buChar char="−"/>
              <a:defRPr>
                <a:solidFill>
                  <a:schemeClr val="bg1"/>
                </a:solidFill>
              </a:defRPr>
            </a:lvl2pPr>
            <a:lvl3pPr marL="737916" indent="0">
              <a:buNone/>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2452589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p:cSld name="Agenda orange">
    <p:bg>
      <p:bgPr>
        <a:solidFill>
          <a:schemeClr val="accent2"/>
        </a:solidFill>
        <a:effectLst/>
      </p:bgPr>
    </p:bg>
    <p:spTree>
      <p:nvGrpSpPr>
        <p:cNvPr id="1" name=""/>
        <p:cNvGrpSpPr/>
        <p:nvPr/>
      </p:nvGrpSpPr>
      <p:grpSpPr>
        <a:xfrm>
          <a:off x="0" y="0"/>
          <a:ext cx="0" cy="0"/>
          <a:chOff x="0" y="0"/>
          <a:chExt cx="0" cy="0"/>
        </a:xfrm>
      </p:grpSpPr>
      <p:sp>
        <p:nvSpPr>
          <p:cNvPr id="2" name="Rubrik 1"/>
          <p:cNvSpPr>
            <a:spLocks noGrp="1"/>
          </p:cNvSpPr>
          <p:nvPr>
            <p:ph type="title" hasCustomPrompt="1"/>
          </p:nvPr>
        </p:nvSpPr>
        <p:spPr/>
        <p:txBody>
          <a:bodyPr/>
          <a:lstStyle>
            <a:lvl1pPr>
              <a:defRPr>
                <a:solidFill>
                  <a:schemeClr val="bg1"/>
                </a:solidFill>
              </a:defRPr>
            </a:lvl1pPr>
          </a:lstStyle>
          <a:p>
            <a:r>
              <a:rPr lang="en-US" noProof="0" dirty="0"/>
              <a:t>Agenda for today</a:t>
            </a:r>
          </a:p>
        </p:txBody>
      </p:sp>
      <p:sp>
        <p:nvSpPr>
          <p:cNvPr id="4" name="Platshållare för datum 3"/>
          <p:cNvSpPr>
            <a:spLocks noGrp="1"/>
          </p:cNvSpPr>
          <p:nvPr>
            <p:ph type="dt" sz="half" idx="10"/>
          </p:nvPr>
        </p:nvSpPr>
        <p:spPr/>
        <p:txBody>
          <a:bodyPr/>
          <a:lstStyle>
            <a:lvl1pPr>
              <a:defRPr>
                <a:solidFill>
                  <a:schemeClr val="bg1"/>
                </a:solidFill>
              </a:defRPr>
            </a:lvl1pPr>
          </a:lstStyle>
          <a:p>
            <a:fld id="{FE2DA2F3-4AA8-4350-8324-EDE8AF0B4FF2}" type="datetime1">
              <a:rPr lang="en-US" smtClean="0">
                <a:solidFill>
                  <a:prstClr val="white"/>
                </a:solidFill>
              </a:rPr>
              <a:pPr/>
              <a:t>9/10/2018</a:t>
            </a:fld>
            <a:endParaRPr lang="en-US" dirty="0">
              <a:solidFill>
                <a:prstClr val="white"/>
              </a:solidFill>
            </a:endParaRPr>
          </a:p>
        </p:txBody>
      </p:sp>
      <p:sp>
        <p:nvSpPr>
          <p:cNvPr id="5" name="Platshållare för sidfot 4"/>
          <p:cNvSpPr>
            <a:spLocks noGrp="1"/>
          </p:cNvSpPr>
          <p:nvPr>
            <p:ph type="ftr" sz="quarter" idx="11"/>
          </p:nvPr>
        </p:nvSpPr>
        <p:spPr/>
        <p:txBody>
          <a:bodyPr/>
          <a:lstStyle>
            <a:lvl1pPr>
              <a:defRPr>
                <a:solidFill>
                  <a:schemeClr val="bg1"/>
                </a:solidFill>
              </a:defRPr>
            </a:lvl1pPr>
          </a:lstStyle>
          <a:p>
            <a:r>
              <a:rPr lang="en-US" dirty="0">
                <a:solidFill>
                  <a:prstClr val="white"/>
                </a:solidFill>
              </a:rPr>
              <a:t>SANDVIK: Title of presentation</a:t>
            </a:r>
          </a:p>
        </p:txBody>
      </p:sp>
      <p:sp>
        <p:nvSpPr>
          <p:cNvPr id="6" name="Platshållare för bildnummer 5"/>
          <p:cNvSpPr>
            <a:spLocks noGrp="1"/>
          </p:cNvSpPr>
          <p:nvPr>
            <p:ph type="sldNum" sz="quarter" idx="12"/>
          </p:nvPr>
        </p:nvSpPr>
        <p:spPr/>
        <p:txBody>
          <a:bodyPr/>
          <a:lstStyle>
            <a:lvl1pPr>
              <a:defRPr>
                <a:solidFill>
                  <a:schemeClr val="bg1"/>
                </a:solidFill>
              </a:defRPr>
            </a:lvl1pPr>
          </a:lstStyle>
          <a:p>
            <a:fld id="{469B62F1-B431-48B6-8270-02431A1685B7}" type="slidenum">
              <a:rPr lang="en-US" smtClean="0">
                <a:solidFill>
                  <a:prstClr val="white"/>
                </a:solidFill>
              </a:rPr>
              <a:pPr/>
              <a:t>‹#›</a:t>
            </a:fld>
            <a:endParaRPr lang="en-US" dirty="0">
              <a:solidFill>
                <a:prstClr val="white"/>
              </a:solidFill>
            </a:endParaRPr>
          </a:p>
        </p:txBody>
      </p:sp>
      <p:sp>
        <p:nvSpPr>
          <p:cNvPr id="10" name="Platshållare för text 9"/>
          <p:cNvSpPr>
            <a:spLocks noGrp="1"/>
          </p:cNvSpPr>
          <p:nvPr>
            <p:ph type="body" sz="quarter" idx="13" hasCustomPrompt="1"/>
          </p:nvPr>
        </p:nvSpPr>
        <p:spPr>
          <a:xfrm>
            <a:off x="360000" y="1080000"/>
            <a:ext cx="8424000" cy="270000"/>
          </a:xfrm>
        </p:spPr>
        <p:txBody>
          <a:bodyPr>
            <a:noAutofit/>
          </a:bodyPr>
          <a:lstStyle>
            <a:lvl1pPr marL="0" indent="0">
              <a:lnSpc>
                <a:spcPct val="100000"/>
              </a:lnSpc>
              <a:buNone/>
              <a:defRPr sz="1800" b="0" cap="all" baseline="0">
                <a:solidFill>
                  <a:schemeClr val="bg1"/>
                </a:solidFill>
              </a:defRPr>
            </a:lvl1pPr>
          </a:lstStyle>
          <a:p>
            <a:pPr lvl="0"/>
            <a:r>
              <a:rPr lang="en-US" noProof="0" dirty="0"/>
              <a:t>Subheading (if needed)</a:t>
            </a:r>
          </a:p>
        </p:txBody>
      </p:sp>
      <p:pic>
        <p:nvPicPr>
          <p:cNvPr id="11" name="Bildobjekt 10" descr="SAV_Logo_white_RGB300.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902837" y="4554000"/>
            <a:ext cx="889869" cy="324000"/>
          </a:xfrm>
          <a:prstGeom prst="rect">
            <a:avLst/>
          </a:prstGeom>
        </p:spPr>
      </p:pic>
      <p:sp>
        <p:nvSpPr>
          <p:cNvPr id="13" name="Platshållare för text 12"/>
          <p:cNvSpPr>
            <a:spLocks noGrp="1"/>
          </p:cNvSpPr>
          <p:nvPr>
            <p:ph type="body" sz="quarter" idx="14" hasCustomPrompt="1"/>
          </p:nvPr>
        </p:nvSpPr>
        <p:spPr>
          <a:xfrm>
            <a:off x="360000" y="1530000"/>
            <a:ext cx="8424000" cy="2844000"/>
          </a:xfrm>
        </p:spPr>
        <p:txBody>
          <a:bodyPr/>
          <a:lstStyle>
            <a:lvl1pPr>
              <a:buClr>
                <a:schemeClr val="bg1"/>
              </a:buClr>
              <a:defRPr>
                <a:solidFill>
                  <a:schemeClr val="bg1"/>
                </a:solidFill>
              </a:defRPr>
            </a:lvl1pPr>
            <a:lvl2pPr marL="540000" indent="-162000">
              <a:buClr>
                <a:schemeClr val="bg1"/>
              </a:buClr>
              <a:buFont typeface="Arial" panose="020B0604020202020204" pitchFamily="34" charset="0"/>
              <a:buChar char="−"/>
              <a:defRPr>
                <a:solidFill>
                  <a:schemeClr val="bg1"/>
                </a:solidFill>
              </a:defRPr>
            </a:lvl2pPr>
            <a:lvl3pPr marL="738000" indent="0">
              <a:buNone/>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0458406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p:cSld name="Chapter divider blue">
    <p:bg>
      <p:bgPr>
        <a:solidFill>
          <a:schemeClr val="accent1"/>
        </a:solidFill>
        <a:effectLst/>
      </p:bgPr>
    </p:bg>
    <p:spTree>
      <p:nvGrpSpPr>
        <p:cNvPr id="1" name=""/>
        <p:cNvGrpSpPr/>
        <p:nvPr/>
      </p:nvGrpSpPr>
      <p:grpSpPr>
        <a:xfrm>
          <a:off x="0" y="0"/>
          <a:ext cx="0" cy="0"/>
          <a:chOff x="0" y="0"/>
          <a:chExt cx="0" cy="0"/>
        </a:xfrm>
      </p:grpSpPr>
      <p:sp>
        <p:nvSpPr>
          <p:cNvPr id="2" name="Rubrik 1"/>
          <p:cNvSpPr>
            <a:spLocks noGrp="1"/>
          </p:cNvSpPr>
          <p:nvPr>
            <p:ph type="title" hasCustomPrompt="1"/>
          </p:nvPr>
        </p:nvSpPr>
        <p:spPr>
          <a:xfrm>
            <a:off x="360000" y="3060000"/>
            <a:ext cx="8424000" cy="1440000"/>
          </a:xfrm>
        </p:spPr>
        <p:txBody>
          <a:bodyPr anchor="t">
            <a:noAutofit/>
          </a:bodyPr>
          <a:lstStyle>
            <a:lvl1pPr algn="l">
              <a:lnSpc>
                <a:spcPct val="100000"/>
              </a:lnSpc>
              <a:spcAft>
                <a:spcPts val="700"/>
              </a:spcAft>
              <a:defRPr sz="4800" b="0" cap="all">
                <a:solidFill>
                  <a:schemeClr val="bg1"/>
                </a:solidFill>
              </a:defRPr>
            </a:lvl1pPr>
          </a:lstStyle>
          <a:p>
            <a:r>
              <a:rPr lang="en-US" noProof="0" dirty="0"/>
              <a:t>Divider slide,</a:t>
            </a:r>
            <a:br>
              <a:rPr lang="en-US" noProof="0" dirty="0"/>
            </a:br>
            <a:r>
              <a:rPr lang="en-US" noProof="0" dirty="0"/>
              <a:t>text over two lines</a:t>
            </a:r>
          </a:p>
        </p:txBody>
      </p:sp>
      <p:sp>
        <p:nvSpPr>
          <p:cNvPr id="4" name="Platshållare för datum 3"/>
          <p:cNvSpPr>
            <a:spLocks noGrp="1"/>
          </p:cNvSpPr>
          <p:nvPr>
            <p:ph type="dt" sz="half" idx="10"/>
          </p:nvPr>
        </p:nvSpPr>
        <p:spPr/>
        <p:txBody>
          <a:bodyPr/>
          <a:lstStyle>
            <a:lvl1pPr>
              <a:defRPr>
                <a:solidFill>
                  <a:schemeClr val="bg1"/>
                </a:solidFill>
              </a:defRPr>
            </a:lvl1pPr>
          </a:lstStyle>
          <a:p>
            <a:fld id="{E03E505D-A21F-4E59-9FEC-31B1E2CDF3A8}" type="datetime1">
              <a:rPr lang="en-US" smtClean="0">
                <a:solidFill>
                  <a:prstClr val="white"/>
                </a:solidFill>
              </a:rPr>
              <a:pPr/>
              <a:t>9/10/2018</a:t>
            </a:fld>
            <a:endParaRPr lang="en-US" dirty="0">
              <a:solidFill>
                <a:prstClr val="white"/>
              </a:solidFill>
            </a:endParaRPr>
          </a:p>
        </p:txBody>
      </p:sp>
      <p:sp>
        <p:nvSpPr>
          <p:cNvPr id="5" name="Platshållare för sidfot 4"/>
          <p:cNvSpPr>
            <a:spLocks noGrp="1"/>
          </p:cNvSpPr>
          <p:nvPr>
            <p:ph type="ftr" sz="quarter" idx="11"/>
          </p:nvPr>
        </p:nvSpPr>
        <p:spPr/>
        <p:txBody>
          <a:bodyPr/>
          <a:lstStyle>
            <a:lvl1pPr>
              <a:defRPr>
                <a:solidFill>
                  <a:schemeClr val="bg1"/>
                </a:solidFill>
              </a:defRPr>
            </a:lvl1pPr>
          </a:lstStyle>
          <a:p>
            <a:r>
              <a:rPr lang="en-US" dirty="0">
                <a:solidFill>
                  <a:prstClr val="white"/>
                </a:solidFill>
              </a:rPr>
              <a:t>SANDVIK: Title of presentation</a:t>
            </a:r>
          </a:p>
        </p:txBody>
      </p:sp>
      <p:sp>
        <p:nvSpPr>
          <p:cNvPr id="6" name="Platshållare för bildnummer 5"/>
          <p:cNvSpPr>
            <a:spLocks noGrp="1"/>
          </p:cNvSpPr>
          <p:nvPr>
            <p:ph type="sldNum" sz="quarter" idx="12"/>
          </p:nvPr>
        </p:nvSpPr>
        <p:spPr/>
        <p:txBody>
          <a:bodyPr/>
          <a:lstStyle>
            <a:lvl1pPr>
              <a:defRPr>
                <a:solidFill>
                  <a:schemeClr val="bg1"/>
                </a:solidFill>
              </a:defRPr>
            </a:lvl1pPr>
          </a:lstStyle>
          <a:p>
            <a:fld id="{469B62F1-B431-48B6-8270-02431A1685B7}" type="slidenum">
              <a:rPr lang="en-US" smtClean="0">
                <a:solidFill>
                  <a:prstClr val="white"/>
                </a:solidFill>
              </a:rPr>
              <a:pPr/>
              <a:t>‹#›</a:t>
            </a:fld>
            <a:endParaRPr lang="en-US" dirty="0">
              <a:solidFill>
                <a:prstClr val="white"/>
              </a:solidFill>
            </a:endParaRPr>
          </a:p>
        </p:txBody>
      </p:sp>
      <p:pic>
        <p:nvPicPr>
          <p:cNvPr id="8" name="Bildobjekt 7" descr="SAV_Logo_white_RGB300.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902837" y="4554000"/>
            <a:ext cx="889869" cy="324000"/>
          </a:xfrm>
          <a:prstGeom prst="rect">
            <a:avLst/>
          </a:prstGeom>
        </p:spPr>
      </p:pic>
      <p:pic>
        <p:nvPicPr>
          <p:cNvPr id="11" name="Bildobjekt 10"/>
          <p:cNvPicPr>
            <a:picLocks noChangeAspect="1"/>
          </p:cNvPicPr>
          <p:nvPr/>
        </p:nvPicPr>
        <p:blipFill rotWithShape="1">
          <a:blip r:embed="rId3" cstate="screen">
            <a:extLst>
              <a:ext uri="{28A0092B-C50C-407E-A947-70E740481C1C}">
                <a14:useLocalDpi xmlns:a14="http://schemas.microsoft.com/office/drawing/2010/main"/>
              </a:ext>
            </a:extLst>
          </a:blip>
          <a:srcRect r="7637"/>
          <a:stretch/>
        </p:blipFill>
        <p:spPr>
          <a:xfrm>
            <a:off x="0" y="720000"/>
            <a:ext cx="9144000" cy="2304092"/>
          </a:xfrm>
          <a:prstGeom prst="rect">
            <a:avLst/>
          </a:prstGeom>
        </p:spPr>
      </p:pic>
    </p:spTree>
    <p:extLst>
      <p:ext uri="{BB962C8B-B14F-4D97-AF65-F5344CB8AC3E}">
        <p14:creationId xmlns:p14="http://schemas.microsoft.com/office/powerpoint/2010/main" val="15603446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p:cSld name="Chapter divider orange">
    <p:bg>
      <p:bgPr>
        <a:solidFill>
          <a:schemeClr val="accent2"/>
        </a:solidFill>
        <a:effectLst/>
      </p:bgPr>
    </p:bg>
    <p:spTree>
      <p:nvGrpSpPr>
        <p:cNvPr id="1" name=""/>
        <p:cNvGrpSpPr/>
        <p:nvPr/>
      </p:nvGrpSpPr>
      <p:grpSpPr>
        <a:xfrm>
          <a:off x="0" y="0"/>
          <a:ext cx="0" cy="0"/>
          <a:chOff x="0" y="0"/>
          <a:chExt cx="0" cy="0"/>
        </a:xfrm>
      </p:grpSpPr>
      <p:sp>
        <p:nvSpPr>
          <p:cNvPr id="2" name="Rubrik 1"/>
          <p:cNvSpPr>
            <a:spLocks noGrp="1"/>
          </p:cNvSpPr>
          <p:nvPr>
            <p:ph type="title" hasCustomPrompt="1"/>
          </p:nvPr>
        </p:nvSpPr>
        <p:spPr>
          <a:xfrm>
            <a:off x="360000" y="1260000"/>
            <a:ext cx="8424000" cy="1080000"/>
          </a:xfrm>
        </p:spPr>
        <p:txBody>
          <a:bodyPr anchor="t">
            <a:noAutofit/>
          </a:bodyPr>
          <a:lstStyle>
            <a:lvl1pPr algn="l">
              <a:lnSpc>
                <a:spcPct val="100000"/>
              </a:lnSpc>
              <a:spcAft>
                <a:spcPts val="700"/>
              </a:spcAft>
              <a:defRPr sz="4800" b="0" cap="all">
                <a:solidFill>
                  <a:schemeClr val="bg1"/>
                </a:solidFill>
              </a:defRPr>
            </a:lvl1pPr>
          </a:lstStyle>
          <a:p>
            <a:r>
              <a:rPr lang="en-US" noProof="0" dirty="0"/>
              <a:t>Divider slide, one line</a:t>
            </a:r>
          </a:p>
        </p:txBody>
      </p:sp>
      <p:sp>
        <p:nvSpPr>
          <p:cNvPr id="4" name="Platshållare för datum 3"/>
          <p:cNvSpPr>
            <a:spLocks noGrp="1"/>
          </p:cNvSpPr>
          <p:nvPr>
            <p:ph type="dt" sz="half" idx="10"/>
          </p:nvPr>
        </p:nvSpPr>
        <p:spPr/>
        <p:txBody>
          <a:bodyPr/>
          <a:lstStyle>
            <a:lvl1pPr>
              <a:defRPr>
                <a:solidFill>
                  <a:schemeClr val="bg1"/>
                </a:solidFill>
              </a:defRPr>
            </a:lvl1pPr>
          </a:lstStyle>
          <a:p>
            <a:fld id="{BE171C09-F294-48F0-98F0-E231882A15E0}" type="datetime1">
              <a:rPr lang="en-US" smtClean="0">
                <a:solidFill>
                  <a:prstClr val="white"/>
                </a:solidFill>
              </a:rPr>
              <a:pPr/>
              <a:t>9/10/2018</a:t>
            </a:fld>
            <a:endParaRPr lang="en-US" dirty="0">
              <a:solidFill>
                <a:prstClr val="white"/>
              </a:solidFill>
            </a:endParaRPr>
          </a:p>
        </p:txBody>
      </p:sp>
      <p:sp>
        <p:nvSpPr>
          <p:cNvPr id="5" name="Platshållare för sidfot 4"/>
          <p:cNvSpPr>
            <a:spLocks noGrp="1"/>
          </p:cNvSpPr>
          <p:nvPr>
            <p:ph type="ftr" sz="quarter" idx="11"/>
          </p:nvPr>
        </p:nvSpPr>
        <p:spPr/>
        <p:txBody>
          <a:bodyPr/>
          <a:lstStyle>
            <a:lvl1pPr>
              <a:defRPr>
                <a:solidFill>
                  <a:schemeClr val="bg1"/>
                </a:solidFill>
              </a:defRPr>
            </a:lvl1pPr>
          </a:lstStyle>
          <a:p>
            <a:r>
              <a:rPr lang="en-US" dirty="0">
                <a:solidFill>
                  <a:prstClr val="white"/>
                </a:solidFill>
              </a:rPr>
              <a:t>SANDVIK: Title of presentation</a:t>
            </a:r>
          </a:p>
        </p:txBody>
      </p:sp>
      <p:sp>
        <p:nvSpPr>
          <p:cNvPr id="6" name="Platshållare för bildnummer 5"/>
          <p:cNvSpPr>
            <a:spLocks noGrp="1"/>
          </p:cNvSpPr>
          <p:nvPr>
            <p:ph type="sldNum" sz="quarter" idx="12"/>
          </p:nvPr>
        </p:nvSpPr>
        <p:spPr/>
        <p:txBody>
          <a:bodyPr/>
          <a:lstStyle>
            <a:lvl1pPr>
              <a:defRPr>
                <a:solidFill>
                  <a:schemeClr val="bg1"/>
                </a:solidFill>
              </a:defRPr>
            </a:lvl1pPr>
          </a:lstStyle>
          <a:p>
            <a:fld id="{469B62F1-B431-48B6-8270-02431A1685B7}" type="slidenum">
              <a:rPr lang="en-US" smtClean="0">
                <a:solidFill>
                  <a:prstClr val="white"/>
                </a:solidFill>
              </a:rPr>
              <a:pPr/>
              <a:t>‹#›</a:t>
            </a:fld>
            <a:endParaRPr lang="en-US" dirty="0">
              <a:solidFill>
                <a:prstClr val="white"/>
              </a:solidFill>
            </a:endParaRPr>
          </a:p>
        </p:txBody>
      </p:sp>
      <p:pic>
        <p:nvPicPr>
          <p:cNvPr id="8" name="Bildobjekt 7" descr="SAV_Logo_white_RGB300.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902837" y="4554000"/>
            <a:ext cx="889869" cy="324000"/>
          </a:xfrm>
          <a:prstGeom prst="rect">
            <a:avLst/>
          </a:prstGeom>
        </p:spPr>
      </p:pic>
      <p:pic>
        <p:nvPicPr>
          <p:cNvPr id="9" name="Picture 8"/>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396552" y="1851670"/>
            <a:ext cx="9540552" cy="2807266"/>
          </a:xfrm>
          <a:prstGeom prst="rect">
            <a:avLst/>
          </a:prstGeom>
        </p:spPr>
      </p:pic>
    </p:spTree>
    <p:extLst>
      <p:ext uri="{BB962C8B-B14F-4D97-AF65-F5344CB8AC3E}">
        <p14:creationId xmlns:p14="http://schemas.microsoft.com/office/powerpoint/2010/main" val="1386580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Rubrik 1"/>
          <p:cNvSpPr>
            <a:spLocks noGrp="1"/>
          </p:cNvSpPr>
          <p:nvPr>
            <p:ph type="title" hasCustomPrompt="1"/>
          </p:nvPr>
        </p:nvSpPr>
        <p:spPr>
          <a:xfrm>
            <a:off x="360000" y="414000"/>
            <a:ext cx="8424000" cy="360000"/>
          </a:xfrm>
        </p:spPr>
        <p:txBody>
          <a:bodyPr/>
          <a:lstStyle>
            <a:lvl1pPr>
              <a:defRPr/>
            </a:lvl1pPr>
          </a:lstStyle>
          <a:p>
            <a:r>
              <a:rPr lang="en-US" noProof="0" dirty="0"/>
              <a:t>Headline one line</a:t>
            </a:r>
          </a:p>
        </p:txBody>
      </p:sp>
      <p:sp>
        <p:nvSpPr>
          <p:cNvPr id="3" name="Platshållare för innehåll 2"/>
          <p:cNvSpPr>
            <a:spLocks noGrp="1"/>
          </p:cNvSpPr>
          <p:nvPr>
            <p:ph idx="1" hasCustomPrompt="1"/>
          </p:nvPr>
        </p:nvSpPr>
        <p:spPr/>
        <p:txBody>
          <a:bodyPr/>
          <a:lstStyle>
            <a:lvl1pPr>
              <a:buClr>
                <a:schemeClr val="tx1"/>
              </a:buClr>
              <a:defRPr/>
            </a:lvl1pPr>
            <a:lvl2pPr marL="540000" indent="-162000">
              <a:buClr>
                <a:schemeClr val="tx1"/>
              </a:buClr>
              <a:buFont typeface="Arial" panose="020B0604020202020204" pitchFamily="34" charset="0"/>
              <a:buChar char="−"/>
              <a:defRPr/>
            </a:lvl2pPr>
          </a:lstStyle>
          <a:p>
            <a:pPr lvl="0"/>
            <a:r>
              <a:rPr lang="en-US" dirty="0"/>
              <a:t>Click to edit Master text styles</a:t>
            </a:r>
          </a:p>
          <a:p>
            <a:pPr lvl="1"/>
            <a:r>
              <a:rPr lang="en-US" dirty="0"/>
              <a:t>Second level</a:t>
            </a:r>
          </a:p>
        </p:txBody>
      </p:sp>
      <p:sp>
        <p:nvSpPr>
          <p:cNvPr id="4" name="Platshållare för datum 3"/>
          <p:cNvSpPr>
            <a:spLocks noGrp="1"/>
          </p:cNvSpPr>
          <p:nvPr>
            <p:ph type="dt" sz="half" idx="10"/>
          </p:nvPr>
        </p:nvSpPr>
        <p:spPr/>
        <p:txBody>
          <a:bodyPr/>
          <a:lstStyle/>
          <a:p>
            <a:fld id="{C29E6C7A-CD18-4FE5-9CB6-16EC811B9DFD}" type="datetime1">
              <a:rPr lang="en-US" smtClean="0">
                <a:solidFill>
                  <a:srgbClr val="7F7F7F"/>
                </a:solidFill>
              </a:rPr>
              <a:pPr/>
              <a:t>9/10/2018</a:t>
            </a:fld>
            <a:endParaRPr lang="en-US" dirty="0">
              <a:solidFill>
                <a:srgbClr val="7F7F7F"/>
              </a:solidFill>
            </a:endParaRPr>
          </a:p>
        </p:txBody>
      </p:sp>
      <p:sp>
        <p:nvSpPr>
          <p:cNvPr id="5" name="Platshållare för sidfot 4"/>
          <p:cNvSpPr>
            <a:spLocks noGrp="1"/>
          </p:cNvSpPr>
          <p:nvPr>
            <p:ph type="ftr" sz="quarter" idx="11"/>
          </p:nvPr>
        </p:nvSpPr>
        <p:spPr/>
        <p:txBody>
          <a:bodyPr/>
          <a:lstStyle/>
          <a:p>
            <a:r>
              <a:rPr lang="en-US" dirty="0">
                <a:solidFill>
                  <a:srgbClr val="7F7F7F"/>
                </a:solidFill>
              </a:rPr>
              <a:t>SANDVIK: Title of presentation</a:t>
            </a:r>
          </a:p>
        </p:txBody>
      </p:sp>
      <p:sp>
        <p:nvSpPr>
          <p:cNvPr id="6" name="Platshållare för bildnummer 5"/>
          <p:cNvSpPr>
            <a:spLocks noGrp="1"/>
          </p:cNvSpPr>
          <p:nvPr>
            <p:ph type="sldNum" sz="quarter" idx="12"/>
          </p:nvPr>
        </p:nvSpPr>
        <p:spPr/>
        <p:txBody>
          <a:bodyPr/>
          <a:lstStyle/>
          <a:p>
            <a:fld id="{469B62F1-B431-48B6-8270-02431A1685B7}" type="slidenum">
              <a:rPr lang="en-US" smtClean="0">
                <a:solidFill>
                  <a:srgbClr val="7F7F7F"/>
                </a:solidFill>
              </a:rPr>
              <a:pPr/>
              <a:t>‹#›</a:t>
            </a:fld>
            <a:endParaRPr lang="en-US" dirty="0">
              <a:solidFill>
                <a:srgbClr val="7F7F7F"/>
              </a:solidFill>
            </a:endParaRPr>
          </a:p>
        </p:txBody>
      </p:sp>
    </p:spTree>
    <p:extLst>
      <p:ext uri="{BB962C8B-B14F-4D97-AF65-F5344CB8AC3E}">
        <p14:creationId xmlns:p14="http://schemas.microsoft.com/office/powerpoint/2010/main" val="277664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itle and content - subhead">
    <p:spTree>
      <p:nvGrpSpPr>
        <p:cNvPr id="1" name=""/>
        <p:cNvGrpSpPr/>
        <p:nvPr/>
      </p:nvGrpSpPr>
      <p:grpSpPr>
        <a:xfrm>
          <a:off x="0" y="0"/>
          <a:ext cx="0" cy="0"/>
          <a:chOff x="0" y="0"/>
          <a:chExt cx="0" cy="0"/>
        </a:xfrm>
      </p:grpSpPr>
      <p:sp>
        <p:nvSpPr>
          <p:cNvPr id="2" name="Rubrik 1"/>
          <p:cNvSpPr>
            <a:spLocks noGrp="1"/>
          </p:cNvSpPr>
          <p:nvPr>
            <p:ph type="title" hasCustomPrompt="1"/>
          </p:nvPr>
        </p:nvSpPr>
        <p:spPr>
          <a:xfrm>
            <a:off x="360000" y="414000"/>
            <a:ext cx="8424000" cy="360000"/>
          </a:xfrm>
        </p:spPr>
        <p:txBody>
          <a:bodyPr/>
          <a:lstStyle>
            <a:lvl1pPr>
              <a:defRPr/>
            </a:lvl1pPr>
          </a:lstStyle>
          <a:p>
            <a:r>
              <a:rPr lang="en-US" noProof="0" dirty="0"/>
              <a:t>Headline one line</a:t>
            </a:r>
          </a:p>
        </p:txBody>
      </p:sp>
      <p:sp>
        <p:nvSpPr>
          <p:cNvPr id="3" name="Platshållare för innehåll 2"/>
          <p:cNvSpPr>
            <a:spLocks noGrp="1"/>
          </p:cNvSpPr>
          <p:nvPr>
            <p:ph idx="1" hasCustomPrompt="1"/>
          </p:nvPr>
        </p:nvSpPr>
        <p:spPr>
          <a:xfrm>
            <a:off x="360000" y="1530000"/>
            <a:ext cx="8424000" cy="2844000"/>
          </a:xfrm>
        </p:spPr>
        <p:txBody>
          <a:bodyPr/>
          <a:lstStyle>
            <a:lvl1pPr>
              <a:buClr>
                <a:schemeClr val="tx1"/>
              </a:buClr>
              <a:defRPr/>
            </a:lvl1pPr>
            <a:lvl2pPr marL="540000" indent="-162000">
              <a:buClr>
                <a:schemeClr val="tx1"/>
              </a:buClr>
              <a:buFont typeface="Arial" panose="020B0604020202020204" pitchFamily="34" charset="0"/>
              <a:buChar char="−"/>
              <a:defRPr/>
            </a:lvl2pPr>
          </a:lstStyle>
          <a:p>
            <a:pPr lvl="0"/>
            <a:r>
              <a:rPr lang="en-US" dirty="0"/>
              <a:t>Click to edit Master text styles</a:t>
            </a:r>
          </a:p>
          <a:p>
            <a:pPr lvl="1"/>
            <a:r>
              <a:rPr lang="en-US" dirty="0"/>
              <a:t>Second level</a:t>
            </a:r>
          </a:p>
        </p:txBody>
      </p:sp>
      <p:sp>
        <p:nvSpPr>
          <p:cNvPr id="4" name="Platshållare för datum 3"/>
          <p:cNvSpPr>
            <a:spLocks noGrp="1"/>
          </p:cNvSpPr>
          <p:nvPr>
            <p:ph type="dt" sz="half" idx="10"/>
          </p:nvPr>
        </p:nvSpPr>
        <p:spPr/>
        <p:txBody>
          <a:bodyPr/>
          <a:lstStyle/>
          <a:p>
            <a:fld id="{9567CFF2-0FC3-45CF-A5BF-BAC9AD3AD346}" type="datetime1">
              <a:rPr lang="en-US" smtClean="0">
                <a:solidFill>
                  <a:srgbClr val="7F7F7F"/>
                </a:solidFill>
              </a:rPr>
              <a:pPr/>
              <a:t>9/10/2018</a:t>
            </a:fld>
            <a:endParaRPr lang="en-US" dirty="0">
              <a:solidFill>
                <a:srgbClr val="7F7F7F"/>
              </a:solidFill>
            </a:endParaRPr>
          </a:p>
        </p:txBody>
      </p:sp>
      <p:sp>
        <p:nvSpPr>
          <p:cNvPr id="5" name="Platshållare för sidfot 4"/>
          <p:cNvSpPr>
            <a:spLocks noGrp="1"/>
          </p:cNvSpPr>
          <p:nvPr>
            <p:ph type="ftr" sz="quarter" idx="11"/>
          </p:nvPr>
        </p:nvSpPr>
        <p:spPr/>
        <p:txBody>
          <a:bodyPr/>
          <a:lstStyle/>
          <a:p>
            <a:r>
              <a:rPr lang="en-US" dirty="0">
                <a:solidFill>
                  <a:srgbClr val="7F7F7F"/>
                </a:solidFill>
              </a:rPr>
              <a:t>SANDVIK: Title of presentation</a:t>
            </a:r>
          </a:p>
        </p:txBody>
      </p:sp>
      <p:sp>
        <p:nvSpPr>
          <p:cNvPr id="6" name="Platshållare för bildnummer 5"/>
          <p:cNvSpPr>
            <a:spLocks noGrp="1"/>
          </p:cNvSpPr>
          <p:nvPr>
            <p:ph type="sldNum" sz="quarter" idx="12"/>
          </p:nvPr>
        </p:nvSpPr>
        <p:spPr/>
        <p:txBody>
          <a:bodyPr/>
          <a:lstStyle/>
          <a:p>
            <a:fld id="{469B62F1-B431-48B6-8270-02431A1685B7}" type="slidenum">
              <a:rPr lang="en-US" smtClean="0">
                <a:solidFill>
                  <a:srgbClr val="7F7F7F"/>
                </a:solidFill>
              </a:rPr>
              <a:pPr/>
              <a:t>‹#›</a:t>
            </a:fld>
            <a:endParaRPr lang="en-US" dirty="0">
              <a:solidFill>
                <a:srgbClr val="7F7F7F"/>
              </a:solidFill>
            </a:endParaRPr>
          </a:p>
        </p:txBody>
      </p:sp>
      <p:sp>
        <p:nvSpPr>
          <p:cNvPr id="8" name="Platshållare för text 7"/>
          <p:cNvSpPr>
            <a:spLocks noGrp="1"/>
          </p:cNvSpPr>
          <p:nvPr>
            <p:ph type="body" sz="quarter" idx="13" hasCustomPrompt="1"/>
          </p:nvPr>
        </p:nvSpPr>
        <p:spPr>
          <a:xfrm>
            <a:off x="360000" y="1080000"/>
            <a:ext cx="8424000" cy="270000"/>
          </a:xfrm>
        </p:spPr>
        <p:txBody>
          <a:bodyPr>
            <a:noAutofit/>
          </a:bodyPr>
          <a:lstStyle>
            <a:lvl1pPr marL="0" indent="0">
              <a:lnSpc>
                <a:spcPct val="100000"/>
              </a:lnSpc>
              <a:buNone/>
              <a:defRPr sz="1800" b="0" cap="all" baseline="0">
                <a:solidFill>
                  <a:schemeClr val="accent2"/>
                </a:solidFill>
              </a:defRPr>
            </a:lvl1pPr>
          </a:lstStyle>
          <a:p>
            <a:pPr lvl="0"/>
            <a:r>
              <a:rPr lang="en-US" noProof="0" dirty="0"/>
              <a:t>Subheading</a:t>
            </a:r>
          </a:p>
        </p:txBody>
      </p:sp>
    </p:spTree>
    <p:extLst>
      <p:ext uri="{BB962C8B-B14F-4D97-AF65-F5344CB8AC3E}">
        <p14:creationId xmlns:p14="http://schemas.microsoft.com/office/powerpoint/2010/main" val="3732187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Rubrik 1"/>
          <p:cNvSpPr>
            <a:spLocks noGrp="1"/>
          </p:cNvSpPr>
          <p:nvPr>
            <p:ph type="title" hasCustomPrompt="1"/>
          </p:nvPr>
        </p:nvSpPr>
        <p:spPr/>
        <p:txBody>
          <a:bodyPr/>
          <a:lstStyle>
            <a:lvl1pPr>
              <a:defRPr/>
            </a:lvl1pPr>
          </a:lstStyle>
          <a:p>
            <a:r>
              <a:rPr lang="en-US" noProof="0" dirty="0"/>
              <a:t>Headline one line</a:t>
            </a:r>
          </a:p>
        </p:txBody>
      </p:sp>
      <p:sp>
        <p:nvSpPr>
          <p:cNvPr id="3" name="Platshållare för innehåll 2"/>
          <p:cNvSpPr>
            <a:spLocks noGrp="1"/>
          </p:cNvSpPr>
          <p:nvPr>
            <p:ph sz="half" idx="1" hasCustomPrompt="1"/>
          </p:nvPr>
        </p:nvSpPr>
        <p:spPr>
          <a:xfrm>
            <a:off x="360000" y="1134000"/>
            <a:ext cx="4122000" cy="3240000"/>
          </a:xfrm>
        </p:spPr>
        <p:txBody>
          <a:bodyPr>
            <a:noAutofit/>
          </a:bodyPr>
          <a:lstStyle>
            <a:lvl1pPr>
              <a:defRPr sz="1800"/>
            </a:lvl1pPr>
            <a:lvl2pPr marL="540000" indent="-162000">
              <a:buFont typeface="Arial" panose="020B0604020202020204" pitchFamily="34" charset="0"/>
              <a:buChar char="−"/>
              <a:defRPr sz="1600"/>
            </a:lvl2pPr>
            <a:lvl3pPr>
              <a:defRPr sz="1400"/>
            </a:lvl3pPr>
            <a:lvl4pPr>
              <a:defRPr sz="1200"/>
            </a:lvl4pPr>
            <a:lvl5pPr>
              <a:defRPr sz="105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p:txBody>
      </p:sp>
      <p:sp>
        <p:nvSpPr>
          <p:cNvPr id="4" name="Platshållare för innehåll 3"/>
          <p:cNvSpPr>
            <a:spLocks noGrp="1"/>
          </p:cNvSpPr>
          <p:nvPr>
            <p:ph sz="half" idx="2" hasCustomPrompt="1"/>
          </p:nvPr>
        </p:nvSpPr>
        <p:spPr>
          <a:xfrm>
            <a:off x="4662000" y="1134000"/>
            <a:ext cx="4122000" cy="3240000"/>
          </a:xfrm>
        </p:spPr>
        <p:txBody>
          <a:bodyPr>
            <a:noAutofit/>
          </a:bodyPr>
          <a:lstStyle>
            <a:lvl1pPr>
              <a:defRPr sz="1800"/>
            </a:lvl1pPr>
            <a:lvl2pPr marL="540000" indent="-162000">
              <a:buFont typeface="Arial" panose="020B0604020202020204" pitchFamily="34" charset="0"/>
              <a:buChar char="−"/>
              <a:defRPr sz="1600"/>
            </a:lvl2pPr>
            <a:lvl3pPr>
              <a:defRPr sz="1400"/>
            </a:lvl3pPr>
            <a:lvl4pPr>
              <a:defRPr sz="1200"/>
            </a:lvl4pPr>
            <a:lvl5pPr>
              <a:defRPr sz="105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p:txBody>
      </p:sp>
      <p:sp>
        <p:nvSpPr>
          <p:cNvPr id="5" name="Platshållare för datum 4"/>
          <p:cNvSpPr>
            <a:spLocks noGrp="1"/>
          </p:cNvSpPr>
          <p:nvPr>
            <p:ph type="dt" sz="half" idx="10"/>
          </p:nvPr>
        </p:nvSpPr>
        <p:spPr/>
        <p:txBody>
          <a:bodyPr/>
          <a:lstStyle/>
          <a:p>
            <a:fld id="{099FC9A5-D370-4F2A-A29B-6BAB358185B7}" type="datetime1">
              <a:rPr lang="en-US" smtClean="0">
                <a:solidFill>
                  <a:srgbClr val="7F7F7F"/>
                </a:solidFill>
              </a:rPr>
              <a:pPr/>
              <a:t>9/10/2018</a:t>
            </a:fld>
            <a:endParaRPr lang="en-US" dirty="0">
              <a:solidFill>
                <a:srgbClr val="7F7F7F"/>
              </a:solidFill>
            </a:endParaRPr>
          </a:p>
        </p:txBody>
      </p:sp>
      <p:sp>
        <p:nvSpPr>
          <p:cNvPr id="6" name="Platshållare för sidfot 5"/>
          <p:cNvSpPr>
            <a:spLocks noGrp="1"/>
          </p:cNvSpPr>
          <p:nvPr>
            <p:ph type="ftr" sz="quarter" idx="11"/>
          </p:nvPr>
        </p:nvSpPr>
        <p:spPr/>
        <p:txBody>
          <a:bodyPr/>
          <a:lstStyle/>
          <a:p>
            <a:r>
              <a:rPr lang="en-US" dirty="0">
                <a:solidFill>
                  <a:srgbClr val="7F7F7F"/>
                </a:solidFill>
              </a:rPr>
              <a:t>SANDVIK: Title of presentation</a:t>
            </a:r>
          </a:p>
        </p:txBody>
      </p:sp>
      <p:sp>
        <p:nvSpPr>
          <p:cNvPr id="7" name="Platshållare för bildnummer 6"/>
          <p:cNvSpPr>
            <a:spLocks noGrp="1"/>
          </p:cNvSpPr>
          <p:nvPr>
            <p:ph type="sldNum" sz="quarter" idx="12"/>
          </p:nvPr>
        </p:nvSpPr>
        <p:spPr/>
        <p:txBody>
          <a:bodyPr/>
          <a:lstStyle/>
          <a:p>
            <a:fld id="{469B62F1-B431-48B6-8270-02431A1685B7}" type="slidenum">
              <a:rPr lang="en-US" smtClean="0">
                <a:solidFill>
                  <a:srgbClr val="7F7F7F"/>
                </a:solidFill>
              </a:rPr>
              <a:pPr/>
              <a:t>‹#›</a:t>
            </a:fld>
            <a:endParaRPr lang="en-US" dirty="0">
              <a:solidFill>
                <a:srgbClr val="7F7F7F"/>
              </a:solidFill>
            </a:endParaRPr>
          </a:p>
        </p:txBody>
      </p:sp>
    </p:spTree>
    <p:extLst>
      <p:ext uri="{BB962C8B-B14F-4D97-AF65-F5344CB8AC3E}">
        <p14:creationId xmlns:p14="http://schemas.microsoft.com/office/powerpoint/2010/main" val="29857277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wo content no title">
    <p:spTree>
      <p:nvGrpSpPr>
        <p:cNvPr id="1" name=""/>
        <p:cNvGrpSpPr/>
        <p:nvPr/>
      </p:nvGrpSpPr>
      <p:grpSpPr>
        <a:xfrm>
          <a:off x="0" y="0"/>
          <a:ext cx="0" cy="0"/>
          <a:chOff x="0" y="0"/>
          <a:chExt cx="0" cy="0"/>
        </a:xfrm>
      </p:grpSpPr>
      <p:sp>
        <p:nvSpPr>
          <p:cNvPr id="3" name="Platshållare för innehåll 2"/>
          <p:cNvSpPr>
            <a:spLocks noGrp="1"/>
          </p:cNvSpPr>
          <p:nvPr>
            <p:ph sz="half" idx="1" hasCustomPrompt="1"/>
          </p:nvPr>
        </p:nvSpPr>
        <p:spPr>
          <a:xfrm>
            <a:off x="360000" y="414000"/>
            <a:ext cx="4122000" cy="3960000"/>
          </a:xfrm>
        </p:spPr>
        <p:txBody>
          <a:bodyPr>
            <a:noAutofit/>
          </a:bodyPr>
          <a:lstStyle>
            <a:lvl1pPr>
              <a:defRPr sz="1800"/>
            </a:lvl1pPr>
            <a:lvl2pPr marL="540000" indent="-162000">
              <a:buFont typeface="Arial" panose="020B0604020202020204" pitchFamily="34" charset="0"/>
              <a:buChar char="−"/>
              <a:defRPr sz="1600"/>
            </a:lvl2pPr>
            <a:lvl3pPr>
              <a:defRPr sz="1400"/>
            </a:lvl3pPr>
            <a:lvl4pPr>
              <a:defRPr sz="1200"/>
            </a:lvl4pPr>
            <a:lvl5pPr>
              <a:defRPr sz="105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p:txBody>
      </p:sp>
      <p:sp>
        <p:nvSpPr>
          <p:cNvPr id="4" name="Platshållare för innehåll 3"/>
          <p:cNvSpPr>
            <a:spLocks noGrp="1"/>
          </p:cNvSpPr>
          <p:nvPr>
            <p:ph sz="half" idx="2" hasCustomPrompt="1"/>
          </p:nvPr>
        </p:nvSpPr>
        <p:spPr>
          <a:xfrm>
            <a:off x="4662000" y="414000"/>
            <a:ext cx="4122000" cy="3960000"/>
          </a:xfrm>
        </p:spPr>
        <p:txBody>
          <a:bodyPr>
            <a:noAutofit/>
          </a:bodyPr>
          <a:lstStyle>
            <a:lvl1pPr>
              <a:defRPr sz="1800"/>
            </a:lvl1pPr>
            <a:lvl2pPr marL="540000" indent="-162000">
              <a:buFont typeface="Arial" panose="020B0604020202020204" pitchFamily="34" charset="0"/>
              <a:buChar char="−"/>
              <a:defRPr sz="1600"/>
            </a:lvl2pPr>
            <a:lvl3pPr>
              <a:defRPr sz="1400"/>
            </a:lvl3pPr>
            <a:lvl4pPr>
              <a:defRPr sz="1200"/>
            </a:lvl4pPr>
            <a:lvl5pPr>
              <a:defRPr sz="105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p:txBody>
      </p:sp>
      <p:sp>
        <p:nvSpPr>
          <p:cNvPr id="5" name="Platshållare för datum 4"/>
          <p:cNvSpPr>
            <a:spLocks noGrp="1"/>
          </p:cNvSpPr>
          <p:nvPr>
            <p:ph type="dt" sz="half" idx="10"/>
          </p:nvPr>
        </p:nvSpPr>
        <p:spPr/>
        <p:txBody>
          <a:bodyPr/>
          <a:lstStyle/>
          <a:p>
            <a:fld id="{45C6DC22-FF31-46C8-A0FB-4EE9094BA6B9}" type="datetime1">
              <a:rPr lang="en-US" smtClean="0">
                <a:solidFill>
                  <a:srgbClr val="7F7F7F"/>
                </a:solidFill>
              </a:rPr>
              <a:pPr/>
              <a:t>9/10/2018</a:t>
            </a:fld>
            <a:endParaRPr lang="en-US" dirty="0">
              <a:solidFill>
                <a:srgbClr val="7F7F7F"/>
              </a:solidFill>
            </a:endParaRPr>
          </a:p>
        </p:txBody>
      </p:sp>
      <p:sp>
        <p:nvSpPr>
          <p:cNvPr id="6" name="Platshållare för sidfot 5"/>
          <p:cNvSpPr>
            <a:spLocks noGrp="1"/>
          </p:cNvSpPr>
          <p:nvPr>
            <p:ph type="ftr" sz="quarter" idx="11"/>
          </p:nvPr>
        </p:nvSpPr>
        <p:spPr/>
        <p:txBody>
          <a:bodyPr/>
          <a:lstStyle/>
          <a:p>
            <a:r>
              <a:rPr lang="en-US" dirty="0">
                <a:solidFill>
                  <a:srgbClr val="7F7F7F"/>
                </a:solidFill>
              </a:rPr>
              <a:t>SANDVIK: Title of presentation</a:t>
            </a:r>
          </a:p>
        </p:txBody>
      </p:sp>
      <p:sp>
        <p:nvSpPr>
          <p:cNvPr id="7" name="Platshållare för bildnummer 6"/>
          <p:cNvSpPr>
            <a:spLocks noGrp="1"/>
          </p:cNvSpPr>
          <p:nvPr>
            <p:ph type="sldNum" sz="quarter" idx="12"/>
          </p:nvPr>
        </p:nvSpPr>
        <p:spPr/>
        <p:txBody>
          <a:bodyPr/>
          <a:lstStyle/>
          <a:p>
            <a:fld id="{469B62F1-B431-48B6-8270-02431A1685B7}" type="slidenum">
              <a:rPr lang="en-US" smtClean="0">
                <a:solidFill>
                  <a:srgbClr val="7F7F7F"/>
                </a:solidFill>
              </a:rPr>
              <a:pPr/>
              <a:t>‹#›</a:t>
            </a:fld>
            <a:endParaRPr lang="en-US" dirty="0">
              <a:solidFill>
                <a:srgbClr val="7F7F7F"/>
              </a:solidFill>
            </a:endParaRPr>
          </a:p>
        </p:txBody>
      </p:sp>
    </p:spTree>
    <p:extLst>
      <p:ext uri="{BB962C8B-B14F-4D97-AF65-F5344CB8AC3E}">
        <p14:creationId xmlns:p14="http://schemas.microsoft.com/office/powerpoint/2010/main" val="3294377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Rubrik 1"/>
          <p:cNvSpPr>
            <a:spLocks noGrp="1"/>
          </p:cNvSpPr>
          <p:nvPr>
            <p:ph type="title" hasCustomPrompt="1"/>
          </p:nvPr>
        </p:nvSpPr>
        <p:spPr>
          <a:xfrm>
            <a:off x="360000" y="414000"/>
            <a:ext cx="8424000" cy="360000"/>
          </a:xfrm>
        </p:spPr>
        <p:txBody>
          <a:bodyPr/>
          <a:lstStyle>
            <a:lvl1pPr>
              <a:defRPr/>
            </a:lvl1pPr>
          </a:lstStyle>
          <a:p>
            <a:r>
              <a:rPr lang="en-US" noProof="0" dirty="0"/>
              <a:t>Headline one line</a:t>
            </a:r>
          </a:p>
        </p:txBody>
      </p:sp>
      <p:sp>
        <p:nvSpPr>
          <p:cNvPr id="3" name="Platshållare för text 2"/>
          <p:cNvSpPr>
            <a:spLocks noGrp="1"/>
          </p:cNvSpPr>
          <p:nvPr>
            <p:ph type="body" idx="1" hasCustomPrompt="1"/>
          </p:nvPr>
        </p:nvSpPr>
        <p:spPr>
          <a:xfrm>
            <a:off x="360000" y="1080000"/>
            <a:ext cx="4122000" cy="270000"/>
          </a:xfrm>
        </p:spPr>
        <p:txBody>
          <a:bodyPr anchor="t">
            <a:noAutofit/>
          </a:bodyPr>
          <a:lstStyle>
            <a:lvl1pPr marL="0" indent="0">
              <a:lnSpc>
                <a:spcPct val="100000"/>
              </a:lnSpc>
              <a:buNone/>
              <a:defRPr sz="1800" b="0" cap="all" baseline="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Subheading</a:t>
            </a:r>
          </a:p>
        </p:txBody>
      </p:sp>
      <p:sp>
        <p:nvSpPr>
          <p:cNvPr id="4" name="Platshållare för innehåll 3"/>
          <p:cNvSpPr>
            <a:spLocks noGrp="1"/>
          </p:cNvSpPr>
          <p:nvPr>
            <p:ph sz="half" idx="2" hasCustomPrompt="1"/>
          </p:nvPr>
        </p:nvSpPr>
        <p:spPr>
          <a:xfrm>
            <a:off x="360000" y="1530000"/>
            <a:ext cx="4122000" cy="2844000"/>
          </a:xfrm>
        </p:spPr>
        <p:txBody>
          <a:bodyPr>
            <a:noAutofit/>
          </a:bodyPr>
          <a:lstStyle>
            <a:lvl1pPr>
              <a:defRPr sz="1800"/>
            </a:lvl1pPr>
            <a:lvl2pPr marL="540000" indent="-162000">
              <a:buFont typeface="Arial" panose="020B0604020202020204" pitchFamily="34" charset="0"/>
              <a:buChar char="−"/>
              <a:defRPr sz="1600"/>
            </a:lvl2pPr>
            <a:lvl3pPr>
              <a:defRPr sz="1400"/>
            </a:lvl3pPr>
            <a:lvl4pPr>
              <a:defRPr sz="1200"/>
            </a:lvl4pPr>
            <a:lvl5pPr>
              <a:defRPr sz="105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p:txBody>
      </p:sp>
      <p:sp>
        <p:nvSpPr>
          <p:cNvPr id="5" name="Platshållare för text 4"/>
          <p:cNvSpPr>
            <a:spLocks noGrp="1"/>
          </p:cNvSpPr>
          <p:nvPr>
            <p:ph type="body" sz="quarter" idx="3" hasCustomPrompt="1"/>
          </p:nvPr>
        </p:nvSpPr>
        <p:spPr>
          <a:xfrm>
            <a:off x="4662000" y="1080000"/>
            <a:ext cx="4122000" cy="270000"/>
          </a:xfrm>
        </p:spPr>
        <p:txBody>
          <a:bodyPr anchor="t">
            <a:noAutofit/>
          </a:bodyPr>
          <a:lstStyle>
            <a:lvl1pPr marL="0" indent="0">
              <a:lnSpc>
                <a:spcPct val="100000"/>
              </a:lnSpc>
              <a:buNone/>
              <a:defRPr sz="1800" b="0" cap="all" baseline="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Subheading</a:t>
            </a:r>
          </a:p>
        </p:txBody>
      </p:sp>
      <p:sp>
        <p:nvSpPr>
          <p:cNvPr id="6" name="Platshållare för innehåll 5"/>
          <p:cNvSpPr>
            <a:spLocks noGrp="1"/>
          </p:cNvSpPr>
          <p:nvPr>
            <p:ph sz="quarter" idx="4" hasCustomPrompt="1"/>
          </p:nvPr>
        </p:nvSpPr>
        <p:spPr>
          <a:xfrm>
            <a:off x="4662000" y="1530000"/>
            <a:ext cx="4122000" cy="2844000"/>
          </a:xfrm>
        </p:spPr>
        <p:txBody>
          <a:bodyPr>
            <a:noAutofit/>
          </a:bodyPr>
          <a:lstStyle>
            <a:lvl1pPr>
              <a:defRPr sz="1800"/>
            </a:lvl1pPr>
            <a:lvl2pPr marL="540000" indent="-162000">
              <a:buFont typeface="Arial" panose="020B0604020202020204" pitchFamily="34" charset="0"/>
              <a:buChar char="−"/>
              <a:defRPr sz="1600"/>
            </a:lvl2pPr>
            <a:lvl3pPr>
              <a:defRPr sz="1400"/>
            </a:lvl3pPr>
            <a:lvl4pPr>
              <a:defRPr sz="1200"/>
            </a:lvl4pPr>
            <a:lvl5pPr>
              <a:defRPr sz="105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p:txBody>
      </p:sp>
      <p:sp>
        <p:nvSpPr>
          <p:cNvPr id="7" name="Platshållare för datum 6"/>
          <p:cNvSpPr>
            <a:spLocks noGrp="1"/>
          </p:cNvSpPr>
          <p:nvPr>
            <p:ph type="dt" sz="half" idx="10"/>
          </p:nvPr>
        </p:nvSpPr>
        <p:spPr/>
        <p:txBody>
          <a:bodyPr/>
          <a:lstStyle/>
          <a:p>
            <a:fld id="{3BFC0077-3493-4E36-8354-3833B53CD4EF}" type="datetime1">
              <a:rPr lang="en-US" smtClean="0">
                <a:solidFill>
                  <a:srgbClr val="7F7F7F"/>
                </a:solidFill>
              </a:rPr>
              <a:pPr/>
              <a:t>9/10/2018</a:t>
            </a:fld>
            <a:endParaRPr lang="en-US" dirty="0">
              <a:solidFill>
                <a:srgbClr val="7F7F7F"/>
              </a:solidFill>
            </a:endParaRPr>
          </a:p>
        </p:txBody>
      </p:sp>
      <p:sp>
        <p:nvSpPr>
          <p:cNvPr id="8" name="Platshållare för sidfot 7"/>
          <p:cNvSpPr>
            <a:spLocks noGrp="1"/>
          </p:cNvSpPr>
          <p:nvPr>
            <p:ph type="ftr" sz="quarter" idx="11"/>
          </p:nvPr>
        </p:nvSpPr>
        <p:spPr/>
        <p:txBody>
          <a:bodyPr/>
          <a:lstStyle/>
          <a:p>
            <a:r>
              <a:rPr lang="en-US" dirty="0">
                <a:solidFill>
                  <a:srgbClr val="7F7F7F"/>
                </a:solidFill>
              </a:rPr>
              <a:t>SANDVIK: Title of presentation</a:t>
            </a:r>
          </a:p>
        </p:txBody>
      </p:sp>
      <p:sp>
        <p:nvSpPr>
          <p:cNvPr id="9" name="Platshållare för bildnummer 8"/>
          <p:cNvSpPr>
            <a:spLocks noGrp="1"/>
          </p:cNvSpPr>
          <p:nvPr>
            <p:ph type="sldNum" sz="quarter" idx="12"/>
          </p:nvPr>
        </p:nvSpPr>
        <p:spPr/>
        <p:txBody>
          <a:bodyPr/>
          <a:lstStyle/>
          <a:p>
            <a:fld id="{469B62F1-B431-48B6-8270-02431A1685B7}" type="slidenum">
              <a:rPr lang="en-US" smtClean="0">
                <a:solidFill>
                  <a:srgbClr val="7F7F7F"/>
                </a:solidFill>
              </a:rPr>
              <a:pPr/>
              <a:t>‹#›</a:t>
            </a:fld>
            <a:endParaRPr lang="en-US" dirty="0">
              <a:solidFill>
                <a:srgbClr val="7F7F7F"/>
              </a:solidFill>
            </a:endParaRPr>
          </a:p>
        </p:txBody>
      </p:sp>
    </p:spTree>
    <p:extLst>
      <p:ext uri="{BB962C8B-B14F-4D97-AF65-F5344CB8AC3E}">
        <p14:creationId xmlns:p14="http://schemas.microsoft.com/office/powerpoint/2010/main" val="515666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wo content text">
    <p:spTree>
      <p:nvGrpSpPr>
        <p:cNvPr id="1" name=""/>
        <p:cNvGrpSpPr/>
        <p:nvPr/>
      </p:nvGrpSpPr>
      <p:grpSpPr>
        <a:xfrm>
          <a:off x="0" y="0"/>
          <a:ext cx="0" cy="0"/>
          <a:chOff x="0" y="0"/>
          <a:chExt cx="0" cy="0"/>
        </a:xfrm>
      </p:grpSpPr>
      <p:sp>
        <p:nvSpPr>
          <p:cNvPr id="2" name="Rubrik 1"/>
          <p:cNvSpPr>
            <a:spLocks noGrp="1"/>
          </p:cNvSpPr>
          <p:nvPr>
            <p:ph type="title" hasCustomPrompt="1"/>
          </p:nvPr>
        </p:nvSpPr>
        <p:spPr>
          <a:xfrm>
            <a:off x="360000" y="414000"/>
            <a:ext cx="8424000" cy="360000"/>
          </a:xfrm>
        </p:spPr>
        <p:txBody>
          <a:bodyPr/>
          <a:lstStyle>
            <a:lvl1pPr>
              <a:defRPr/>
            </a:lvl1pPr>
          </a:lstStyle>
          <a:p>
            <a:r>
              <a:rPr lang="en-US" noProof="0" dirty="0"/>
              <a:t>Headline one line</a:t>
            </a:r>
          </a:p>
        </p:txBody>
      </p:sp>
      <p:sp>
        <p:nvSpPr>
          <p:cNvPr id="3" name="Platshållare för text 2"/>
          <p:cNvSpPr>
            <a:spLocks noGrp="1"/>
          </p:cNvSpPr>
          <p:nvPr>
            <p:ph type="body" idx="1" hasCustomPrompt="1"/>
          </p:nvPr>
        </p:nvSpPr>
        <p:spPr>
          <a:xfrm>
            <a:off x="360000" y="1080000"/>
            <a:ext cx="8424000" cy="270000"/>
          </a:xfrm>
        </p:spPr>
        <p:txBody>
          <a:bodyPr anchor="t">
            <a:noAutofit/>
          </a:bodyPr>
          <a:lstStyle>
            <a:lvl1pPr marL="0" indent="0">
              <a:lnSpc>
                <a:spcPct val="100000"/>
              </a:lnSpc>
              <a:buNone/>
              <a:defRPr sz="1800" b="0" cap="all" baseline="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Subheading</a:t>
            </a:r>
          </a:p>
        </p:txBody>
      </p:sp>
      <p:sp>
        <p:nvSpPr>
          <p:cNvPr id="7" name="Platshållare för datum 6"/>
          <p:cNvSpPr>
            <a:spLocks noGrp="1"/>
          </p:cNvSpPr>
          <p:nvPr>
            <p:ph type="dt" sz="half" idx="10"/>
          </p:nvPr>
        </p:nvSpPr>
        <p:spPr/>
        <p:txBody>
          <a:bodyPr/>
          <a:lstStyle/>
          <a:p>
            <a:fld id="{6715932F-B69C-4BB0-8584-8D9CB8E2177D}" type="datetime1">
              <a:rPr lang="en-US" smtClean="0">
                <a:solidFill>
                  <a:srgbClr val="7F7F7F"/>
                </a:solidFill>
              </a:rPr>
              <a:pPr/>
              <a:t>9/10/2018</a:t>
            </a:fld>
            <a:endParaRPr lang="en-US" dirty="0">
              <a:solidFill>
                <a:srgbClr val="7F7F7F"/>
              </a:solidFill>
            </a:endParaRPr>
          </a:p>
        </p:txBody>
      </p:sp>
      <p:sp>
        <p:nvSpPr>
          <p:cNvPr id="8" name="Platshållare för sidfot 7"/>
          <p:cNvSpPr>
            <a:spLocks noGrp="1"/>
          </p:cNvSpPr>
          <p:nvPr>
            <p:ph type="ftr" sz="quarter" idx="11"/>
          </p:nvPr>
        </p:nvSpPr>
        <p:spPr/>
        <p:txBody>
          <a:bodyPr/>
          <a:lstStyle/>
          <a:p>
            <a:r>
              <a:rPr lang="en-US" dirty="0">
                <a:solidFill>
                  <a:srgbClr val="7F7F7F"/>
                </a:solidFill>
              </a:rPr>
              <a:t>SANDVIK: Title of presentation</a:t>
            </a:r>
          </a:p>
        </p:txBody>
      </p:sp>
      <p:sp>
        <p:nvSpPr>
          <p:cNvPr id="9" name="Platshållare för bildnummer 8"/>
          <p:cNvSpPr>
            <a:spLocks noGrp="1"/>
          </p:cNvSpPr>
          <p:nvPr>
            <p:ph type="sldNum" sz="quarter" idx="12"/>
          </p:nvPr>
        </p:nvSpPr>
        <p:spPr/>
        <p:txBody>
          <a:bodyPr/>
          <a:lstStyle/>
          <a:p>
            <a:fld id="{469B62F1-B431-48B6-8270-02431A1685B7}" type="slidenum">
              <a:rPr lang="en-US" smtClean="0">
                <a:solidFill>
                  <a:srgbClr val="7F7F7F"/>
                </a:solidFill>
              </a:rPr>
              <a:pPr/>
              <a:t>‹#›</a:t>
            </a:fld>
            <a:endParaRPr lang="en-US" dirty="0">
              <a:solidFill>
                <a:srgbClr val="7F7F7F"/>
              </a:solidFill>
            </a:endParaRPr>
          </a:p>
        </p:txBody>
      </p:sp>
      <p:sp>
        <p:nvSpPr>
          <p:cNvPr id="11" name="Platshållare för text 10"/>
          <p:cNvSpPr>
            <a:spLocks noGrp="1"/>
          </p:cNvSpPr>
          <p:nvPr>
            <p:ph type="body" sz="quarter" idx="13" hasCustomPrompt="1"/>
          </p:nvPr>
        </p:nvSpPr>
        <p:spPr>
          <a:xfrm>
            <a:off x="360000" y="1530000"/>
            <a:ext cx="4122000" cy="2844000"/>
          </a:xfrm>
        </p:spPr>
        <p:txBody>
          <a:bodyPr/>
          <a:lstStyle>
            <a:lvl2pPr marL="540000" indent="-162000">
              <a:buFont typeface="Arial" panose="020B0604020202020204" pitchFamily="34" charset="0"/>
              <a:buChar char="−"/>
              <a:defRPr/>
            </a:lvl2pPr>
          </a:lstStyle>
          <a:p>
            <a:pPr lvl="0"/>
            <a:r>
              <a:rPr lang="en-US" dirty="0"/>
              <a:t>Click to edit Master text styles</a:t>
            </a:r>
          </a:p>
          <a:p>
            <a:pPr lvl="1"/>
            <a:r>
              <a:rPr lang="en-US" dirty="0"/>
              <a:t>Second level</a:t>
            </a:r>
          </a:p>
        </p:txBody>
      </p:sp>
      <p:sp>
        <p:nvSpPr>
          <p:cNvPr id="13" name="Platshållare för text 12"/>
          <p:cNvSpPr>
            <a:spLocks noGrp="1"/>
          </p:cNvSpPr>
          <p:nvPr>
            <p:ph type="body" sz="quarter" idx="14" hasCustomPrompt="1"/>
          </p:nvPr>
        </p:nvSpPr>
        <p:spPr>
          <a:xfrm>
            <a:off x="4662000" y="1530000"/>
            <a:ext cx="4122000" cy="2844000"/>
          </a:xfrm>
        </p:spPr>
        <p:txBody>
          <a:bodyPr/>
          <a:lstStyle>
            <a:lvl2pPr marL="540000" indent="-162000">
              <a:buFont typeface="Arial" panose="020B0604020202020204" pitchFamily="34" charset="0"/>
              <a:buChar char="−"/>
              <a:defRPr/>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653264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4 pictures">
    <p:spTree>
      <p:nvGrpSpPr>
        <p:cNvPr id="1" name=""/>
        <p:cNvGrpSpPr/>
        <p:nvPr/>
      </p:nvGrpSpPr>
      <p:grpSpPr>
        <a:xfrm>
          <a:off x="0" y="0"/>
          <a:ext cx="0" cy="0"/>
          <a:chOff x="0" y="0"/>
          <a:chExt cx="0" cy="0"/>
        </a:xfrm>
      </p:grpSpPr>
      <p:sp>
        <p:nvSpPr>
          <p:cNvPr id="2" name="Rubrik 1"/>
          <p:cNvSpPr>
            <a:spLocks noGrp="1"/>
          </p:cNvSpPr>
          <p:nvPr>
            <p:ph type="title" hasCustomPrompt="1"/>
          </p:nvPr>
        </p:nvSpPr>
        <p:spPr>
          <a:xfrm>
            <a:off x="360000" y="414000"/>
            <a:ext cx="4122000" cy="900000"/>
          </a:xfrm>
        </p:spPr>
        <p:txBody>
          <a:bodyPr/>
          <a:lstStyle>
            <a:lvl1pPr>
              <a:defRPr/>
            </a:lvl1pPr>
          </a:lstStyle>
          <a:p>
            <a:r>
              <a:rPr lang="en-US" noProof="0" dirty="0"/>
              <a:t>Headline over</a:t>
            </a:r>
            <a:br>
              <a:rPr lang="en-US" noProof="0" dirty="0"/>
            </a:br>
            <a:r>
              <a:rPr lang="en-US" noProof="0" dirty="0"/>
              <a:t>two lines</a:t>
            </a:r>
          </a:p>
        </p:txBody>
      </p:sp>
      <p:sp>
        <p:nvSpPr>
          <p:cNvPr id="3" name="Platshållare för text 2"/>
          <p:cNvSpPr>
            <a:spLocks noGrp="1"/>
          </p:cNvSpPr>
          <p:nvPr>
            <p:ph type="body" idx="1" hasCustomPrompt="1"/>
          </p:nvPr>
        </p:nvSpPr>
        <p:spPr>
          <a:xfrm>
            <a:off x="360000" y="1440000"/>
            <a:ext cx="4122000" cy="270000"/>
          </a:xfrm>
        </p:spPr>
        <p:txBody>
          <a:bodyPr anchor="t">
            <a:noAutofit/>
          </a:bodyPr>
          <a:lstStyle>
            <a:lvl1pPr marL="0" indent="0">
              <a:lnSpc>
                <a:spcPct val="100000"/>
              </a:lnSpc>
              <a:buNone/>
              <a:defRPr sz="1800" b="0" cap="all" baseline="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Subheading (if needed)</a:t>
            </a:r>
          </a:p>
        </p:txBody>
      </p:sp>
      <p:sp>
        <p:nvSpPr>
          <p:cNvPr id="7" name="Platshållare för datum 6"/>
          <p:cNvSpPr>
            <a:spLocks noGrp="1"/>
          </p:cNvSpPr>
          <p:nvPr>
            <p:ph type="dt" sz="half" idx="10"/>
          </p:nvPr>
        </p:nvSpPr>
        <p:spPr/>
        <p:txBody>
          <a:bodyPr/>
          <a:lstStyle/>
          <a:p>
            <a:fld id="{22B2939B-B46D-4CD6-860D-D01AABEBC57B}" type="datetime1">
              <a:rPr lang="en-US" smtClean="0">
                <a:solidFill>
                  <a:srgbClr val="7F7F7F"/>
                </a:solidFill>
              </a:rPr>
              <a:pPr/>
              <a:t>9/10/2018</a:t>
            </a:fld>
            <a:endParaRPr lang="en-US" dirty="0">
              <a:solidFill>
                <a:srgbClr val="7F7F7F"/>
              </a:solidFill>
            </a:endParaRPr>
          </a:p>
        </p:txBody>
      </p:sp>
      <p:sp>
        <p:nvSpPr>
          <p:cNvPr id="8" name="Platshållare för sidfot 7"/>
          <p:cNvSpPr>
            <a:spLocks noGrp="1"/>
          </p:cNvSpPr>
          <p:nvPr>
            <p:ph type="ftr" sz="quarter" idx="11"/>
          </p:nvPr>
        </p:nvSpPr>
        <p:spPr/>
        <p:txBody>
          <a:bodyPr/>
          <a:lstStyle/>
          <a:p>
            <a:r>
              <a:rPr lang="en-US" dirty="0">
                <a:solidFill>
                  <a:srgbClr val="7F7F7F"/>
                </a:solidFill>
              </a:rPr>
              <a:t>SANDVIK: Title of presentation</a:t>
            </a:r>
          </a:p>
        </p:txBody>
      </p:sp>
      <p:sp>
        <p:nvSpPr>
          <p:cNvPr id="9" name="Platshållare för bildnummer 8"/>
          <p:cNvSpPr>
            <a:spLocks noGrp="1"/>
          </p:cNvSpPr>
          <p:nvPr>
            <p:ph type="sldNum" sz="quarter" idx="12"/>
          </p:nvPr>
        </p:nvSpPr>
        <p:spPr/>
        <p:txBody>
          <a:bodyPr/>
          <a:lstStyle/>
          <a:p>
            <a:fld id="{469B62F1-B431-48B6-8270-02431A1685B7}" type="slidenum">
              <a:rPr lang="en-US" smtClean="0">
                <a:solidFill>
                  <a:srgbClr val="7F7F7F"/>
                </a:solidFill>
              </a:rPr>
              <a:pPr/>
              <a:t>‹#›</a:t>
            </a:fld>
            <a:endParaRPr lang="en-US" dirty="0">
              <a:solidFill>
                <a:srgbClr val="7F7F7F"/>
              </a:solidFill>
            </a:endParaRPr>
          </a:p>
        </p:txBody>
      </p:sp>
      <p:sp>
        <p:nvSpPr>
          <p:cNvPr id="11" name="Platshållare för text 10"/>
          <p:cNvSpPr>
            <a:spLocks noGrp="1"/>
          </p:cNvSpPr>
          <p:nvPr>
            <p:ph type="body" sz="quarter" idx="13" hasCustomPrompt="1"/>
          </p:nvPr>
        </p:nvSpPr>
        <p:spPr>
          <a:xfrm>
            <a:off x="360000" y="1890000"/>
            <a:ext cx="4122000" cy="2484000"/>
          </a:xfrm>
        </p:spPr>
        <p:txBody>
          <a:bodyPr/>
          <a:lstStyle>
            <a:lvl2pPr marL="540000" indent="-162000">
              <a:buFont typeface="Arial" panose="020B0604020202020204" pitchFamily="34" charset="0"/>
              <a:buChar char="−"/>
              <a:defRPr/>
            </a:lvl2pPr>
          </a:lstStyle>
          <a:p>
            <a:pPr lvl="0"/>
            <a:r>
              <a:rPr lang="en-US" dirty="0"/>
              <a:t>Click to edit Master text styles</a:t>
            </a:r>
          </a:p>
          <a:p>
            <a:pPr lvl="1"/>
            <a:r>
              <a:rPr lang="en-US" dirty="0"/>
              <a:t>Second level</a:t>
            </a:r>
          </a:p>
        </p:txBody>
      </p:sp>
      <p:sp>
        <p:nvSpPr>
          <p:cNvPr id="5" name="Picture Placeholder 4"/>
          <p:cNvSpPr>
            <a:spLocks noGrp="1"/>
          </p:cNvSpPr>
          <p:nvPr>
            <p:ph type="pic" sz="quarter" idx="23"/>
          </p:nvPr>
        </p:nvSpPr>
        <p:spPr>
          <a:xfrm>
            <a:off x="6814800" y="2484000"/>
            <a:ext cx="1971675" cy="1890000"/>
          </a:xfrm>
        </p:spPr>
        <p:txBody>
          <a:bodyPr/>
          <a:lstStyle>
            <a:lvl1pPr marL="0" indent="0">
              <a:buNone/>
              <a:defRPr/>
            </a:lvl1pPr>
          </a:lstStyle>
          <a:p>
            <a:r>
              <a:rPr lang="en-US"/>
              <a:t>Click icon to add picture</a:t>
            </a:r>
            <a:endParaRPr lang="sv-SE" dirty="0"/>
          </a:p>
        </p:txBody>
      </p:sp>
      <p:sp>
        <p:nvSpPr>
          <p:cNvPr id="14" name="Picture Placeholder 4"/>
          <p:cNvSpPr>
            <a:spLocks noGrp="1"/>
          </p:cNvSpPr>
          <p:nvPr>
            <p:ph type="pic" sz="quarter" idx="24"/>
          </p:nvPr>
        </p:nvSpPr>
        <p:spPr>
          <a:xfrm>
            <a:off x="6814800" y="414000"/>
            <a:ext cx="1971675" cy="1890000"/>
          </a:xfrm>
        </p:spPr>
        <p:txBody>
          <a:bodyPr/>
          <a:lstStyle>
            <a:lvl1pPr marL="0" indent="0">
              <a:buNone/>
              <a:defRPr/>
            </a:lvl1pPr>
          </a:lstStyle>
          <a:p>
            <a:r>
              <a:rPr lang="en-US"/>
              <a:t>Click icon to add picture</a:t>
            </a:r>
            <a:endParaRPr lang="sv-SE" dirty="0"/>
          </a:p>
        </p:txBody>
      </p:sp>
      <p:sp>
        <p:nvSpPr>
          <p:cNvPr id="15" name="Picture Placeholder 4"/>
          <p:cNvSpPr>
            <a:spLocks noGrp="1"/>
          </p:cNvSpPr>
          <p:nvPr>
            <p:ph type="pic" sz="quarter" idx="25"/>
          </p:nvPr>
        </p:nvSpPr>
        <p:spPr>
          <a:xfrm>
            <a:off x="4662000" y="2484000"/>
            <a:ext cx="1972800" cy="1890000"/>
          </a:xfrm>
        </p:spPr>
        <p:txBody>
          <a:bodyPr/>
          <a:lstStyle>
            <a:lvl1pPr marL="0" indent="0">
              <a:buNone/>
              <a:defRPr/>
            </a:lvl1pPr>
          </a:lstStyle>
          <a:p>
            <a:r>
              <a:rPr lang="en-US"/>
              <a:t>Click icon to add picture</a:t>
            </a:r>
            <a:endParaRPr lang="sv-SE" dirty="0"/>
          </a:p>
        </p:txBody>
      </p:sp>
      <p:sp>
        <p:nvSpPr>
          <p:cNvPr id="16" name="Picture Placeholder 4"/>
          <p:cNvSpPr>
            <a:spLocks noGrp="1"/>
          </p:cNvSpPr>
          <p:nvPr>
            <p:ph type="pic" sz="quarter" idx="26"/>
          </p:nvPr>
        </p:nvSpPr>
        <p:spPr>
          <a:xfrm>
            <a:off x="4662000" y="412650"/>
            <a:ext cx="1972800" cy="1890000"/>
          </a:xfrm>
        </p:spPr>
        <p:txBody>
          <a:bodyPr/>
          <a:lstStyle>
            <a:lvl1pPr marL="0" indent="0">
              <a:buNone/>
              <a:defRPr/>
            </a:lvl1pPr>
          </a:lstStyle>
          <a:p>
            <a:r>
              <a:rPr lang="en-US"/>
              <a:t>Click icon to add picture</a:t>
            </a:r>
            <a:endParaRPr lang="sv-SE" dirty="0"/>
          </a:p>
        </p:txBody>
      </p:sp>
    </p:spTree>
    <p:extLst>
      <p:ext uri="{BB962C8B-B14F-4D97-AF65-F5344CB8AC3E}">
        <p14:creationId xmlns:p14="http://schemas.microsoft.com/office/powerpoint/2010/main" val="983426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Chapter divider blue">
    <p:bg>
      <p:bgPr>
        <a:solidFill>
          <a:schemeClr val="accent1"/>
        </a:solidFill>
        <a:effectLst/>
      </p:bgPr>
    </p:bg>
    <p:spTree>
      <p:nvGrpSpPr>
        <p:cNvPr id="1" name=""/>
        <p:cNvGrpSpPr/>
        <p:nvPr/>
      </p:nvGrpSpPr>
      <p:grpSpPr>
        <a:xfrm>
          <a:off x="0" y="0"/>
          <a:ext cx="0" cy="0"/>
          <a:chOff x="0" y="0"/>
          <a:chExt cx="0" cy="0"/>
        </a:xfrm>
      </p:grpSpPr>
      <p:sp>
        <p:nvSpPr>
          <p:cNvPr id="2" name="Rubrik 1"/>
          <p:cNvSpPr>
            <a:spLocks noGrp="1"/>
          </p:cNvSpPr>
          <p:nvPr>
            <p:ph type="title" hasCustomPrompt="1"/>
          </p:nvPr>
        </p:nvSpPr>
        <p:spPr>
          <a:xfrm>
            <a:off x="360000" y="3060000"/>
            <a:ext cx="8424000" cy="1440000"/>
          </a:xfrm>
        </p:spPr>
        <p:txBody>
          <a:bodyPr anchor="t">
            <a:noAutofit/>
          </a:bodyPr>
          <a:lstStyle>
            <a:lvl1pPr algn="l">
              <a:lnSpc>
                <a:spcPct val="100000"/>
              </a:lnSpc>
              <a:spcAft>
                <a:spcPts val="700"/>
              </a:spcAft>
              <a:defRPr sz="4800" b="0" cap="all">
                <a:solidFill>
                  <a:schemeClr val="bg1"/>
                </a:solidFill>
              </a:defRPr>
            </a:lvl1pPr>
          </a:lstStyle>
          <a:p>
            <a:r>
              <a:rPr lang="en-US" noProof="0" dirty="0"/>
              <a:t>Divider slide,</a:t>
            </a:r>
            <a:br>
              <a:rPr lang="en-US" noProof="0" dirty="0"/>
            </a:br>
            <a:r>
              <a:rPr lang="en-US" noProof="0" dirty="0"/>
              <a:t>text over two lines</a:t>
            </a:r>
          </a:p>
        </p:txBody>
      </p:sp>
      <p:sp>
        <p:nvSpPr>
          <p:cNvPr id="4" name="Platshållare för datum 3"/>
          <p:cNvSpPr>
            <a:spLocks noGrp="1"/>
          </p:cNvSpPr>
          <p:nvPr>
            <p:ph type="dt" sz="half" idx="10"/>
          </p:nvPr>
        </p:nvSpPr>
        <p:spPr/>
        <p:txBody>
          <a:bodyPr/>
          <a:lstStyle>
            <a:lvl1pPr>
              <a:defRPr>
                <a:solidFill>
                  <a:schemeClr val="bg1"/>
                </a:solidFill>
              </a:defRPr>
            </a:lvl1pPr>
          </a:lstStyle>
          <a:p>
            <a:fld id="{E03E505D-A21F-4E59-9FEC-31B1E2CDF3A8}" type="datetime1">
              <a:rPr lang="en-US" smtClean="0"/>
              <a:t>9/10/2018</a:t>
            </a:fld>
            <a:endParaRPr lang="en-US" dirty="0"/>
          </a:p>
        </p:txBody>
      </p:sp>
      <p:sp>
        <p:nvSpPr>
          <p:cNvPr id="5" name="Platshållare för sidfot 4"/>
          <p:cNvSpPr>
            <a:spLocks noGrp="1"/>
          </p:cNvSpPr>
          <p:nvPr>
            <p:ph type="ftr" sz="quarter" idx="11"/>
          </p:nvPr>
        </p:nvSpPr>
        <p:spPr/>
        <p:txBody>
          <a:bodyPr/>
          <a:lstStyle>
            <a:lvl1pPr>
              <a:defRPr>
                <a:solidFill>
                  <a:schemeClr val="bg1"/>
                </a:solidFill>
              </a:defRPr>
            </a:lvl1pPr>
          </a:lstStyle>
          <a:p>
            <a:r>
              <a:rPr lang="en-US" dirty="0"/>
              <a:t>SANDVIK: Title of presentation</a:t>
            </a:r>
          </a:p>
        </p:txBody>
      </p:sp>
      <p:sp>
        <p:nvSpPr>
          <p:cNvPr id="6" name="Platshållare för bildnummer 5"/>
          <p:cNvSpPr>
            <a:spLocks noGrp="1"/>
          </p:cNvSpPr>
          <p:nvPr>
            <p:ph type="sldNum" sz="quarter" idx="12"/>
          </p:nvPr>
        </p:nvSpPr>
        <p:spPr/>
        <p:txBody>
          <a:bodyPr/>
          <a:lstStyle>
            <a:lvl1pPr>
              <a:defRPr>
                <a:solidFill>
                  <a:schemeClr val="bg1"/>
                </a:solidFill>
              </a:defRPr>
            </a:lvl1pPr>
          </a:lstStyle>
          <a:p>
            <a:fld id="{469B62F1-B431-48B6-8270-02431A1685B7}" type="slidenum">
              <a:rPr lang="en-US" smtClean="0"/>
              <a:pPr/>
              <a:t>‹#›</a:t>
            </a:fld>
            <a:endParaRPr lang="en-US" dirty="0"/>
          </a:p>
        </p:txBody>
      </p:sp>
      <p:pic>
        <p:nvPicPr>
          <p:cNvPr id="8" name="Bildobjekt 7" descr="SAV_Logo_white_RGB300.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902838" y="4554000"/>
            <a:ext cx="889869" cy="324000"/>
          </a:xfrm>
          <a:prstGeom prst="rect">
            <a:avLst/>
          </a:prstGeom>
        </p:spPr>
      </p:pic>
      <p:pic>
        <p:nvPicPr>
          <p:cNvPr id="11" name="Bildobjekt 10"/>
          <p:cNvPicPr>
            <a:picLocks noChangeAspect="1"/>
          </p:cNvPicPr>
          <p:nvPr/>
        </p:nvPicPr>
        <p:blipFill rotWithShape="1">
          <a:blip r:embed="rId3" cstate="screen">
            <a:extLst>
              <a:ext uri="{28A0092B-C50C-407E-A947-70E740481C1C}">
                <a14:useLocalDpi xmlns:a14="http://schemas.microsoft.com/office/drawing/2010/main"/>
              </a:ext>
            </a:extLst>
          </a:blip>
          <a:srcRect r="7637"/>
          <a:stretch/>
        </p:blipFill>
        <p:spPr>
          <a:xfrm>
            <a:off x="0" y="720001"/>
            <a:ext cx="9144000" cy="2304092"/>
          </a:xfrm>
          <a:prstGeom prst="rect">
            <a:avLst/>
          </a:prstGeom>
        </p:spPr>
      </p:pic>
    </p:spTree>
    <p:extLst>
      <p:ext uri="{BB962C8B-B14F-4D97-AF65-F5344CB8AC3E}">
        <p14:creationId xmlns:p14="http://schemas.microsoft.com/office/powerpoint/2010/main" val="1360483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3 pictures">
    <p:spTree>
      <p:nvGrpSpPr>
        <p:cNvPr id="1" name=""/>
        <p:cNvGrpSpPr/>
        <p:nvPr/>
      </p:nvGrpSpPr>
      <p:grpSpPr>
        <a:xfrm>
          <a:off x="0" y="0"/>
          <a:ext cx="0" cy="0"/>
          <a:chOff x="0" y="0"/>
          <a:chExt cx="0" cy="0"/>
        </a:xfrm>
      </p:grpSpPr>
      <p:sp>
        <p:nvSpPr>
          <p:cNvPr id="2" name="Rubrik 1"/>
          <p:cNvSpPr>
            <a:spLocks noGrp="1"/>
          </p:cNvSpPr>
          <p:nvPr>
            <p:ph type="title" hasCustomPrompt="1"/>
          </p:nvPr>
        </p:nvSpPr>
        <p:spPr>
          <a:xfrm>
            <a:off x="360000" y="414000"/>
            <a:ext cx="4122000" cy="900000"/>
          </a:xfrm>
        </p:spPr>
        <p:txBody>
          <a:bodyPr/>
          <a:lstStyle>
            <a:lvl1pPr>
              <a:defRPr/>
            </a:lvl1pPr>
          </a:lstStyle>
          <a:p>
            <a:r>
              <a:rPr lang="en-US" noProof="0" dirty="0"/>
              <a:t>Headline over</a:t>
            </a:r>
            <a:br>
              <a:rPr lang="en-US" noProof="0" dirty="0"/>
            </a:br>
            <a:r>
              <a:rPr lang="en-US" noProof="0" dirty="0"/>
              <a:t>two lines</a:t>
            </a:r>
          </a:p>
        </p:txBody>
      </p:sp>
      <p:sp>
        <p:nvSpPr>
          <p:cNvPr id="3" name="Platshållare för text 2"/>
          <p:cNvSpPr>
            <a:spLocks noGrp="1"/>
          </p:cNvSpPr>
          <p:nvPr>
            <p:ph type="body" idx="1" hasCustomPrompt="1"/>
          </p:nvPr>
        </p:nvSpPr>
        <p:spPr>
          <a:xfrm>
            <a:off x="360000" y="1440000"/>
            <a:ext cx="4122000" cy="270000"/>
          </a:xfrm>
        </p:spPr>
        <p:txBody>
          <a:bodyPr anchor="t">
            <a:noAutofit/>
          </a:bodyPr>
          <a:lstStyle>
            <a:lvl1pPr marL="0" indent="0">
              <a:lnSpc>
                <a:spcPct val="100000"/>
              </a:lnSpc>
              <a:buNone/>
              <a:defRPr sz="1800" b="0" cap="all" baseline="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Subheading (if needed)</a:t>
            </a:r>
          </a:p>
        </p:txBody>
      </p:sp>
      <p:sp>
        <p:nvSpPr>
          <p:cNvPr id="7" name="Platshållare för datum 6"/>
          <p:cNvSpPr>
            <a:spLocks noGrp="1"/>
          </p:cNvSpPr>
          <p:nvPr>
            <p:ph type="dt" sz="half" idx="10"/>
          </p:nvPr>
        </p:nvSpPr>
        <p:spPr/>
        <p:txBody>
          <a:bodyPr/>
          <a:lstStyle/>
          <a:p>
            <a:fld id="{728B4D1C-A571-4AE7-A009-B4F4C6620154}" type="datetime1">
              <a:rPr lang="en-US" smtClean="0">
                <a:solidFill>
                  <a:srgbClr val="7F7F7F"/>
                </a:solidFill>
              </a:rPr>
              <a:pPr/>
              <a:t>9/10/2018</a:t>
            </a:fld>
            <a:endParaRPr lang="en-US" dirty="0">
              <a:solidFill>
                <a:srgbClr val="7F7F7F"/>
              </a:solidFill>
            </a:endParaRPr>
          </a:p>
        </p:txBody>
      </p:sp>
      <p:sp>
        <p:nvSpPr>
          <p:cNvPr id="8" name="Platshållare för sidfot 7"/>
          <p:cNvSpPr>
            <a:spLocks noGrp="1"/>
          </p:cNvSpPr>
          <p:nvPr>
            <p:ph type="ftr" sz="quarter" idx="11"/>
          </p:nvPr>
        </p:nvSpPr>
        <p:spPr/>
        <p:txBody>
          <a:bodyPr/>
          <a:lstStyle/>
          <a:p>
            <a:r>
              <a:rPr lang="en-US" dirty="0">
                <a:solidFill>
                  <a:srgbClr val="7F7F7F"/>
                </a:solidFill>
              </a:rPr>
              <a:t>SANDVIK: Title of presentation</a:t>
            </a:r>
          </a:p>
        </p:txBody>
      </p:sp>
      <p:sp>
        <p:nvSpPr>
          <p:cNvPr id="9" name="Platshållare för bildnummer 8"/>
          <p:cNvSpPr>
            <a:spLocks noGrp="1"/>
          </p:cNvSpPr>
          <p:nvPr>
            <p:ph type="sldNum" sz="quarter" idx="12"/>
          </p:nvPr>
        </p:nvSpPr>
        <p:spPr/>
        <p:txBody>
          <a:bodyPr/>
          <a:lstStyle/>
          <a:p>
            <a:fld id="{469B62F1-B431-48B6-8270-02431A1685B7}" type="slidenum">
              <a:rPr lang="en-US" smtClean="0">
                <a:solidFill>
                  <a:srgbClr val="7F7F7F"/>
                </a:solidFill>
              </a:rPr>
              <a:pPr/>
              <a:t>‹#›</a:t>
            </a:fld>
            <a:endParaRPr lang="en-US" dirty="0">
              <a:solidFill>
                <a:srgbClr val="7F7F7F"/>
              </a:solidFill>
            </a:endParaRPr>
          </a:p>
        </p:txBody>
      </p:sp>
      <p:sp>
        <p:nvSpPr>
          <p:cNvPr id="11" name="Platshållare för text 10"/>
          <p:cNvSpPr>
            <a:spLocks noGrp="1"/>
          </p:cNvSpPr>
          <p:nvPr>
            <p:ph type="body" sz="quarter" idx="13" hasCustomPrompt="1"/>
          </p:nvPr>
        </p:nvSpPr>
        <p:spPr>
          <a:xfrm>
            <a:off x="360000" y="1890000"/>
            <a:ext cx="4122000" cy="2484000"/>
          </a:xfrm>
        </p:spPr>
        <p:txBody>
          <a:bodyPr/>
          <a:lstStyle>
            <a:lvl2pPr marL="540000" indent="-162000">
              <a:buFont typeface="Arial" panose="020B0604020202020204" pitchFamily="34" charset="0"/>
              <a:buChar char="−"/>
              <a:defRPr/>
            </a:lvl2pPr>
          </a:lstStyle>
          <a:p>
            <a:pPr lvl="0"/>
            <a:r>
              <a:rPr lang="en-US" dirty="0"/>
              <a:t>Click to edit Master text styles</a:t>
            </a:r>
          </a:p>
          <a:p>
            <a:pPr lvl="1"/>
            <a:r>
              <a:rPr lang="en-US" dirty="0"/>
              <a:t>Second level</a:t>
            </a:r>
          </a:p>
        </p:txBody>
      </p:sp>
      <p:sp>
        <p:nvSpPr>
          <p:cNvPr id="5" name="Picture Placeholder 4"/>
          <p:cNvSpPr>
            <a:spLocks noGrp="1"/>
          </p:cNvSpPr>
          <p:nvPr>
            <p:ph type="pic" sz="quarter" idx="23"/>
          </p:nvPr>
        </p:nvSpPr>
        <p:spPr>
          <a:xfrm>
            <a:off x="4662000" y="414000"/>
            <a:ext cx="4122000" cy="1890000"/>
          </a:xfrm>
        </p:spPr>
        <p:txBody>
          <a:bodyPr/>
          <a:lstStyle>
            <a:lvl1pPr marL="0" indent="0">
              <a:buNone/>
              <a:defRPr/>
            </a:lvl1pPr>
          </a:lstStyle>
          <a:p>
            <a:r>
              <a:rPr lang="en-US" noProof="0"/>
              <a:t>Click icon to add picture</a:t>
            </a:r>
            <a:endParaRPr lang="en-US" noProof="0" dirty="0"/>
          </a:p>
        </p:txBody>
      </p:sp>
      <p:sp>
        <p:nvSpPr>
          <p:cNvPr id="10" name="Picture Placeholder 9"/>
          <p:cNvSpPr>
            <a:spLocks noGrp="1"/>
          </p:cNvSpPr>
          <p:nvPr>
            <p:ph type="pic" sz="quarter" idx="24"/>
          </p:nvPr>
        </p:nvSpPr>
        <p:spPr>
          <a:xfrm>
            <a:off x="4662000" y="2484000"/>
            <a:ext cx="1971675" cy="1890000"/>
          </a:xfrm>
        </p:spPr>
        <p:txBody>
          <a:bodyPr/>
          <a:lstStyle>
            <a:lvl1pPr marL="0" indent="0">
              <a:buNone/>
              <a:defRPr/>
            </a:lvl1pPr>
          </a:lstStyle>
          <a:p>
            <a:r>
              <a:rPr lang="en-US" noProof="0"/>
              <a:t>Click icon to add picture</a:t>
            </a:r>
            <a:endParaRPr lang="en-US" noProof="0" dirty="0"/>
          </a:p>
        </p:txBody>
      </p:sp>
      <p:sp>
        <p:nvSpPr>
          <p:cNvPr id="13" name="Picture Placeholder 12"/>
          <p:cNvSpPr>
            <a:spLocks noGrp="1"/>
          </p:cNvSpPr>
          <p:nvPr>
            <p:ph type="pic" sz="quarter" idx="25"/>
          </p:nvPr>
        </p:nvSpPr>
        <p:spPr>
          <a:xfrm>
            <a:off x="6814800" y="2484000"/>
            <a:ext cx="1971675" cy="1890000"/>
          </a:xfrm>
        </p:spPr>
        <p:txBody>
          <a:bodyPr/>
          <a:lstStyle>
            <a:lvl1pPr marL="0" indent="0">
              <a:buNone/>
              <a:defRPr/>
            </a:lvl1pPr>
          </a:lstStyle>
          <a:p>
            <a:r>
              <a:rPr lang="en-US" noProof="0"/>
              <a:t>Click icon to add picture</a:t>
            </a:r>
            <a:endParaRPr lang="en-US" noProof="0" dirty="0"/>
          </a:p>
        </p:txBody>
      </p:sp>
    </p:spTree>
    <p:extLst>
      <p:ext uri="{BB962C8B-B14F-4D97-AF65-F5344CB8AC3E}">
        <p14:creationId xmlns:p14="http://schemas.microsoft.com/office/powerpoint/2010/main" val="3335235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2 pictures">
    <p:spTree>
      <p:nvGrpSpPr>
        <p:cNvPr id="1" name=""/>
        <p:cNvGrpSpPr/>
        <p:nvPr/>
      </p:nvGrpSpPr>
      <p:grpSpPr>
        <a:xfrm>
          <a:off x="0" y="0"/>
          <a:ext cx="0" cy="0"/>
          <a:chOff x="0" y="0"/>
          <a:chExt cx="0" cy="0"/>
        </a:xfrm>
      </p:grpSpPr>
      <p:sp>
        <p:nvSpPr>
          <p:cNvPr id="2" name="Rubrik 1"/>
          <p:cNvSpPr>
            <a:spLocks noGrp="1"/>
          </p:cNvSpPr>
          <p:nvPr>
            <p:ph type="title" hasCustomPrompt="1"/>
          </p:nvPr>
        </p:nvSpPr>
        <p:spPr>
          <a:xfrm>
            <a:off x="360000" y="414000"/>
            <a:ext cx="4122000" cy="900000"/>
          </a:xfrm>
        </p:spPr>
        <p:txBody>
          <a:bodyPr/>
          <a:lstStyle>
            <a:lvl1pPr>
              <a:defRPr/>
            </a:lvl1pPr>
          </a:lstStyle>
          <a:p>
            <a:r>
              <a:rPr lang="en-US" noProof="0" dirty="0"/>
              <a:t>Headline over</a:t>
            </a:r>
            <a:br>
              <a:rPr lang="en-US" noProof="0" dirty="0"/>
            </a:br>
            <a:r>
              <a:rPr lang="en-US" noProof="0" dirty="0"/>
              <a:t>two lines</a:t>
            </a:r>
          </a:p>
        </p:txBody>
      </p:sp>
      <p:sp>
        <p:nvSpPr>
          <p:cNvPr id="3" name="Platshållare för text 2"/>
          <p:cNvSpPr>
            <a:spLocks noGrp="1"/>
          </p:cNvSpPr>
          <p:nvPr>
            <p:ph type="body" idx="1" hasCustomPrompt="1"/>
          </p:nvPr>
        </p:nvSpPr>
        <p:spPr>
          <a:xfrm>
            <a:off x="360000" y="1440000"/>
            <a:ext cx="4122000" cy="270000"/>
          </a:xfrm>
        </p:spPr>
        <p:txBody>
          <a:bodyPr anchor="t">
            <a:noAutofit/>
          </a:bodyPr>
          <a:lstStyle>
            <a:lvl1pPr marL="0" indent="0">
              <a:lnSpc>
                <a:spcPct val="100000"/>
              </a:lnSpc>
              <a:buNone/>
              <a:defRPr sz="1800" b="0" cap="all" baseline="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Subheading (if needed)</a:t>
            </a:r>
          </a:p>
        </p:txBody>
      </p:sp>
      <p:sp>
        <p:nvSpPr>
          <p:cNvPr id="7" name="Platshållare för datum 6"/>
          <p:cNvSpPr>
            <a:spLocks noGrp="1"/>
          </p:cNvSpPr>
          <p:nvPr>
            <p:ph type="dt" sz="half" idx="10"/>
          </p:nvPr>
        </p:nvSpPr>
        <p:spPr/>
        <p:txBody>
          <a:bodyPr/>
          <a:lstStyle/>
          <a:p>
            <a:fld id="{9BCB198D-49D3-423D-A640-A92B0BCA9AA3}" type="datetime1">
              <a:rPr lang="en-US" smtClean="0">
                <a:solidFill>
                  <a:srgbClr val="7F7F7F"/>
                </a:solidFill>
              </a:rPr>
              <a:pPr/>
              <a:t>9/10/2018</a:t>
            </a:fld>
            <a:endParaRPr lang="en-US" dirty="0">
              <a:solidFill>
                <a:srgbClr val="7F7F7F"/>
              </a:solidFill>
            </a:endParaRPr>
          </a:p>
        </p:txBody>
      </p:sp>
      <p:sp>
        <p:nvSpPr>
          <p:cNvPr id="8" name="Platshållare för sidfot 7"/>
          <p:cNvSpPr>
            <a:spLocks noGrp="1"/>
          </p:cNvSpPr>
          <p:nvPr>
            <p:ph type="ftr" sz="quarter" idx="11"/>
          </p:nvPr>
        </p:nvSpPr>
        <p:spPr/>
        <p:txBody>
          <a:bodyPr/>
          <a:lstStyle/>
          <a:p>
            <a:r>
              <a:rPr lang="en-US" dirty="0">
                <a:solidFill>
                  <a:srgbClr val="7F7F7F"/>
                </a:solidFill>
              </a:rPr>
              <a:t>SANDVIK: Title of presentation</a:t>
            </a:r>
          </a:p>
        </p:txBody>
      </p:sp>
      <p:sp>
        <p:nvSpPr>
          <p:cNvPr id="9" name="Platshållare för bildnummer 8"/>
          <p:cNvSpPr>
            <a:spLocks noGrp="1"/>
          </p:cNvSpPr>
          <p:nvPr>
            <p:ph type="sldNum" sz="quarter" idx="12"/>
          </p:nvPr>
        </p:nvSpPr>
        <p:spPr/>
        <p:txBody>
          <a:bodyPr/>
          <a:lstStyle/>
          <a:p>
            <a:fld id="{469B62F1-B431-48B6-8270-02431A1685B7}" type="slidenum">
              <a:rPr lang="en-US" smtClean="0">
                <a:solidFill>
                  <a:srgbClr val="7F7F7F"/>
                </a:solidFill>
              </a:rPr>
              <a:pPr/>
              <a:t>‹#›</a:t>
            </a:fld>
            <a:endParaRPr lang="en-US" dirty="0">
              <a:solidFill>
                <a:srgbClr val="7F7F7F"/>
              </a:solidFill>
            </a:endParaRPr>
          </a:p>
        </p:txBody>
      </p:sp>
      <p:sp>
        <p:nvSpPr>
          <p:cNvPr id="11" name="Platshållare för text 10"/>
          <p:cNvSpPr>
            <a:spLocks noGrp="1"/>
          </p:cNvSpPr>
          <p:nvPr>
            <p:ph type="body" sz="quarter" idx="13" hasCustomPrompt="1"/>
          </p:nvPr>
        </p:nvSpPr>
        <p:spPr>
          <a:xfrm>
            <a:off x="360000" y="1890000"/>
            <a:ext cx="4122000" cy="2484000"/>
          </a:xfrm>
        </p:spPr>
        <p:txBody>
          <a:bodyPr/>
          <a:lstStyle>
            <a:lvl2pPr marL="540000" indent="-162000">
              <a:buFont typeface="Arial" panose="020B0604020202020204" pitchFamily="34" charset="0"/>
              <a:buChar char="−"/>
              <a:defRPr/>
            </a:lvl2pPr>
          </a:lstStyle>
          <a:p>
            <a:pPr lvl="0"/>
            <a:r>
              <a:rPr lang="en-US" dirty="0"/>
              <a:t>Click to edit Master text styles</a:t>
            </a:r>
          </a:p>
          <a:p>
            <a:pPr lvl="1"/>
            <a:r>
              <a:rPr lang="en-US" dirty="0"/>
              <a:t>Second level</a:t>
            </a:r>
          </a:p>
        </p:txBody>
      </p:sp>
      <p:sp>
        <p:nvSpPr>
          <p:cNvPr id="5" name="Picture Placeholder 4"/>
          <p:cNvSpPr>
            <a:spLocks noGrp="1"/>
          </p:cNvSpPr>
          <p:nvPr>
            <p:ph type="pic" sz="quarter" idx="20"/>
          </p:nvPr>
        </p:nvSpPr>
        <p:spPr>
          <a:xfrm>
            <a:off x="4662000" y="2484000"/>
            <a:ext cx="4122000" cy="1890000"/>
          </a:xfrm>
        </p:spPr>
        <p:txBody>
          <a:bodyPr/>
          <a:lstStyle>
            <a:lvl1pPr marL="0" indent="0">
              <a:buNone/>
              <a:defRPr/>
            </a:lvl1pPr>
          </a:lstStyle>
          <a:p>
            <a:r>
              <a:rPr lang="en-US"/>
              <a:t>Click icon to add picture</a:t>
            </a:r>
            <a:endParaRPr lang="sv-SE" dirty="0"/>
          </a:p>
        </p:txBody>
      </p:sp>
      <p:sp>
        <p:nvSpPr>
          <p:cNvPr id="10" name="Picture Placeholder 9"/>
          <p:cNvSpPr>
            <a:spLocks noGrp="1"/>
          </p:cNvSpPr>
          <p:nvPr>
            <p:ph type="pic" sz="quarter" idx="21"/>
          </p:nvPr>
        </p:nvSpPr>
        <p:spPr>
          <a:xfrm>
            <a:off x="4662000" y="414000"/>
            <a:ext cx="4122000" cy="1890000"/>
          </a:xfrm>
        </p:spPr>
        <p:txBody>
          <a:bodyPr/>
          <a:lstStyle>
            <a:lvl1pPr marL="0" indent="0">
              <a:buNone/>
              <a:defRPr/>
            </a:lvl1pPr>
          </a:lstStyle>
          <a:p>
            <a:r>
              <a:rPr lang="en-US"/>
              <a:t>Click icon to add picture</a:t>
            </a:r>
            <a:endParaRPr lang="sv-SE" dirty="0"/>
          </a:p>
        </p:txBody>
      </p:sp>
    </p:spTree>
    <p:extLst>
      <p:ext uri="{BB962C8B-B14F-4D97-AF65-F5344CB8AC3E}">
        <p14:creationId xmlns:p14="http://schemas.microsoft.com/office/powerpoint/2010/main" val="2454309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 picture">
    <p:spTree>
      <p:nvGrpSpPr>
        <p:cNvPr id="1" name=""/>
        <p:cNvGrpSpPr/>
        <p:nvPr/>
      </p:nvGrpSpPr>
      <p:grpSpPr>
        <a:xfrm>
          <a:off x="0" y="0"/>
          <a:ext cx="0" cy="0"/>
          <a:chOff x="0" y="0"/>
          <a:chExt cx="0" cy="0"/>
        </a:xfrm>
      </p:grpSpPr>
      <p:sp>
        <p:nvSpPr>
          <p:cNvPr id="2" name="Rubrik 1"/>
          <p:cNvSpPr>
            <a:spLocks noGrp="1"/>
          </p:cNvSpPr>
          <p:nvPr>
            <p:ph type="title" hasCustomPrompt="1"/>
          </p:nvPr>
        </p:nvSpPr>
        <p:spPr>
          <a:xfrm>
            <a:off x="360000" y="414000"/>
            <a:ext cx="4122000" cy="900000"/>
          </a:xfrm>
        </p:spPr>
        <p:txBody>
          <a:bodyPr/>
          <a:lstStyle>
            <a:lvl1pPr>
              <a:defRPr/>
            </a:lvl1pPr>
          </a:lstStyle>
          <a:p>
            <a:r>
              <a:rPr lang="en-US" noProof="0" dirty="0"/>
              <a:t>Headline over</a:t>
            </a:r>
            <a:br>
              <a:rPr lang="en-US" noProof="0" dirty="0"/>
            </a:br>
            <a:r>
              <a:rPr lang="en-US" noProof="0" dirty="0"/>
              <a:t>two lines</a:t>
            </a:r>
          </a:p>
        </p:txBody>
      </p:sp>
      <p:sp>
        <p:nvSpPr>
          <p:cNvPr id="3" name="Platshållare för text 2"/>
          <p:cNvSpPr>
            <a:spLocks noGrp="1"/>
          </p:cNvSpPr>
          <p:nvPr>
            <p:ph type="body" idx="1" hasCustomPrompt="1"/>
          </p:nvPr>
        </p:nvSpPr>
        <p:spPr>
          <a:xfrm>
            <a:off x="360000" y="1440000"/>
            <a:ext cx="4122000" cy="270000"/>
          </a:xfrm>
        </p:spPr>
        <p:txBody>
          <a:bodyPr anchor="t">
            <a:noAutofit/>
          </a:bodyPr>
          <a:lstStyle>
            <a:lvl1pPr marL="0" indent="0">
              <a:lnSpc>
                <a:spcPct val="100000"/>
              </a:lnSpc>
              <a:buNone/>
              <a:defRPr sz="1800" b="0" cap="all" baseline="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Subheading (if needed)</a:t>
            </a:r>
          </a:p>
        </p:txBody>
      </p:sp>
      <p:sp>
        <p:nvSpPr>
          <p:cNvPr id="7" name="Platshållare för datum 6"/>
          <p:cNvSpPr>
            <a:spLocks noGrp="1"/>
          </p:cNvSpPr>
          <p:nvPr>
            <p:ph type="dt" sz="half" idx="10"/>
          </p:nvPr>
        </p:nvSpPr>
        <p:spPr/>
        <p:txBody>
          <a:bodyPr/>
          <a:lstStyle/>
          <a:p>
            <a:fld id="{C680051F-A4B1-4F1A-9B59-6BC4ADD1202D}" type="datetime1">
              <a:rPr lang="en-US" smtClean="0">
                <a:solidFill>
                  <a:srgbClr val="7F7F7F"/>
                </a:solidFill>
              </a:rPr>
              <a:pPr/>
              <a:t>9/10/2018</a:t>
            </a:fld>
            <a:endParaRPr lang="en-US" dirty="0">
              <a:solidFill>
                <a:srgbClr val="7F7F7F"/>
              </a:solidFill>
            </a:endParaRPr>
          </a:p>
        </p:txBody>
      </p:sp>
      <p:sp>
        <p:nvSpPr>
          <p:cNvPr id="8" name="Platshållare för sidfot 7"/>
          <p:cNvSpPr>
            <a:spLocks noGrp="1"/>
          </p:cNvSpPr>
          <p:nvPr>
            <p:ph type="ftr" sz="quarter" idx="11"/>
          </p:nvPr>
        </p:nvSpPr>
        <p:spPr/>
        <p:txBody>
          <a:bodyPr/>
          <a:lstStyle/>
          <a:p>
            <a:r>
              <a:rPr lang="en-US" dirty="0">
                <a:solidFill>
                  <a:srgbClr val="7F7F7F"/>
                </a:solidFill>
              </a:rPr>
              <a:t>SANDVIK: Title of presentation</a:t>
            </a:r>
          </a:p>
        </p:txBody>
      </p:sp>
      <p:sp>
        <p:nvSpPr>
          <p:cNvPr id="9" name="Platshållare för bildnummer 8"/>
          <p:cNvSpPr>
            <a:spLocks noGrp="1"/>
          </p:cNvSpPr>
          <p:nvPr>
            <p:ph type="sldNum" sz="quarter" idx="12"/>
          </p:nvPr>
        </p:nvSpPr>
        <p:spPr/>
        <p:txBody>
          <a:bodyPr/>
          <a:lstStyle/>
          <a:p>
            <a:fld id="{469B62F1-B431-48B6-8270-02431A1685B7}" type="slidenum">
              <a:rPr lang="en-US" smtClean="0">
                <a:solidFill>
                  <a:srgbClr val="7F7F7F"/>
                </a:solidFill>
              </a:rPr>
              <a:pPr/>
              <a:t>‹#›</a:t>
            </a:fld>
            <a:endParaRPr lang="en-US" dirty="0">
              <a:solidFill>
                <a:srgbClr val="7F7F7F"/>
              </a:solidFill>
            </a:endParaRPr>
          </a:p>
        </p:txBody>
      </p:sp>
      <p:sp>
        <p:nvSpPr>
          <p:cNvPr id="11" name="Platshållare för text 10"/>
          <p:cNvSpPr>
            <a:spLocks noGrp="1"/>
          </p:cNvSpPr>
          <p:nvPr>
            <p:ph type="body" sz="quarter" idx="13" hasCustomPrompt="1"/>
          </p:nvPr>
        </p:nvSpPr>
        <p:spPr>
          <a:xfrm>
            <a:off x="360000" y="1890000"/>
            <a:ext cx="4122000" cy="2484000"/>
          </a:xfrm>
        </p:spPr>
        <p:txBody>
          <a:bodyPr/>
          <a:lstStyle>
            <a:lvl2pPr marL="540000" indent="-162000">
              <a:buFont typeface="Arial" panose="020B0604020202020204" pitchFamily="34" charset="0"/>
              <a:buChar char="−"/>
              <a:defRPr/>
            </a:lvl2pPr>
          </a:lstStyle>
          <a:p>
            <a:pPr lvl="0"/>
            <a:r>
              <a:rPr lang="en-US" dirty="0"/>
              <a:t>Click to edit Master text styles</a:t>
            </a:r>
          </a:p>
          <a:p>
            <a:pPr lvl="1"/>
            <a:r>
              <a:rPr lang="en-US" dirty="0"/>
              <a:t>Second level</a:t>
            </a:r>
          </a:p>
        </p:txBody>
      </p:sp>
      <p:sp>
        <p:nvSpPr>
          <p:cNvPr id="5" name="Picture Placeholder 4"/>
          <p:cNvSpPr>
            <a:spLocks noGrp="1"/>
          </p:cNvSpPr>
          <p:nvPr>
            <p:ph type="pic" sz="quarter" idx="14"/>
          </p:nvPr>
        </p:nvSpPr>
        <p:spPr>
          <a:xfrm>
            <a:off x="4662000" y="414000"/>
            <a:ext cx="4122000" cy="3960000"/>
          </a:xfrm>
        </p:spPr>
        <p:txBody>
          <a:bodyPr/>
          <a:lstStyle>
            <a:lvl1pPr marL="0" indent="0">
              <a:buNone/>
              <a:defRPr/>
            </a:lvl1pPr>
          </a:lstStyle>
          <a:p>
            <a:r>
              <a:rPr lang="en-US"/>
              <a:t>Click icon to add picture</a:t>
            </a:r>
            <a:endParaRPr lang="sv-SE" dirty="0"/>
          </a:p>
        </p:txBody>
      </p:sp>
    </p:spTree>
    <p:extLst>
      <p:ext uri="{BB962C8B-B14F-4D97-AF65-F5344CB8AC3E}">
        <p14:creationId xmlns:p14="http://schemas.microsoft.com/office/powerpoint/2010/main" val="42564638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Rubrik 1"/>
          <p:cNvSpPr>
            <a:spLocks noGrp="1"/>
          </p:cNvSpPr>
          <p:nvPr>
            <p:ph type="title" hasCustomPrompt="1"/>
          </p:nvPr>
        </p:nvSpPr>
        <p:spPr/>
        <p:txBody>
          <a:bodyPr/>
          <a:lstStyle>
            <a:lvl1pPr>
              <a:defRPr/>
            </a:lvl1pPr>
          </a:lstStyle>
          <a:p>
            <a:r>
              <a:rPr lang="en-US" noProof="0" dirty="0"/>
              <a:t>Headline one line</a:t>
            </a:r>
          </a:p>
        </p:txBody>
      </p:sp>
      <p:sp>
        <p:nvSpPr>
          <p:cNvPr id="3" name="Platshållare för datum 2"/>
          <p:cNvSpPr>
            <a:spLocks noGrp="1"/>
          </p:cNvSpPr>
          <p:nvPr>
            <p:ph type="dt" sz="half" idx="10"/>
          </p:nvPr>
        </p:nvSpPr>
        <p:spPr/>
        <p:txBody>
          <a:bodyPr/>
          <a:lstStyle/>
          <a:p>
            <a:fld id="{A0BC125F-3FAE-45AA-A1D5-22CF1C11F8CB}" type="datetime1">
              <a:rPr lang="en-US" smtClean="0">
                <a:solidFill>
                  <a:srgbClr val="7F7F7F"/>
                </a:solidFill>
              </a:rPr>
              <a:pPr/>
              <a:t>9/10/2018</a:t>
            </a:fld>
            <a:endParaRPr lang="en-US" dirty="0">
              <a:solidFill>
                <a:srgbClr val="7F7F7F"/>
              </a:solidFill>
            </a:endParaRPr>
          </a:p>
        </p:txBody>
      </p:sp>
      <p:sp>
        <p:nvSpPr>
          <p:cNvPr id="4" name="Platshållare för sidfot 3"/>
          <p:cNvSpPr>
            <a:spLocks noGrp="1"/>
          </p:cNvSpPr>
          <p:nvPr>
            <p:ph type="ftr" sz="quarter" idx="11"/>
          </p:nvPr>
        </p:nvSpPr>
        <p:spPr/>
        <p:txBody>
          <a:bodyPr/>
          <a:lstStyle/>
          <a:p>
            <a:r>
              <a:rPr lang="en-US" dirty="0">
                <a:solidFill>
                  <a:srgbClr val="7F7F7F"/>
                </a:solidFill>
              </a:rPr>
              <a:t>SANDVIK: Title of presentation</a:t>
            </a:r>
          </a:p>
        </p:txBody>
      </p:sp>
      <p:sp>
        <p:nvSpPr>
          <p:cNvPr id="5" name="Platshållare för bildnummer 4"/>
          <p:cNvSpPr>
            <a:spLocks noGrp="1"/>
          </p:cNvSpPr>
          <p:nvPr>
            <p:ph type="sldNum" sz="quarter" idx="12"/>
          </p:nvPr>
        </p:nvSpPr>
        <p:spPr/>
        <p:txBody>
          <a:bodyPr/>
          <a:lstStyle/>
          <a:p>
            <a:fld id="{469B62F1-B431-48B6-8270-02431A1685B7}" type="slidenum">
              <a:rPr lang="en-US" smtClean="0">
                <a:solidFill>
                  <a:srgbClr val="7F7F7F"/>
                </a:solidFill>
              </a:rPr>
              <a:pPr/>
              <a:t>‹#›</a:t>
            </a:fld>
            <a:endParaRPr lang="en-US" dirty="0">
              <a:solidFill>
                <a:srgbClr val="7F7F7F"/>
              </a:solidFill>
            </a:endParaRPr>
          </a:p>
        </p:txBody>
      </p:sp>
    </p:spTree>
    <p:extLst>
      <p:ext uri="{BB962C8B-B14F-4D97-AF65-F5344CB8AC3E}">
        <p14:creationId xmlns:p14="http://schemas.microsoft.com/office/powerpoint/2010/main" val="134529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type="titleOnly" preserve="1">
  <p:cSld name="Only text blue">
    <p:spTree>
      <p:nvGrpSpPr>
        <p:cNvPr id="1" name=""/>
        <p:cNvGrpSpPr/>
        <p:nvPr/>
      </p:nvGrpSpPr>
      <p:grpSpPr>
        <a:xfrm>
          <a:off x="0" y="0"/>
          <a:ext cx="0" cy="0"/>
          <a:chOff x="0" y="0"/>
          <a:chExt cx="0" cy="0"/>
        </a:xfrm>
      </p:grpSpPr>
      <p:sp>
        <p:nvSpPr>
          <p:cNvPr id="2" name="Rubrik 1"/>
          <p:cNvSpPr>
            <a:spLocks noGrp="1"/>
          </p:cNvSpPr>
          <p:nvPr>
            <p:ph type="title" hasCustomPrompt="1"/>
          </p:nvPr>
        </p:nvSpPr>
        <p:spPr>
          <a:xfrm>
            <a:off x="360000" y="1800000"/>
            <a:ext cx="8424000" cy="1440000"/>
          </a:xfrm>
        </p:spPr>
        <p:txBody>
          <a:bodyPr>
            <a:noAutofit/>
          </a:bodyPr>
          <a:lstStyle>
            <a:lvl1pPr algn="l">
              <a:lnSpc>
                <a:spcPct val="100000"/>
              </a:lnSpc>
              <a:spcAft>
                <a:spcPts val="700"/>
              </a:spcAft>
              <a:defRPr sz="4800" baseline="0"/>
            </a:lvl1pPr>
          </a:lstStyle>
          <a:p>
            <a:r>
              <a:rPr lang="en-US" noProof="0" dirty="0"/>
              <a:t>”Quote” or big text on</a:t>
            </a:r>
            <a:br>
              <a:rPr lang="en-US" noProof="0" dirty="0"/>
            </a:br>
            <a:r>
              <a:rPr lang="en-US" noProof="0" dirty="0"/>
              <a:t>white background</a:t>
            </a:r>
          </a:p>
        </p:txBody>
      </p:sp>
      <p:sp>
        <p:nvSpPr>
          <p:cNvPr id="3" name="Platshållare för datum 2"/>
          <p:cNvSpPr>
            <a:spLocks noGrp="1"/>
          </p:cNvSpPr>
          <p:nvPr>
            <p:ph type="dt" sz="half" idx="10"/>
          </p:nvPr>
        </p:nvSpPr>
        <p:spPr/>
        <p:txBody>
          <a:bodyPr/>
          <a:lstStyle/>
          <a:p>
            <a:fld id="{6FD9AF61-2D2D-4997-923E-03B2C54181BD}" type="datetime1">
              <a:rPr lang="en-US" smtClean="0">
                <a:solidFill>
                  <a:srgbClr val="7F7F7F"/>
                </a:solidFill>
              </a:rPr>
              <a:pPr/>
              <a:t>9/10/2018</a:t>
            </a:fld>
            <a:endParaRPr lang="en-US" dirty="0">
              <a:solidFill>
                <a:srgbClr val="7F7F7F"/>
              </a:solidFill>
            </a:endParaRPr>
          </a:p>
        </p:txBody>
      </p:sp>
      <p:sp>
        <p:nvSpPr>
          <p:cNvPr id="4" name="Platshållare för sidfot 3"/>
          <p:cNvSpPr>
            <a:spLocks noGrp="1"/>
          </p:cNvSpPr>
          <p:nvPr>
            <p:ph type="ftr" sz="quarter" idx="11"/>
          </p:nvPr>
        </p:nvSpPr>
        <p:spPr/>
        <p:txBody>
          <a:bodyPr/>
          <a:lstStyle/>
          <a:p>
            <a:r>
              <a:rPr lang="en-US" dirty="0">
                <a:solidFill>
                  <a:srgbClr val="7F7F7F"/>
                </a:solidFill>
              </a:rPr>
              <a:t>SANDVIK: Title of presentation</a:t>
            </a:r>
          </a:p>
        </p:txBody>
      </p:sp>
      <p:sp>
        <p:nvSpPr>
          <p:cNvPr id="5" name="Platshållare för bildnummer 4"/>
          <p:cNvSpPr>
            <a:spLocks noGrp="1"/>
          </p:cNvSpPr>
          <p:nvPr>
            <p:ph type="sldNum" sz="quarter" idx="12"/>
          </p:nvPr>
        </p:nvSpPr>
        <p:spPr/>
        <p:txBody>
          <a:bodyPr/>
          <a:lstStyle/>
          <a:p>
            <a:fld id="{469B62F1-B431-48B6-8270-02431A1685B7}" type="slidenum">
              <a:rPr lang="en-US" smtClean="0">
                <a:solidFill>
                  <a:srgbClr val="7F7F7F"/>
                </a:solidFill>
              </a:rPr>
              <a:pPr/>
              <a:t>‹#›</a:t>
            </a:fld>
            <a:endParaRPr lang="en-US" dirty="0">
              <a:solidFill>
                <a:srgbClr val="7F7F7F"/>
              </a:solidFill>
            </a:endParaRPr>
          </a:p>
        </p:txBody>
      </p:sp>
      <p:sp>
        <p:nvSpPr>
          <p:cNvPr id="6" name="Rectangular Callout 5"/>
          <p:cNvSpPr/>
          <p:nvPr userDrawn="1"/>
        </p:nvSpPr>
        <p:spPr>
          <a:xfrm>
            <a:off x="9432540" y="1923678"/>
            <a:ext cx="1440000" cy="720000"/>
          </a:xfrm>
          <a:prstGeom prst="wedgeRectCallout">
            <a:avLst>
              <a:gd name="adj1" fmla="val -60810"/>
              <a:gd name="adj2" fmla="val -20925"/>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400"/>
            <a:r>
              <a:rPr lang="en-US" sz="800" dirty="0">
                <a:solidFill>
                  <a:prstClr val="white"/>
                </a:solidFill>
              </a:rPr>
              <a:t>Feel free to make vertical adjustment for text placement – it depends on amount of text content. </a:t>
            </a:r>
          </a:p>
        </p:txBody>
      </p:sp>
    </p:spTree>
    <p:extLst>
      <p:ext uri="{BB962C8B-B14F-4D97-AF65-F5344CB8AC3E}">
        <p14:creationId xmlns:p14="http://schemas.microsoft.com/office/powerpoint/2010/main" val="3653902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type="titleOnly" preserve="1">
  <p:cSld name="Only text orange">
    <p:spTree>
      <p:nvGrpSpPr>
        <p:cNvPr id="1" name=""/>
        <p:cNvGrpSpPr/>
        <p:nvPr/>
      </p:nvGrpSpPr>
      <p:grpSpPr>
        <a:xfrm>
          <a:off x="0" y="0"/>
          <a:ext cx="0" cy="0"/>
          <a:chOff x="0" y="0"/>
          <a:chExt cx="0" cy="0"/>
        </a:xfrm>
      </p:grpSpPr>
      <p:sp>
        <p:nvSpPr>
          <p:cNvPr id="2" name="Rubrik 1"/>
          <p:cNvSpPr>
            <a:spLocks noGrp="1"/>
          </p:cNvSpPr>
          <p:nvPr>
            <p:ph type="title" hasCustomPrompt="1"/>
          </p:nvPr>
        </p:nvSpPr>
        <p:spPr>
          <a:xfrm>
            <a:off x="360000" y="1800000"/>
            <a:ext cx="8424000" cy="1440000"/>
          </a:xfrm>
        </p:spPr>
        <p:txBody>
          <a:bodyPr>
            <a:noAutofit/>
          </a:bodyPr>
          <a:lstStyle>
            <a:lvl1pPr algn="l">
              <a:lnSpc>
                <a:spcPct val="100000"/>
              </a:lnSpc>
              <a:spcAft>
                <a:spcPts val="700"/>
              </a:spcAft>
              <a:defRPr sz="4800" baseline="0">
                <a:solidFill>
                  <a:schemeClr val="accent2"/>
                </a:solidFill>
              </a:defRPr>
            </a:lvl1pPr>
          </a:lstStyle>
          <a:p>
            <a:r>
              <a:rPr lang="en-US" noProof="0" dirty="0"/>
              <a:t>”Quote” or big text on</a:t>
            </a:r>
            <a:br>
              <a:rPr lang="en-US" noProof="0" dirty="0"/>
            </a:br>
            <a:r>
              <a:rPr lang="en-US" noProof="0" dirty="0"/>
              <a:t>white background</a:t>
            </a:r>
          </a:p>
        </p:txBody>
      </p:sp>
      <p:sp>
        <p:nvSpPr>
          <p:cNvPr id="3" name="Platshållare för datum 2"/>
          <p:cNvSpPr>
            <a:spLocks noGrp="1"/>
          </p:cNvSpPr>
          <p:nvPr>
            <p:ph type="dt" sz="half" idx="10"/>
          </p:nvPr>
        </p:nvSpPr>
        <p:spPr/>
        <p:txBody>
          <a:bodyPr/>
          <a:lstStyle/>
          <a:p>
            <a:fld id="{63526969-1DB6-4262-AAB1-0489A8CD801C}" type="datetime1">
              <a:rPr lang="en-US" smtClean="0">
                <a:solidFill>
                  <a:srgbClr val="7F7F7F"/>
                </a:solidFill>
              </a:rPr>
              <a:pPr/>
              <a:t>9/10/2018</a:t>
            </a:fld>
            <a:endParaRPr lang="en-US" dirty="0">
              <a:solidFill>
                <a:srgbClr val="7F7F7F"/>
              </a:solidFill>
            </a:endParaRPr>
          </a:p>
        </p:txBody>
      </p:sp>
      <p:sp>
        <p:nvSpPr>
          <p:cNvPr id="4" name="Platshållare för sidfot 3"/>
          <p:cNvSpPr>
            <a:spLocks noGrp="1"/>
          </p:cNvSpPr>
          <p:nvPr>
            <p:ph type="ftr" sz="quarter" idx="11"/>
          </p:nvPr>
        </p:nvSpPr>
        <p:spPr/>
        <p:txBody>
          <a:bodyPr/>
          <a:lstStyle/>
          <a:p>
            <a:r>
              <a:rPr lang="en-US" dirty="0">
                <a:solidFill>
                  <a:srgbClr val="7F7F7F"/>
                </a:solidFill>
              </a:rPr>
              <a:t>SANDVIK: Title of presentation</a:t>
            </a:r>
          </a:p>
        </p:txBody>
      </p:sp>
      <p:sp>
        <p:nvSpPr>
          <p:cNvPr id="5" name="Platshållare för bildnummer 4"/>
          <p:cNvSpPr>
            <a:spLocks noGrp="1"/>
          </p:cNvSpPr>
          <p:nvPr>
            <p:ph type="sldNum" sz="quarter" idx="12"/>
          </p:nvPr>
        </p:nvSpPr>
        <p:spPr/>
        <p:txBody>
          <a:bodyPr/>
          <a:lstStyle/>
          <a:p>
            <a:fld id="{469B62F1-B431-48B6-8270-02431A1685B7}" type="slidenum">
              <a:rPr lang="en-US" smtClean="0">
                <a:solidFill>
                  <a:srgbClr val="7F7F7F"/>
                </a:solidFill>
              </a:rPr>
              <a:pPr/>
              <a:t>‹#›</a:t>
            </a:fld>
            <a:endParaRPr lang="en-US" dirty="0">
              <a:solidFill>
                <a:srgbClr val="7F7F7F"/>
              </a:solidFill>
            </a:endParaRPr>
          </a:p>
        </p:txBody>
      </p:sp>
      <p:sp>
        <p:nvSpPr>
          <p:cNvPr id="7" name="Rectangular Callout 6"/>
          <p:cNvSpPr/>
          <p:nvPr userDrawn="1"/>
        </p:nvSpPr>
        <p:spPr>
          <a:xfrm>
            <a:off x="9432540" y="1923678"/>
            <a:ext cx="1440000" cy="720000"/>
          </a:xfrm>
          <a:prstGeom prst="wedgeRectCallout">
            <a:avLst>
              <a:gd name="adj1" fmla="val -60810"/>
              <a:gd name="adj2" fmla="val -20925"/>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400"/>
            <a:r>
              <a:rPr lang="en-US" sz="800" dirty="0">
                <a:solidFill>
                  <a:prstClr val="white"/>
                </a:solidFill>
              </a:rPr>
              <a:t>Feel free to make vertical adjustment for text placement – it depends on amount of text content. </a:t>
            </a:r>
          </a:p>
        </p:txBody>
      </p:sp>
    </p:spTree>
    <p:extLst>
      <p:ext uri="{BB962C8B-B14F-4D97-AF65-F5344CB8AC3E}">
        <p14:creationId xmlns:p14="http://schemas.microsoft.com/office/powerpoint/2010/main" val="38115632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p:cSld name="Big text on picture">
    <p:spTree>
      <p:nvGrpSpPr>
        <p:cNvPr id="1" name=""/>
        <p:cNvGrpSpPr/>
        <p:nvPr/>
      </p:nvGrpSpPr>
      <p:grpSpPr>
        <a:xfrm>
          <a:off x="0" y="0"/>
          <a:ext cx="0" cy="0"/>
          <a:chOff x="0" y="0"/>
          <a:chExt cx="0" cy="0"/>
        </a:xfrm>
      </p:grpSpPr>
      <p:sp>
        <p:nvSpPr>
          <p:cNvPr id="8" name="Platshållare för bild 7"/>
          <p:cNvSpPr>
            <a:spLocks noGrp="1"/>
          </p:cNvSpPr>
          <p:nvPr>
            <p:ph type="pic" sz="quarter" idx="13"/>
          </p:nvPr>
        </p:nvSpPr>
        <p:spPr>
          <a:xfrm>
            <a:off x="0" y="0"/>
            <a:ext cx="9144000" cy="5143500"/>
          </a:xfrm>
        </p:spPr>
        <p:txBody>
          <a:bodyPr/>
          <a:lstStyle/>
          <a:p>
            <a:r>
              <a:rPr lang="en-US"/>
              <a:t>Click icon to add picture</a:t>
            </a:r>
            <a:endParaRPr lang="sv-SE" dirty="0"/>
          </a:p>
        </p:txBody>
      </p:sp>
      <p:sp>
        <p:nvSpPr>
          <p:cNvPr id="2" name="Rubrik 1"/>
          <p:cNvSpPr>
            <a:spLocks noGrp="1"/>
          </p:cNvSpPr>
          <p:nvPr>
            <p:ph type="title" hasCustomPrompt="1"/>
          </p:nvPr>
        </p:nvSpPr>
        <p:spPr>
          <a:xfrm>
            <a:off x="360000" y="1170000"/>
            <a:ext cx="4122000" cy="2700000"/>
          </a:xfrm>
        </p:spPr>
        <p:txBody>
          <a:bodyPr>
            <a:noAutofit/>
          </a:bodyPr>
          <a:lstStyle>
            <a:lvl1pPr algn="l">
              <a:lnSpc>
                <a:spcPct val="100000"/>
              </a:lnSpc>
              <a:spcAft>
                <a:spcPts val="700"/>
              </a:spcAft>
              <a:defRPr sz="3600" baseline="0">
                <a:solidFill>
                  <a:schemeClr val="tx1"/>
                </a:solidFill>
              </a:defRPr>
            </a:lvl1pPr>
          </a:lstStyle>
          <a:p>
            <a:r>
              <a:rPr lang="en-US" noProof="0" dirty="0"/>
              <a:t>”Quote”, or big text (black, white, blue or orange) on picture </a:t>
            </a:r>
          </a:p>
        </p:txBody>
      </p:sp>
      <p:sp>
        <p:nvSpPr>
          <p:cNvPr id="3" name="Platshållare för datum 2"/>
          <p:cNvSpPr>
            <a:spLocks noGrp="1"/>
          </p:cNvSpPr>
          <p:nvPr>
            <p:ph type="dt" sz="half" idx="10"/>
          </p:nvPr>
        </p:nvSpPr>
        <p:spPr/>
        <p:txBody>
          <a:bodyPr/>
          <a:lstStyle/>
          <a:p>
            <a:fld id="{9B7204ED-F5A4-49B1-A568-4266C4312E57}" type="datetime1">
              <a:rPr lang="en-US" smtClean="0">
                <a:solidFill>
                  <a:srgbClr val="7F7F7F"/>
                </a:solidFill>
              </a:rPr>
              <a:pPr/>
              <a:t>9/10/2018</a:t>
            </a:fld>
            <a:endParaRPr lang="en-US" dirty="0">
              <a:solidFill>
                <a:srgbClr val="7F7F7F"/>
              </a:solidFill>
            </a:endParaRPr>
          </a:p>
        </p:txBody>
      </p:sp>
      <p:sp>
        <p:nvSpPr>
          <p:cNvPr id="4" name="Platshållare för sidfot 3"/>
          <p:cNvSpPr>
            <a:spLocks noGrp="1"/>
          </p:cNvSpPr>
          <p:nvPr>
            <p:ph type="ftr" sz="quarter" idx="11"/>
          </p:nvPr>
        </p:nvSpPr>
        <p:spPr/>
        <p:txBody>
          <a:bodyPr/>
          <a:lstStyle/>
          <a:p>
            <a:r>
              <a:rPr lang="en-US" dirty="0">
                <a:solidFill>
                  <a:srgbClr val="7F7F7F"/>
                </a:solidFill>
              </a:rPr>
              <a:t>SANDVIK: Title of presentation</a:t>
            </a:r>
          </a:p>
        </p:txBody>
      </p:sp>
      <p:sp>
        <p:nvSpPr>
          <p:cNvPr id="5" name="Platshållare för bildnummer 4"/>
          <p:cNvSpPr>
            <a:spLocks noGrp="1"/>
          </p:cNvSpPr>
          <p:nvPr>
            <p:ph type="sldNum" sz="quarter" idx="12"/>
          </p:nvPr>
        </p:nvSpPr>
        <p:spPr/>
        <p:txBody>
          <a:bodyPr/>
          <a:lstStyle/>
          <a:p>
            <a:fld id="{469B62F1-B431-48B6-8270-02431A1685B7}" type="slidenum">
              <a:rPr lang="en-US" smtClean="0">
                <a:solidFill>
                  <a:srgbClr val="7F7F7F"/>
                </a:solidFill>
              </a:rPr>
              <a:pPr/>
              <a:t>‹#›</a:t>
            </a:fld>
            <a:endParaRPr lang="en-US" dirty="0">
              <a:solidFill>
                <a:srgbClr val="7F7F7F"/>
              </a:solidFill>
            </a:endParaRPr>
          </a:p>
        </p:txBody>
      </p:sp>
      <p:sp>
        <p:nvSpPr>
          <p:cNvPr id="7" name="Rectangular Callout 6"/>
          <p:cNvSpPr/>
          <p:nvPr userDrawn="1"/>
        </p:nvSpPr>
        <p:spPr>
          <a:xfrm>
            <a:off x="9432540" y="1923678"/>
            <a:ext cx="1440000" cy="720000"/>
          </a:xfrm>
          <a:prstGeom prst="wedgeRectCallout">
            <a:avLst>
              <a:gd name="adj1" fmla="val -60810"/>
              <a:gd name="adj2" fmla="val -20925"/>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400"/>
            <a:r>
              <a:rPr lang="en-US" sz="800" dirty="0">
                <a:solidFill>
                  <a:prstClr val="white"/>
                </a:solidFill>
              </a:rPr>
              <a:t>Feel free to make vertical adjustment for text placement – it depends on amount of text content. </a:t>
            </a:r>
          </a:p>
        </p:txBody>
      </p:sp>
    </p:spTree>
    <p:extLst>
      <p:ext uri="{BB962C8B-B14F-4D97-AF65-F5344CB8AC3E}">
        <p14:creationId xmlns:p14="http://schemas.microsoft.com/office/powerpoint/2010/main" val="219173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Big text left blue">
    <p:spTree>
      <p:nvGrpSpPr>
        <p:cNvPr id="1" name=""/>
        <p:cNvGrpSpPr/>
        <p:nvPr/>
      </p:nvGrpSpPr>
      <p:grpSpPr>
        <a:xfrm>
          <a:off x="0" y="0"/>
          <a:ext cx="0" cy="0"/>
          <a:chOff x="0" y="0"/>
          <a:chExt cx="0" cy="0"/>
        </a:xfrm>
      </p:grpSpPr>
      <p:sp>
        <p:nvSpPr>
          <p:cNvPr id="2" name="Rubrik 1"/>
          <p:cNvSpPr>
            <a:spLocks noGrp="1"/>
          </p:cNvSpPr>
          <p:nvPr>
            <p:ph type="title" hasCustomPrompt="1"/>
          </p:nvPr>
        </p:nvSpPr>
        <p:spPr>
          <a:xfrm>
            <a:off x="360000" y="414000"/>
            <a:ext cx="4122000" cy="3960000"/>
          </a:xfrm>
        </p:spPr>
        <p:txBody>
          <a:bodyPr>
            <a:noAutofit/>
          </a:bodyPr>
          <a:lstStyle>
            <a:lvl1pPr algn="l">
              <a:lnSpc>
                <a:spcPct val="100000"/>
              </a:lnSpc>
              <a:spcAft>
                <a:spcPts val="700"/>
              </a:spcAft>
              <a:defRPr sz="4800" baseline="0">
                <a:solidFill>
                  <a:schemeClr val="accent1"/>
                </a:solidFill>
              </a:defRPr>
            </a:lvl1pPr>
          </a:lstStyle>
          <a:p>
            <a:r>
              <a:rPr lang="en-US" noProof="0" dirty="0"/>
              <a:t>Big text,</a:t>
            </a:r>
            <a:br>
              <a:rPr lang="en-US" noProof="0" dirty="0"/>
            </a:br>
            <a:r>
              <a:rPr lang="en-US" noProof="0" dirty="0"/>
              <a:t>more than one line </a:t>
            </a:r>
          </a:p>
        </p:txBody>
      </p:sp>
      <p:sp>
        <p:nvSpPr>
          <p:cNvPr id="3" name="Platshållare för datum 2"/>
          <p:cNvSpPr>
            <a:spLocks noGrp="1"/>
          </p:cNvSpPr>
          <p:nvPr>
            <p:ph type="dt" sz="half" idx="10"/>
          </p:nvPr>
        </p:nvSpPr>
        <p:spPr/>
        <p:txBody>
          <a:bodyPr/>
          <a:lstStyle/>
          <a:p>
            <a:fld id="{289E0679-1120-41DD-AF2A-27CB1CDD1C05}" type="datetime1">
              <a:rPr lang="en-US" smtClean="0">
                <a:solidFill>
                  <a:srgbClr val="7F7F7F"/>
                </a:solidFill>
              </a:rPr>
              <a:pPr/>
              <a:t>9/10/2018</a:t>
            </a:fld>
            <a:endParaRPr lang="en-US" dirty="0">
              <a:solidFill>
                <a:srgbClr val="7F7F7F"/>
              </a:solidFill>
            </a:endParaRPr>
          </a:p>
        </p:txBody>
      </p:sp>
      <p:sp>
        <p:nvSpPr>
          <p:cNvPr id="4" name="Platshållare för sidfot 3"/>
          <p:cNvSpPr>
            <a:spLocks noGrp="1"/>
          </p:cNvSpPr>
          <p:nvPr>
            <p:ph type="ftr" sz="quarter" idx="11"/>
          </p:nvPr>
        </p:nvSpPr>
        <p:spPr/>
        <p:txBody>
          <a:bodyPr/>
          <a:lstStyle/>
          <a:p>
            <a:r>
              <a:rPr lang="en-US" dirty="0">
                <a:solidFill>
                  <a:srgbClr val="7F7F7F"/>
                </a:solidFill>
              </a:rPr>
              <a:t>SANDVIK: Title of presentation</a:t>
            </a:r>
          </a:p>
        </p:txBody>
      </p:sp>
      <p:sp>
        <p:nvSpPr>
          <p:cNvPr id="5" name="Platshållare för bildnummer 4"/>
          <p:cNvSpPr>
            <a:spLocks noGrp="1"/>
          </p:cNvSpPr>
          <p:nvPr>
            <p:ph type="sldNum" sz="quarter" idx="12"/>
          </p:nvPr>
        </p:nvSpPr>
        <p:spPr/>
        <p:txBody>
          <a:bodyPr/>
          <a:lstStyle/>
          <a:p>
            <a:fld id="{469B62F1-B431-48B6-8270-02431A1685B7}" type="slidenum">
              <a:rPr lang="en-US" smtClean="0">
                <a:solidFill>
                  <a:srgbClr val="7F7F7F"/>
                </a:solidFill>
              </a:rPr>
              <a:pPr/>
              <a:t>‹#›</a:t>
            </a:fld>
            <a:endParaRPr lang="en-US" dirty="0">
              <a:solidFill>
                <a:srgbClr val="7F7F7F"/>
              </a:solidFill>
            </a:endParaRPr>
          </a:p>
        </p:txBody>
      </p:sp>
      <p:sp>
        <p:nvSpPr>
          <p:cNvPr id="8" name="Picture Placeholder 7"/>
          <p:cNvSpPr>
            <a:spLocks noGrp="1"/>
          </p:cNvSpPr>
          <p:nvPr>
            <p:ph type="pic" sz="quarter" idx="13"/>
          </p:nvPr>
        </p:nvSpPr>
        <p:spPr>
          <a:xfrm>
            <a:off x="4662000" y="414000"/>
            <a:ext cx="4122000" cy="3960000"/>
          </a:xfrm>
        </p:spPr>
        <p:txBody>
          <a:bodyPr/>
          <a:lstStyle>
            <a:lvl1pPr marL="0" indent="0">
              <a:buNone/>
              <a:defRPr/>
            </a:lvl1pPr>
          </a:lstStyle>
          <a:p>
            <a:r>
              <a:rPr lang="en-US"/>
              <a:t>Click icon to add picture</a:t>
            </a:r>
            <a:endParaRPr lang="sv-SE" dirty="0"/>
          </a:p>
        </p:txBody>
      </p:sp>
    </p:spTree>
    <p:extLst>
      <p:ext uri="{BB962C8B-B14F-4D97-AF65-F5344CB8AC3E}">
        <p14:creationId xmlns:p14="http://schemas.microsoft.com/office/powerpoint/2010/main" val="231397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ig text left orange">
    <p:spTree>
      <p:nvGrpSpPr>
        <p:cNvPr id="1" name=""/>
        <p:cNvGrpSpPr/>
        <p:nvPr/>
      </p:nvGrpSpPr>
      <p:grpSpPr>
        <a:xfrm>
          <a:off x="0" y="0"/>
          <a:ext cx="0" cy="0"/>
          <a:chOff x="0" y="0"/>
          <a:chExt cx="0" cy="0"/>
        </a:xfrm>
      </p:grpSpPr>
      <p:sp>
        <p:nvSpPr>
          <p:cNvPr id="2" name="Rubrik 1"/>
          <p:cNvSpPr>
            <a:spLocks noGrp="1"/>
          </p:cNvSpPr>
          <p:nvPr>
            <p:ph type="title" hasCustomPrompt="1"/>
          </p:nvPr>
        </p:nvSpPr>
        <p:spPr>
          <a:xfrm>
            <a:off x="360000" y="414000"/>
            <a:ext cx="4122000" cy="3960000"/>
          </a:xfrm>
        </p:spPr>
        <p:txBody>
          <a:bodyPr>
            <a:noAutofit/>
          </a:bodyPr>
          <a:lstStyle>
            <a:lvl1pPr algn="l">
              <a:lnSpc>
                <a:spcPct val="100000"/>
              </a:lnSpc>
              <a:spcAft>
                <a:spcPts val="700"/>
              </a:spcAft>
              <a:defRPr sz="4800" baseline="0">
                <a:solidFill>
                  <a:schemeClr val="accent2"/>
                </a:solidFill>
              </a:defRPr>
            </a:lvl1pPr>
          </a:lstStyle>
          <a:p>
            <a:r>
              <a:rPr lang="en-US" noProof="0" dirty="0"/>
              <a:t>Big text,</a:t>
            </a:r>
            <a:br>
              <a:rPr lang="en-US" noProof="0" dirty="0"/>
            </a:br>
            <a:r>
              <a:rPr lang="en-US" noProof="0" dirty="0"/>
              <a:t>more than one line </a:t>
            </a:r>
          </a:p>
        </p:txBody>
      </p:sp>
      <p:sp>
        <p:nvSpPr>
          <p:cNvPr id="3" name="Platshållare för datum 2"/>
          <p:cNvSpPr>
            <a:spLocks noGrp="1"/>
          </p:cNvSpPr>
          <p:nvPr>
            <p:ph type="dt" sz="half" idx="10"/>
          </p:nvPr>
        </p:nvSpPr>
        <p:spPr/>
        <p:txBody>
          <a:bodyPr/>
          <a:lstStyle/>
          <a:p>
            <a:fld id="{B086D459-BE16-4E65-B712-8C0B332A8AB1}" type="datetime1">
              <a:rPr lang="en-US" smtClean="0">
                <a:solidFill>
                  <a:srgbClr val="7F7F7F"/>
                </a:solidFill>
              </a:rPr>
              <a:pPr/>
              <a:t>9/10/2018</a:t>
            </a:fld>
            <a:endParaRPr lang="en-US" dirty="0">
              <a:solidFill>
                <a:srgbClr val="7F7F7F"/>
              </a:solidFill>
            </a:endParaRPr>
          </a:p>
        </p:txBody>
      </p:sp>
      <p:sp>
        <p:nvSpPr>
          <p:cNvPr id="4" name="Platshållare för sidfot 3"/>
          <p:cNvSpPr>
            <a:spLocks noGrp="1"/>
          </p:cNvSpPr>
          <p:nvPr>
            <p:ph type="ftr" sz="quarter" idx="11"/>
          </p:nvPr>
        </p:nvSpPr>
        <p:spPr/>
        <p:txBody>
          <a:bodyPr/>
          <a:lstStyle/>
          <a:p>
            <a:r>
              <a:rPr lang="en-US" dirty="0">
                <a:solidFill>
                  <a:srgbClr val="7F7F7F"/>
                </a:solidFill>
              </a:rPr>
              <a:t>SANDVIK: Title of presentation</a:t>
            </a:r>
          </a:p>
        </p:txBody>
      </p:sp>
      <p:sp>
        <p:nvSpPr>
          <p:cNvPr id="5" name="Platshållare för bildnummer 4"/>
          <p:cNvSpPr>
            <a:spLocks noGrp="1"/>
          </p:cNvSpPr>
          <p:nvPr>
            <p:ph type="sldNum" sz="quarter" idx="12"/>
          </p:nvPr>
        </p:nvSpPr>
        <p:spPr/>
        <p:txBody>
          <a:bodyPr/>
          <a:lstStyle/>
          <a:p>
            <a:fld id="{469B62F1-B431-48B6-8270-02431A1685B7}" type="slidenum">
              <a:rPr lang="en-US" smtClean="0">
                <a:solidFill>
                  <a:srgbClr val="7F7F7F"/>
                </a:solidFill>
              </a:rPr>
              <a:pPr/>
              <a:t>‹#›</a:t>
            </a:fld>
            <a:endParaRPr lang="en-US" dirty="0">
              <a:solidFill>
                <a:srgbClr val="7F7F7F"/>
              </a:solidFill>
            </a:endParaRPr>
          </a:p>
        </p:txBody>
      </p:sp>
      <p:sp>
        <p:nvSpPr>
          <p:cNvPr id="8" name="Picture Placeholder 7"/>
          <p:cNvSpPr>
            <a:spLocks noGrp="1"/>
          </p:cNvSpPr>
          <p:nvPr>
            <p:ph type="pic" sz="quarter" idx="13"/>
          </p:nvPr>
        </p:nvSpPr>
        <p:spPr>
          <a:xfrm>
            <a:off x="4662000" y="414000"/>
            <a:ext cx="4122000" cy="3960000"/>
          </a:xfrm>
        </p:spPr>
        <p:txBody>
          <a:bodyPr/>
          <a:lstStyle>
            <a:lvl1pPr marL="0" indent="0">
              <a:buNone/>
              <a:defRPr/>
            </a:lvl1pPr>
          </a:lstStyle>
          <a:p>
            <a:r>
              <a:rPr lang="en-US"/>
              <a:t>Click icon to add picture</a:t>
            </a:r>
            <a:endParaRPr lang="sv-SE" dirty="0"/>
          </a:p>
        </p:txBody>
      </p:sp>
    </p:spTree>
    <p:extLst>
      <p:ext uri="{BB962C8B-B14F-4D97-AF65-F5344CB8AC3E}">
        <p14:creationId xmlns:p14="http://schemas.microsoft.com/office/powerpoint/2010/main" val="6343490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Big text right blue">
    <p:spTree>
      <p:nvGrpSpPr>
        <p:cNvPr id="1" name=""/>
        <p:cNvGrpSpPr/>
        <p:nvPr/>
      </p:nvGrpSpPr>
      <p:grpSpPr>
        <a:xfrm>
          <a:off x="0" y="0"/>
          <a:ext cx="0" cy="0"/>
          <a:chOff x="0" y="0"/>
          <a:chExt cx="0" cy="0"/>
        </a:xfrm>
      </p:grpSpPr>
      <p:sp>
        <p:nvSpPr>
          <p:cNvPr id="2" name="Rubrik 1"/>
          <p:cNvSpPr>
            <a:spLocks noGrp="1"/>
          </p:cNvSpPr>
          <p:nvPr>
            <p:ph type="title" hasCustomPrompt="1"/>
          </p:nvPr>
        </p:nvSpPr>
        <p:spPr>
          <a:xfrm>
            <a:off x="4662000" y="414000"/>
            <a:ext cx="4122000" cy="3960000"/>
          </a:xfrm>
        </p:spPr>
        <p:txBody>
          <a:bodyPr>
            <a:noAutofit/>
          </a:bodyPr>
          <a:lstStyle>
            <a:lvl1pPr algn="l">
              <a:lnSpc>
                <a:spcPct val="100000"/>
              </a:lnSpc>
              <a:spcAft>
                <a:spcPts val="700"/>
              </a:spcAft>
              <a:defRPr sz="4800" baseline="0">
                <a:solidFill>
                  <a:schemeClr val="accent1"/>
                </a:solidFill>
              </a:defRPr>
            </a:lvl1pPr>
          </a:lstStyle>
          <a:p>
            <a:r>
              <a:rPr lang="en-US" noProof="0" dirty="0"/>
              <a:t>Big text,</a:t>
            </a:r>
            <a:br>
              <a:rPr lang="en-US" noProof="0" dirty="0"/>
            </a:br>
            <a:r>
              <a:rPr lang="en-US" noProof="0" dirty="0"/>
              <a:t>more than one line</a:t>
            </a:r>
          </a:p>
        </p:txBody>
      </p:sp>
      <p:sp>
        <p:nvSpPr>
          <p:cNvPr id="3" name="Platshållare för datum 2"/>
          <p:cNvSpPr>
            <a:spLocks noGrp="1"/>
          </p:cNvSpPr>
          <p:nvPr>
            <p:ph type="dt" sz="half" idx="10"/>
          </p:nvPr>
        </p:nvSpPr>
        <p:spPr/>
        <p:txBody>
          <a:bodyPr/>
          <a:lstStyle/>
          <a:p>
            <a:fld id="{B344A86F-5D64-4087-84A3-365E267E9722}" type="datetime1">
              <a:rPr lang="en-US" smtClean="0">
                <a:solidFill>
                  <a:srgbClr val="7F7F7F"/>
                </a:solidFill>
              </a:rPr>
              <a:pPr/>
              <a:t>9/10/2018</a:t>
            </a:fld>
            <a:endParaRPr lang="en-US" dirty="0">
              <a:solidFill>
                <a:srgbClr val="7F7F7F"/>
              </a:solidFill>
            </a:endParaRPr>
          </a:p>
        </p:txBody>
      </p:sp>
      <p:sp>
        <p:nvSpPr>
          <p:cNvPr id="4" name="Platshållare för sidfot 3"/>
          <p:cNvSpPr>
            <a:spLocks noGrp="1"/>
          </p:cNvSpPr>
          <p:nvPr>
            <p:ph type="ftr" sz="quarter" idx="11"/>
          </p:nvPr>
        </p:nvSpPr>
        <p:spPr/>
        <p:txBody>
          <a:bodyPr/>
          <a:lstStyle/>
          <a:p>
            <a:r>
              <a:rPr lang="en-US" dirty="0">
                <a:solidFill>
                  <a:srgbClr val="7F7F7F"/>
                </a:solidFill>
              </a:rPr>
              <a:t>SANDVIK: Title of presentation</a:t>
            </a:r>
          </a:p>
        </p:txBody>
      </p:sp>
      <p:sp>
        <p:nvSpPr>
          <p:cNvPr id="5" name="Platshållare för bildnummer 4"/>
          <p:cNvSpPr>
            <a:spLocks noGrp="1"/>
          </p:cNvSpPr>
          <p:nvPr>
            <p:ph type="sldNum" sz="quarter" idx="12"/>
          </p:nvPr>
        </p:nvSpPr>
        <p:spPr/>
        <p:txBody>
          <a:bodyPr/>
          <a:lstStyle/>
          <a:p>
            <a:fld id="{469B62F1-B431-48B6-8270-02431A1685B7}" type="slidenum">
              <a:rPr lang="en-US" smtClean="0">
                <a:solidFill>
                  <a:srgbClr val="7F7F7F"/>
                </a:solidFill>
              </a:rPr>
              <a:pPr/>
              <a:t>‹#›</a:t>
            </a:fld>
            <a:endParaRPr lang="en-US" dirty="0">
              <a:solidFill>
                <a:srgbClr val="7F7F7F"/>
              </a:solidFill>
            </a:endParaRPr>
          </a:p>
        </p:txBody>
      </p:sp>
      <p:sp>
        <p:nvSpPr>
          <p:cNvPr id="8" name="Picture Placeholder 7"/>
          <p:cNvSpPr>
            <a:spLocks noGrp="1"/>
          </p:cNvSpPr>
          <p:nvPr>
            <p:ph type="pic" sz="quarter" idx="13"/>
          </p:nvPr>
        </p:nvSpPr>
        <p:spPr>
          <a:xfrm>
            <a:off x="360000" y="414000"/>
            <a:ext cx="4122000" cy="3960000"/>
          </a:xfrm>
        </p:spPr>
        <p:txBody>
          <a:bodyPr/>
          <a:lstStyle>
            <a:lvl1pPr marL="0" indent="0">
              <a:buNone/>
              <a:defRPr/>
            </a:lvl1pPr>
          </a:lstStyle>
          <a:p>
            <a:r>
              <a:rPr lang="en-US"/>
              <a:t>Click icon to add picture</a:t>
            </a:r>
            <a:endParaRPr lang="sv-SE" dirty="0"/>
          </a:p>
        </p:txBody>
      </p:sp>
    </p:spTree>
    <p:extLst>
      <p:ext uri="{BB962C8B-B14F-4D97-AF65-F5344CB8AC3E}">
        <p14:creationId xmlns:p14="http://schemas.microsoft.com/office/powerpoint/2010/main" val="2805539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Chapter divider orange">
    <p:bg>
      <p:bgPr>
        <a:solidFill>
          <a:schemeClr val="accent2"/>
        </a:solidFill>
        <a:effectLst/>
      </p:bgPr>
    </p:bg>
    <p:spTree>
      <p:nvGrpSpPr>
        <p:cNvPr id="1" name=""/>
        <p:cNvGrpSpPr/>
        <p:nvPr/>
      </p:nvGrpSpPr>
      <p:grpSpPr>
        <a:xfrm>
          <a:off x="0" y="0"/>
          <a:ext cx="0" cy="0"/>
          <a:chOff x="0" y="0"/>
          <a:chExt cx="0" cy="0"/>
        </a:xfrm>
      </p:grpSpPr>
      <p:sp>
        <p:nvSpPr>
          <p:cNvPr id="2" name="Rubrik 1"/>
          <p:cNvSpPr>
            <a:spLocks noGrp="1"/>
          </p:cNvSpPr>
          <p:nvPr>
            <p:ph type="title" hasCustomPrompt="1"/>
          </p:nvPr>
        </p:nvSpPr>
        <p:spPr>
          <a:xfrm>
            <a:off x="360000" y="1260000"/>
            <a:ext cx="8424000" cy="1080000"/>
          </a:xfrm>
        </p:spPr>
        <p:txBody>
          <a:bodyPr anchor="t">
            <a:noAutofit/>
          </a:bodyPr>
          <a:lstStyle>
            <a:lvl1pPr algn="l">
              <a:lnSpc>
                <a:spcPct val="100000"/>
              </a:lnSpc>
              <a:spcAft>
                <a:spcPts val="700"/>
              </a:spcAft>
              <a:defRPr sz="4800" b="0" cap="all">
                <a:solidFill>
                  <a:schemeClr val="bg1"/>
                </a:solidFill>
              </a:defRPr>
            </a:lvl1pPr>
          </a:lstStyle>
          <a:p>
            <a:r>
              <a:rPr lang="en-US" noProof="0" dirty="0"/>
              <a:t>Divider slide, one line</a:t>
            </a:r>
          </a:p>
        </p:txBody>
      </p:sp>
      <p:sp>
        <p:nvSpPr>
          <p:cNvPr id="4" name="Platshållare för datum 3"/>
          <p:cNvSpPr>
            <a:spLocks noGrp="1"/>
          </p:cNvSpPr>
          <p:nvPr>
            <p:ph type="dt" sz="half" idx="10"/>
          </p:nvPr>
        </p:nvSpPr>
        <p:spPr/>
        <p:txBody>
          <a:bodyPr/>
          <a:lstStyle>
            <a:lvl1pPr>
              <a:defRPr>
                <a:solidFill>
                  <a:schemeClr val="bg1"/>
                </a:solidFill>
              </a:defRPr>
            </a:lvl1pPr>
          </a:lstStyle>
          <a:p>
            <a:fld id="{BE171C09-F294-48F0-98F0-E231882A15E0}" type="datetime1">
              <a:rPr lang="en-US" smtClean="0"/>
              <a:t>9/10/2018</a:t>
            </a:fld>
            <a:endParaRPr lang="en-US" dirty="0"/>
          </a:p>
        </p:txBody>
      </p:sp>
      <p:sp>
        <p:nvSpPr>
          <p:cNvPr id="5" name="Platshållare för sidfot 4"/>
          <p:cNvSpPr>
            <a:spLocks noGrp="1"/>
          </p:cNvSpPr>
          <p:nvPr>
            <p:ph type="ftr" sz="quarter" idx="11"/>
          </p:nvPr>
        </p:nvSpPr>
        <p:spPr/>
        <p:txBody>
          <a:bodyPr/>
          <a:lstStyle>
            <a:lvl1pPr>
              <a:defRPr>
                <a:solidFill>
                  <a:schemeClr val="bg1"/>
                </a:solidFill>
              </a:defRPr>
            </a:lvl1pPr>
          </a:lstStyle>
          <a:p>
            <a:r>
              <a:rPr lang="en-US" dirty="0"/>
              <a:t>SANDVIK: Title of presentation</a:t>
            </a:r>
          </a:p>
        </p:txBody>
      </p:sp>
      <p:sp>
        <p:nvSpPr>
          <p:cNvPr id="6" name="Platshållare för bildnummer 5"/>
          <p:cNvSpPr>
            <a:spLocks noGrp="1"/>
          </p:cNvSpPr>
          <p:nvPr>
            <p:ph type="sldNum" sz="quarter" idx="12"/>
          </p:nvPr>
        </p:nvSpPr>
        <p:spPr/>
        <p:txBody>
          <a:bodyPr/>
          <a:lstStyle>
            <a:lvl1pPr>
              <a:defRPr>
                <a:solidFill>
                  <a:schemeClr val="bg1"/>
                </a:solidFill>
              </a:defRPr>
            </a:lvl1pPr>
          </a:lstStyle>
          <a:p>
            <a:fld id="{469B62F1-B431-48B6-8270-02431A1685B7}" type="slidenum">
              <a:rPr lang="en-US" smtClean="0"/>
              <a:pPr/>
              <a:t>‹#›</a:t>
            </a:fld>
            <a:endParaRPr lang="en-US" dirty="0"/>
          </a:p>
        </p:txBody>
      </p:sp>
      <p:pic>
        <p:nvPicPr>
          <p:cNvPr id="8" name="Bildobjekt 7" descr="SAV_Logo_white_RGB300.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902838" y="4554000"/>
            <a:ext cx="889869" cy="324000"/>
          </a:xfrm>
          <a:prstGeom prst="rect">
            <a:avLst/>
          </a:prstGeom>
        </p:spPr>
      </p:pic>
      <p:pic>
        <p:nvPicPr>
          <p:cNvPr id="9" name="Picture 8"/>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396552" y="1851671"/>
            <a:ext cx="9540552" cy="2807266"/>
          </a:xfrm>
          <a:prstGeom prst="rect">
            <a:avLst/>
          </a:prstGeom>
        </p:spPr>
      </p:pic>
    </p:spTree>
    <p:extLst>
      <p:ext uri="{BB962C8B-B14F-4D97-AF65-F5344CB8AC3E}">
        <p14:creationId xmlns:p14="http://schemas.microsoft.com/office/powerpoint/2010/main" val="4182360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ig text right orange">
    <p:spTree>
      <p:nvGrpSpPr>
        <p:cNvPr id="1" name=""/>
        <p:cNvGrpSpPr/>
        <p:nvPr/>
      </p:nvGrpSpPr>
      <p:grpSpPr>
        <a:xfrm>
          <a:off x="0" y="0"/>
          <a:ext cx="0" cy="0"/>
          <a:chOff x="0" y="0"/>
          <a:chExt cx="0" cy="0"/>
        </a:xfrm>
      </p:grpSpPr>
      <p:sp>
        <p:nvSpPr>
          <p:cNvPr id="2" name="Rubrik 1"/>
          <p:cNvSpPr>
            <a:spLocks noGrp="1"/>
          </p:cNvSpPr>
          <p:nvPr>
            <p:ph type="title" hasCustomPrompt="1"/>
          </p:nvPr>
        </p:nvSpPr>
        <p:spPr>
          <a:xfrm>
            <a:off x="4662000" y="414000"/>
            <a:ext cx="4122000" cy="3960000"/>
          </a:xfrm>
        </p:spPr>
        <p:txBody>
          <a:bodyPr>
            <a:noAutofit/>
          </a:bodyPr>
          <a:lstStyle>
            <a:lvl1pPr algn="l">
              <a:lnSpc>
                <a:spcPct val="100000"/>
              </a:lnSpc>
              <a:spcAft>
                <a:spcPts val="700"/>
              </a:spcAft>
              <a:defRPr sz="4800" baseline="0">
                <a:solidFill>
                  <a:schemeClr val="accent2"/>
                </a:solidFill>
              </a:defRPr>
            </a:lvl1pPr>
          </a:lstStyle>
          <a:p>
            <a:r>
              <a:rPr lang="en-US" noProof="0" dirty="0"/>
              <a:t>Big text,</a:t>
            </a:r>
            <a:br>
              <a:rPr lang="en-US" noProof="0" dirty="0"/>
            </a:br>
            <a:r>
              <a:rPr lang="en-US" noProof="0" dirty="0"/>
              <a:t>more than one line</a:t>
            </a:r>
          </a:p>
        </p:txBody>
      </p:sp>
      <p:sp>
        <p:nvSpPr>
          <p:cNvPr id="3" name="Platshållare för datum 2"/>
          <p:cNvSpPr>
            <a:spLocks noGrp="1"/>
          </p:cNvSpPr>
          <p:nvPr>
            <p:ph type="dt" sz="half" idx="10"/>
          </p:nvPr>
        </p:nvSpPr>
        <p:spPr/>
        <p:txBody>
          <a:bodyPr/>
          <a:lstStyle/>
          <a:p>
            <a:fld id="{08D99A7B-46E1-47C8-A786-9EBA21899043}" type="datetime1">
              <a:rPr lang="en-US" smtClean="0">
                <a:solidFill>
                  <a:srgbClr val="7F7F7F"/>
                </a:solidFill>
              </a:rPr>
              <a:pPr/>
              <a:t>9/10/2018</a:t>
            </a:fld>
            <a:endParaRPr lang="en-US" dirty="0">
              <a:solidFill>
                <a:srgbClr val="7F7F7F"/>
              </a:solidFill>
            </a:endParaRPr>
          </a:p>
        </p:txBody>
      </p:sp>
      <p:sp>
        <p:nvSpPr>
          <p:cNvPr id="4" name="Platshållare för sidfot 3"/>
          <p:cNvSpPr>
            <a:spLocks noGrp="1"/>
          </p:cNvSpPr>
          <p:nvPr>
            <p:ph type="ftr" sz="quarter" idx="11"/>
          </p:nvPr>
        </p:nvSpPr>
        <p:spPr/>
        <p:txBody>
          <a:bodyPr/>
          <a:lstStyle/>
          <a:p>
            <a:r>
              <a:rPr lang="en-US" dirty="0">
                <a:solidFill>
                  <a:srgbClr val="7F7F7F"/>
                </a:solidFill>
              </a:rPr>
              <a:t>SANDVIK: Title of presentation</a:t>
            </a:r>
          </a:p>
        </p:txBody>
      </p:sp>
      <p:sp>
        <p:nvSpPr>
          <p:cNvPr id="5" name="Platshållare för bildnummer 4"/>
          <p:cNvSpPr>
            <a:spLocks noGrp="1"/>
          </p:cNvSpPr>
          <p:nvPr>
            <p:ph type="sldNum" sz="quarter" idx="12"/>
          </p:nvPr>
        </p:nvSpPr>
        <p:spPr/>
        <p:txBody>
          <a:bodyPr/>
          <a:lstStyle/>
          <a:p>
            <a:fld id="{469B62F1-B431-48B6-8270-02431A1685B7}" type="slidenum">
              <a:rPr lang="en-US" smtClean="0">
                <a:solidFill>
                  <a:srgbClr val="7F7F7F"/>
                </a:solidFill>
              </a:rPr>
              <a:pPr/>
              <a:t>‹#›</a:t>
            </a:fld>
            <a:endParaRPr lang="en-US" dirty="0">
              <a:solidFill>
                <a:srgbClr val="7F7F7F"/>
              </a:solidFill>
            </a:endParaRPr>
          </a:p>
        </p:txBody>
      </p:sp>
      <p:sp>
        <p:nvSpPr>
          <p:cNvPr id="8" name="Picture Placeholder 7"/>
          <p:cNvSpPr>
            <a:spLocks noGrp="1"/>
          </p:cNvSpPr>
          <p:nvPr>
            <p:ph type="pic" sz="quarter" idx="13"/>
          </p:nvPr>
        </p:nvSpPr>
        <p:spPr>
          <a:xfrm>
            <a:off x="360000" y="414000"/>
            <a:ext cx="4122000" cy="3960000"/>
          </a:xfrm>
        </p:spPr>
        <p:txBody>
          <a:bodyPr/>
          <a:lstStyle>
            <a:lvl1pPr marL="0" indent="0">
              <a:buNone/>
              <a:defRPr/>
            </a:lvl1pPr>
          </a:lstStyle>
          <a:p>
            <a:r>
              <a:rPr lang="en-US"/>
              <a:t>Click icon to add picture</a:t>
            </a:r>
            <a:endParaRPr lang="sv-SE" dirty="0"/>
          </a:p>
        </p:txBody>
      </p:sp>
    </p:spTree>
    <p:extLst>
      <p:ext uri="{BB962C8B-B14F-4D97-AF65-F5344CB8AC3E}">
        <p14:creationId xmlns:p14="http://schemas.microsoft.com/office/powerpoint/2010/main" val="366042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Products">
    <p:spTree>
      <p:nvGrpSpPr>
        <p:cNvPr id="1" name=""/>
        <p:cNvGrpSpPr/>
        <p:nvPr/>
      </p:nvGrpSpPr>
      <p:grpSpPr>
        <a:xfrm>
          <a:off x="0" y="0"/>
          <a:ext cx="0" cy="0"/>
          <a:chOff x="0" y="0"/>
          <a:chExt cx="0" cy="0"/>
        </a:xfrm>
      </p:grpSpPr>
      <p:sp>
        <p:nvSpPr>
          <p:cNvPr id="2" name="Rubrik 1"/>
          <p:cNvSpPr>
            <a:spLocks noGrp="1"/>
          </p:cNvSpPr>
          <p:nvPr>
            <p:ph type="title" hasCustomPrompt="1"/>
          </p:nvPr>
        </p:nvSpPr>
        <p:spPr/>
        <p:txBody>
          <a:bodyPr/>
          <a:lstStyle>
            <a:lvl1pPr>
              <a:defRPr/>
            </a:lvl1pPr>
          </a:lstStyle>
          <a:p>
            <a:r>
              <a:rPr lang="en-US" noProof="0" dirty="0"/>
              <a:t>Headline one line</a:t>
            </a:r>
          </a:p>
        </p:txBody>
      </p:sp>
      <p:sp>
        <p:nvSpPr>
          <p:cNvPr id="3" name="Platshållare för datum 2"/>
          <p:cNvSpPr>
            <a:spLocks noGrp="1"/>
          </p:cNvSpPr>
          <p:nvPr>
            <p:ph type="dt" sz="half" idx="10"/>
          </p:nvPr>
        </p:nvSpPr>
        <p:spPr/>
        <p:txBody>
          <a:bodyPr/>
          <a:lstStyle/>
          <a:p>
            <a:fld id="{0A4A0772-5B87-4D79-A620-FF6D5565CE20}" type="datetime1">
              <a:rPr lang="en-US" smtClean="0">
                <a:solidFill>
                  <a:srgbClr val="7F7F7F"/>
                </a:solidFill>
              </a:rPr>
              <a:pPr/>
              <a:t>9/10/2018</a:t>
            </a:fld>
            <a:endParaRPr lang="en-US" dirty="0">
              <a:solidFill>
                <a:srgbClr val="7F7F7F"/>
              </a:solidFill>
            </a:endParaRPr>
          </a:p>
        </p:txBody>
      </p:sp>
      <p:sp>
        <p:nvSpPr>
          <p:cNvPr id="4" name="Platshållare för sidfot 3"/>
          <p:cNvSpPr>
            <a:spLocks noGrp="1"/>
          </p:cNvSpPr>
          <p:nvPr>
            <p:ph type="ftr" sz="quarter" idx="11"/>
          </p:nvPr>
        </p:nvSpPr>
        <p:spPr/>
        <p:txBody>
          <a:bodyPr/>
          <a:lstStyle/>
          <a:p>
            <a:r>
              <a:rPr lang="en-US" dirty="0">
                <a:solidFill>
                  <a:srgbClr val="7F7F7F"/>
                </a:solidFill>
              </a:rPr>
              <a:t>SANDVIK: Title of presentation</a:t>
            </a:r>
          </a:p>
        </p:txBody>
      </p:sp>
      <p:sp>
        <p:nvSpPr>
          <p:cNvPr id="5" name="Platshållare för bildnummer 4"/>
          <p:cNvSpPr>
            <a:spLocks noGrp="1"/>
          </p:cNvSpPr>
          <p:nvPr>
            <p:ph type="sldNum" sz="quarter" idx="12"/>
          </p:nvPr>
        </p:nvSpPr>
        <p:spPr/>
        <p:txBody>
          <a:bodyPr/>
          <a:lstStyle/>
          <a:p>
            <a:fld id="{469B62F1-B431-48B6-8270-02431A1685B7}" type="slidenum">
              <a:rPr lang="en-US" smtClean="0">
                <a:solidFill>
                  <a:srgbClr val="7F7F7F"/>
                </a:solidFill>
              </a:rPr>
              <a:pPr/>
              <a:t>‹#›</a:t>
            </a:fld>
            <a:endParaRPr lang="en-US" dirty="0">
              <a:solidFill>
                <a:srgbClr val="7F7F7F"/>
              </a:solidFill>
            </a:endParaRPr>
          </a:p>
        </p:txBody>
      </p:sp>
      <p:sp>
        <p:nvSpPr>
          <p:cNvPr id="8" name="Platshållare för bild 7"/>
          <p:cNvSpPr>
            <a:spLocks noGrp="1"/>
          </p:cNvSpPr>
          <p:nvPr>
            <p:ph type="pic" sz="quarter" idx="13"/>
          </p:nvPr>
        </p:nvSpPr>
        <p:spPr>
          <a:xfrm>
            <a:off x="360000" y="1134000"/>
            <a:ext cx="1972800" cy="1530000"/>
          </a:xfrm>
        </p:spPr>
        <p:txBody>
          <a:bodyPr/>
          <a:lstStyle/>
          <a:p>
            <a:r>
              <a:rPr lang="en-US"/>
              <a:t>Click icon to add picture</a:t>
            </a:r>
            <a:endParaRPr lang="sv-SE" dirty="0"/>
          </a:p>
        </p:txBody>
      </p:sp>
      <p:sp>
        <p:nvSpPr>
          <p:cNvPr id="10" name="Platshållare för bild 7"/>
          <p:cNvSpPr>
            <a:spLocks noGrp="1"/>
          </p:cNvSpPr>
          <p:nvPr>
            <p:ph type="pic" sz="quarter" idx="14"/>
          </p:nvPr>
        </p:nvSpPr>
        <p:spPr>
          <a:xfrm>
            <a:off x="2512800" y="1134000"/>
            <a:ext cx="1972800" cy="1530000"/>
          </a:xfrm>
        </p:spPr>
        <p:txBody>
          <a:bodyPr/>
          <a:lstStyle/>
          <a:p>
            <a:r>
              <a:rPr lang="en-US"/>
              <a:t>Click icon to add picture</a:t>
            </a:r>
            <a:endParaRPr lang="sv-SE" dirty="0"/>
          </a:p>
        </p:txBody>
      </p:sp>
      <p:sp>
        <p:nvSpPr>
          <p:cNvPr id="11" name="Platshållare för bild 7"/>
          <p:cNvSpPr>
            <a:spLocks noGrp="1"/>
          </p:cNvSpPr>
          <p:nvPr>
            <p:ph type="pic" sz="quarter" idx="15"/>
          </p:nvPr>
        </p:nvSpPr>
        <p:spPr>
          <a:xfrm>
            <a:off x="4662000" y="1134000"/>
            <a:ext cx="1972800" cy="1530000"/>
          </a:xfrm>
        </p:spPr>
        <p:txBody>
          <a:bodyPr/>
          <a:lstStyle/>
          <a:p>
            <a:r>
              <a:rPr lang="en-US"/>
              <a:t>Click icon to add picture</a:t>
            </a:r>
            <a:endParaRPr lang="sv-SE" dirty="0"/>
          </a:p>
        </p:txBody>
      </p:sp>
      <p:sp>
        <p:nvSpPr>
          <p:cNvPr id="12" name="Platshållare för bild 7"/>
          <p:cNvSpPr>
            <a:spLocks noGrp="1"/>
          </p:cNvSpPr>
          <p:nvPr>
            <p:ph type="pic" sz="quarter" idx="16"/>
          </p:nvPr>
        </p:nvSpPr>
        <p:spPr>
          <a:xfrm>
            <a:off x="6814800" y="1134000"/>
            <a:ext cx="1972800" cy="1530000"/>
          </a:xfrm>
        </p:spPr>
        <p:txBody>
          <a:bodyPr/>
          <a:lstStyle/>
          <a:p>
            <a:r>
              <a:rPr lang="en-US"/>
              <a:t>Click icon to add picture</a:t>
            </a:r>
            <a:endParaRPr lang="sv-SE" dirty="0"/>
          </a:p>
        </p:txBody>
      </p:sp>
      <p:sp>
        <p:nvSpPr>
          <p:cNvPr id="15" name="Platshållare för innehåll 14"/>
          <p:cNvSpPr>
            <a:spLocks noGrp="1"/>
          </p:cNvSpPr>
          <p:nvPr>
            <p:ph sz="quarter" idx="17"/>
          </p:nvPr>
        </p:nvSpPr>
        <p:spPr>
          <a:xfrm>
            <a:off x="360000" y="2844000"/>
            <a:ext cx="1972800" cy="1530000"/>
          </a:xfrm>
        </p:spPr>
        <p:txBody>
          <a:bodyPr/>
          <a:lstStyle>
            <a:lvl1pPr marL="0" indent="0">
              <a:buNone/>
              <a:defRPr/>
            </a:lvl1pPr>
          </a:lstStyle>
          <a:p>
            <a:pPr lvl="0"/>
            <a:r>
              <a:rPr lang="en-US"/>
              <a:t>Click to edit Master text styles</a:t>
            </a:r>
          </a:p>
        </p:txBody>
      </p:sp>
      <p:sp>
        <p:nvSpPr>
          <p:cNvPr id="16" name="Platshållare för innehåll 14"/>
          <p:cNvSpPr>
            <a:spLocks noGrp="1"/>
          </p:cNvSpPr>
          <p:nvPr>
            <p:ph sz="quarter" idx="18"/>
          </p:nvPr>
        </p:nvSpPr>
        <p:spPr>
          <a:xfrm>
            <a:off x="2512800" y="2844000"/>
            <a:ext cx="1972800" cy="1530000"/>
          </a:xfrm>
        </p:spPr>
        <p:txBody>
          <a:bodyPr/>
          <a:lstStyle>
            <a:lvl1pPr marL="0" indent="0">
              <a:buNone/>
              <a:defRPr/>
            </a:lvl1pPr>
          </a:lstStyle>
          <a:p>
            <a:pPr lvl="0"/>
            <a:r>
              <a:rPr lang="en-US"/>
              <a:t>Click to edit Master text styles</a:t>
            </a:r>
          </a:p>
        </p:txBody>
      </p:sp>
      <p:sp>
        <p:nvSpPr>
          <p:cNvPr id="17" name="Platshållare för innehåll 14"/>
          <p:cNvSpPr>
            <a:spLocks noGrp="1"/>
          </p:cNvSpPr>
          <p:nvPr>
            <p:ph sz="quarter" idx="19"/>
          </p:nvPr>
        </p:nvSpPr>
        <p:spPr>
          <a:xfrm>
            <a:off x="4662000" y="2843323"/>
            <a:ext cx="1972800" cy="1530000"/>
          </a:xfrm>
        </p:spPr>
        <p:txBody>
          <a:bodyPr/>
          <a:lstStyle>
            <a:lvl1pPr marL="0" indent="0">
              <a:buNone/>
              <a:defRPr/>
            </a:lvl1pPr>
          </a:lstStyle>
          <a:p>
            <a:pPr lvl="0"/>
            <a:r>
              <a:rPr lang="en-US"/>
              <a:t>Click to edit Master text styles</a:t>
            </a:r>
          </a:p>
        </p:txBody>
      </p:sp>
      <p:sp>
        <p:nvSpPr>
          <p:cNvPr id="18" name="Platshållare för innehåll 14"/>
          <p:cNvSpPr>
            <a:spLocks noGrp="1"/>
          </p:cNvSpPr>
          <p:nvPr>
            <p:ph sz="quarter" idx="20"/>
          </p:nvPr>
        </p:nvSpPr>
        <p:spPr>
          <a:xfrm>
            <a:off x="6811200" y="2844000"/>
            <a:ext cx="1972800" cy="1530000"/>
          </a:xfrm>
        </p:spPr>
        <p:txBody>
          <a:bodyPr/>
          <a:lstStyle>
            <a:lvl1pPr marL="0" indent="0">
              <a:buNone/>
              <a:defRPr/>
            </a:lvl1pPr>
          </a:lstStyle>
          <a:p>
            <a:pPr lvl="0"/>
            <a:r>
              <a:rPr lang="en-US"/>
              <a:t>Click to edit Master text styles</a:t>
            </a:r>
          </a:p>
        </p:txBody>
      </p:sp>
    </p:spTree>
    <p:extLst>
      <p:ext uri="{BB962C8B-B14F-4D97-AF65-F5344CB8AC3E}">
        <p14:creationId xmlns:p14="http://schemas.microsoft.com/office/powerpoint/2010/main" val="28777898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One picture, full page">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0E029705-A0B0-4427-9847-B55AE497C576}" type="datetime1">
              <a:rPr lang="en-US" smtClean="0">
                <a:solidFill>
                  <a:srgbClr val="7F7F7F"/>
                </a:solidFill>
              </a:rPr>
              <a:pPr/>
              <a:t>9/10/2018</a:t>
            </a:fld>
            <a:endParaRPr lang="en-US" dirty="0">
              <a:solidFill>
                <a:srgbClr val="7F7F7F"/>
              </a:solidFill>
            </a:endParaRPr>
          </a:p>
        </p:txBody>
      </p:sp>
      <p:sp>
        <p:nvSpPr>
          <p:cNvPr id="3" name="Platshållare för sidfot 2"/>
          <p:cNvSpPr>
            <a:spLocks noGrp="1"/>
          </p:cNvSpPr>
          <p:nvPr>
            <p:ph type="ftr" sz="quarter" idx="11"/>
          </p:nvPr>
        </p:nvSpPr>
        <p:spPr/>
        <p:txBody>
          <a:bodyPr/>
          <a:lstStyle/>
          <a:p>
            <a:r>
              <a:rPr lang="en-US" dirty="0">
                <a:solidFill>
                  <a:srgbClr val="7F7F7F"/>
                </a:solidFill>
              </a:rPr>
              <a:t>SANDVIK: Title of presentation</a:t>
            </a:r>
          </a:p>
        </p:txBody>
      </p:sp>
      <p:sp>
        <p:nvSpPr>
          <p:cNvPr id="4" name="Platshållare för bildnummer 3"/>
          <p:cNvSpPr>
            <a:spLocks noGrp="1"/>
          </p:cNvSpPr>
          <p:nvPr>
            <p:ph type="sldNum" sz="quarter" idx="12"/>
          </p:nvPr>
        </p:nvSpPr>
        <p:spPr/>
        <p:txBody>
          <a:bodyPr/>
          <a:lstStyle/>
          <a:p>
            <a:fld id="{469B62F1-B431-48B6-8270-02431A1685B7}" type="slidenum">
              <a:rPr lang="en-US" smtClean="0">
                <a:solidFill>
                  <a:srgbClr val="7F7F7F"/>
                </a:solidFill>
              </a:rPr>
              <a:pPr/>
              <a:t>‹#›</a:t>
            </a:fld>
            <a:endParaRPr lang="en-US" dirty="0">
              <a:solidFill>
                <a:srgbClr val="7F7F7F"/>
              </a:solidFill>
            </a:endParaRPr>
          </a:p>
        </p:txBody>
      </p:sp>
      <p:sp>
        <p:nvSpPr>
          <p:cNvPr id="6" name="Picture Placeholder 5"/>
          <p:cNvSpPr>
            <a:spLocks noGrp="1"/>
          </p:cNvSpPr>
          <p:nvPr>
            <p:ph type="pic" sz="quarter" idx="13"/>
          </p:nvPr>
        </p:nvSpPr>
        <p:spPr>
          <a:xfrm>
            <a:off x="0" y="0"/>
            <a:ext cx="9144000" cy="5143500"/>
          </a:xfrm>
        </p:spPr>
        <p:txBody>
          <a:bodyPr/>
          <a:lstStyle>
            <a:lvl1pPr marL="0" indent="0">
              <a:buNone/>
              <a:defRPr/>
            </a:lvl1pPr>
          </a:lstStyle>
          <a:p>
            <a:r>
              <a:rPr lang="en-US"/>
              <a:t>Click icon to add picture</a:t>
            </a:r>
            <a:endParaRPr lang="en-US" dirty="0"/>
          </a:p>
        </p:txBody>
      </p:sp>
    </p:spTree>
    <p:extLst>
      <p:ext uri="{BB962C8B-B14F-4D97-AF65-F5344CB8AC3E}">
        <p14:creationId xmlns:p14="http://schemas.microsoft.com/office/powerpoint/2010/main" val="1143177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Two pictures, full page">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1F9EDA30-98D3-4788-AE75-D4AE7139764B}" type="datetime1">
              <a:rPr lang="en-US" smtClean="0">
                <a:solidFill>
                  <a:srgbClr val="7F7F7F"/>
                </a:solidFill>
              </a:rPr>
              <a:pPr/>
              <a:t>9/10/2018</a:t>
            </a:fld>
            <a:endParaRPr lang="en-US" dirty="0">
              <a:solidFill>
                <a:srgbClr val="7F7F7F"/>
              </a:solidFill>
            </a:endParaRPr>
          </a:p>
        </p:txBody>
      </p:sp>
      <p:sp>
        <p:nvSpPr>
          <p:cNvPr id="3" name="Platshållare för sidfot 2"/>
          <p:cNvSpPr>
            <a:spLocks noGrp="1"/>
          </p:cNvSpPr>
          <p:nvPr>
            <p:ph type="ftr" sz="quarter" idx="11"/>
          </p:nvPr>
        </p:nvSpPr>
        <p:spPr/>
        <p:txBody>
          <a:bodyPr/>
          <a:lstStyle/>
          <a:p>
            <a:r>
              <a:rPr lang="en-US" dirty="0">
                <a:solidFill>
                  <a:srgbClr val="7F7F7F"/>
                </a:solidFill>
              </a:rPr>
              <a:t>SANDVIK: Title of presentation</a:t>
            </a:r>
          </a:p>
        </p:txBody>
      </p:sp>
      <p:sp>
        <p:nvSpPr>
          <p:cNvPr id="4" name="Platshållare för bildnummer 3"/>
          <p:cNvSpPr>
            <a:spLocks noGrp="1"/>
          </p:cNvSpPr>
          <p:nvPr>
            <p:ph type="sldNum" sz="quarter" idx="12"/>
          </p:nvPr>
        </p:nvSpPr>
        <p:spPr/>
        <p:txBody>
          <a:bodyPr/>
          <a:lstStyle/>
          <a:p>
            <a:fld id="{469B62F1-B431-48B6-8270-02431A1685B7}" type="slidenum">
              <a:rPr lang="en-US" smtClean="0">
                <a:solidFill>
                  <a:srgbClr val="7F7F7F"/>
                </a:solidFill>
              </a:rPr>
              <a:pPr/>
              <a:t>‹#›</a:t>
            </a:fld>
            <a:endParaRPr lang="en-US" dirty="0">
              <a:solidFill>
                <a:srgbClr val="7F7F7F"/>
              </a:solidFill>
            </a:endParaRPr>
          </a:p>
        </p:txBody>
      </p:sp>
      <p:sp>
        <p:nvSpPr>
          <p:cNvPr id="6" name="Picture Placeholder 5"/>
          <p:cNvSpPr>
            <a:spLocks noGrp="1"/>
          </p:cNvSpPr>
          <p:nvPr>
            <p:ph type="pic" sz="quarter" idx="13"/>
          </p:nvPr>
        </p:nvSpPr>
        <p:spPr>
          <a:xfrm>
            <a:off x="-1" y="0"/>
            <a:ext cx="4562475" cy="5143500"/>
          </a:xfrm>
        </p:spPr>
        <p:txBody>
          <a:bodyPr/>
          <a:lstStyle/>
          <a:p>
            <a:r>
              <a:rPr lang="en-US"/>
              <a:t>Click icon to add picture</a:t>
            </a:r>
            <a:endParaRPr lang="sv-SE" dirty="0"/>
          </a:p>
        </p:txBody>
      </p:sp>
      <p:sp>
        <p:nvSpPr>
          <p:cNvPr id="8" name="Picture Placeholder 7"/>
          <p:cNvSpPr>
            <a:spLocks noGrp="1"/>
          </p:cNvSpPr>
          <p:nvPr>
            <p:ph type="pic" sz="quarter" idx="14"/>
          </p:nvPr>
        </p:nvSpPr>
        <p:spPr>
          <a:xfrm>
            <a:off x="4562475" y="0"/>
            <a:ext cx="4581526" cy="5143500"/>
          </a:xfrm>
        </p:spPr>
        <p:txBody>
          <a:bodyPr/>
          <a:lstStyle/>
          <a:p>
            <a:r>
              <a:rPr lang="en-US"/>
              <a:t>Click icon to add picture</a:t>
            </a:r>
            <a:endParaRPr lang="sv-SE" dirty="0"/>
          </a:p>
        </p:txBody>
      </p:sp>
    </p:spTree>
    <p:extLst>
      <p:ext uri="{BB962C8B-B14F-4D97-AF65-F5344CB8AC3E}">
        <p14:creationId xmlns:p14="http://schemas.microsoft.com/office/powerpoint/2010/main" val="1301364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image" Target="../media/image16.wmf"/><Relationship Id="rId3" Type="http://schemas.openxmlformats.org/officeDocument/2006/relationships/slideLayout" Target="../slideLayouts/slideLayout33.xml"/><Relationship Id="rId7" Type="http://schemas.openxmlformats.org/officeDocument/2006/relationships/slideLayout" Target="../slideLayouts/slideLayout37.xml"/><Relationship Id="rId12" Type="http://schemas.openxmlformats.org/officeDocument/2006/relationships/theme" Target="../theme/theme2.xml"/><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5" Type="http://schemas.openxmlformats.org/officeDocument/2006/relationships/slideLayout" Target="../slideLayouts/slideLayout35.xml"/><Relationship Id="rId10" Type="http://schemas.openxmlformats.org/officeDocument/2006/relationships/slideLayout" Target="../slideLayouts/slideLayout40.xml"/><Relationship Id="rId4" Type="http://schemas.openxmlformats.org/officeDocument/2006/relationships/slideLayout" Target="../slideLayouts/slideLayout34.xml"/><Relationship Id="rId9" Type="http://schemas.openxmlformats.org/officeDocument/2006/relationships/slideLayout" Target="../slideLayouts/slideLayout3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image" Target="../media/image16.wmf"/><Relationship Id="rId3" Type="http://schemas.openxmlformats.org/officeDocument/2006/relationships/slideLayout" Target="../slideLayouts/slideLayout44.xml"/><Relationship Id="rId7" Type="http://schemas.openxmlformats.org/officeDocument/2006/relationships/slideLayout" Target="../slideLayouts/slideLayout48.xml"/><Relationship Id="rId12" Type="http://schemas.openxmlformats.org/officeDocument/2006/relationships/theme" Target="../theme/theme3.xml"/><Relationship Id="rId2" Type="http://schemas.openxmlformats.org/officeDocument/2006/relationships/slideLayout" Target="../slideLayouts/slideLayout43.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0" Type="http://schemas.openxmlformats.org/officeDocument/2006/relationships/slideLayout" Target="../slideLayouts/slideLayout51.xml"/><Relationship Id="rId4" Type="http://schemas.openxmlformats.org/officeDocument/2006/relationships/slideLayout" Target="../slideLayouts/slideLayout45.xml"/><Relationship Id="rId9" Type="http://schemas.openxmlformats.org/officeDocument/2006/relationships/slideLayout" Target="../slideLayouts/slideLayout5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image" Target="../media/image17.wmf"/><Relationship Id="rId3" Type="http://schemas.openxmlformats.org/officeDocument/2006/relationships/slideLayout" Target="../slideLayouts/slideLayout55.xml"/><Relationship Id="rId7" Type="http://schemas.openxmlformats.org/officeDocument/2006/relationships/slideLayout" Target="../slideLayouts/slideLayout59.xml"/><Relationship Id="rId12" Type="http://schemas.openxmlformats.org/officeDocument/2006/relationships/theme" Target="../theme/theme4.xml"/><Relationship Id="rId2" Type="http://schemas.openxmlformats.org/officeDocument/2006/relationships/slideLayout" Target="../slideLayouts/slideLayout54.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5" Type="http://schemas.openxmlformats.org/officeDocument/2006/relationships/slideLayout" Target="../slideLayouts/slideLayout57.xml"/><Relationship Id="rId10" Type="http://schemas.openxmlformats.org/officeDocument/2006/relationships/slideLayout" Target="../slideLayouts/slideLayout62.xml"/><Relationship Id="rId4" Type="http://schemas.openxmlformats.org/officeDocument/2006/relationships/slideLayout" Target="../slideLayouts/slideLayout56.xml"/><Relationship Id="rId9" Type="http://schemas.openxmlformats.org/officeDocument/2006/relationships/slideLayout" Target="../slideLayouts/slideLayout6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1.xml"/><Relationship Id="rId13" Type="http://schemas.openxmlformats.org/officeDocument/2006/relationships/slideLayout" Target="../slideLayouts/slideLayout76.xml"/><Relationship Id="rId18" Type="http://schemas.openxmlformats.org/officeDocument/2006/relationships/slideLayout" Target="../slideLayouts/slideLayout81.xml"/><Relationship Id="rId26" Type="http://schemas.openxmlformats.org/officeDocument/2006/relationships/slideLayout" Target="../slideLayouts/slideLayout89.xml"/><Relationship Id="rId3" Type="http://schemas.openxmlformats.org/officeDocument/2006/relationships/slideLayout" Target="../slideLayouts/slideLayout66.xml"/><Relationship Id="rId21" Type="http://schemas.openxmlformats.org/officeDocument/2006/relationships/slideLayout" Target="../slideLayouts/slideLayout84.xml"/><Relationship Id="rId7" Type="http://schemas.openxmlformats.org/officeDocument/2006/relationships/slideLayout" Target="../slideLayouts/slideLayout70.xml"/><Relationship Id="rId12" Type="http://schemas.openxmlformats.org/officeDocument/2006/relationships/slideLayout" Target="../slideLayouts/slideLayout75.xml"/><Relationship Id="rId17" Type="http://schemas.openxmlformats.org/officeDocument/2006/relationships/slideLayout" Target="../slideLayouts/slideLayout80.xml"/><Relationship Id="rId25" Type="http://schemas.openxmlformats.org/officeDocument/2006/relationships/slideLayout" Target="../slideLayouts/slideLayout88.xml"/><Relationship Id="rId2" Type="http://schemas.openxmlformats.org/officeDocument/2006/relationships/slideLayout" Target="../slideLayouts/slideLayout65.xml"/><Relationship Id="rId16" Type="http://schemas.openxmlformats.org/officeDocument/2006/relationships/slideLayout" Target="../slideLayouts/slideLayout79.xml"/><Relationship Id="rId20" Type="http://schemas.openxmlformats.org/officeDocument/2006/relationships/slideLayout" Target="../slideLayouts/slideLayout83.xml"/><Relationship Id="rId29" Type="http://schemas.openxmlformats.org/officeDocument/2006/relationships/slideLayout" Target="../slideLayouts/slideLayout92.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slideLayout" Target="../slideLayouts/slideLayout74.xml"/><Relationship Id="rId24" Type="http://schemas.openxmlformats.org/officeDocument/2006/relationships/slideLayout" Target="../slideLayouts/slideLayout87.xml"/><Relationship Id="rId32" Type="http://schemas.openxmlformats.org/officeDocument/2006/relationships/image" Target="../media/image1.png"/><Relationship Id="rId5" Type="http://schemas.openxmlformats.org/officeDocument/2006/relationships/slideLayout" Target="../slideLayouts/slideLayout68.xml"/><Relationship Id="rId15" Type="http://schemas.openxmlformats.org/officeDocument/2006/relationships/slideLayout" Target="../slideLayouts/slideLayout78.xml"/><Relationship Id="rId23" Type="http://schemas.openxmlformats.org/officeDocument/2006/relationships/slideLayout" Target="../slideLayouts/slideLayout86.xml"/><Relationship Id="rId28" Type="http://schemas.openxmlformats.org/officeDocument/2006/relationships/slideLayout" Target="../slideLayouts/slideLayout91.xml"/><Relationship Id="rId10" Type="http://schemas.openxmlformats.org/officeDocument/2006/relationships/slideLayout" Target="../slideLayouts/slideLayout73.xml"/><Relationship Id="rId19" Type="http://schemas.openxmlformats.org/officeDocument/2006/relationships/slideLayout" Target="../slideLayouts/slideLayout82.xml"/><Relationship Id="rId31" Type="http://schemas.openxmlformats.org/officeDocument/2006/relationships/theme" Target="../theme/theme5.xml"/><Relationship Id="rId4" Type="http://schemas.openxmlformats.org/officeDocument/2006/relationships/slideLayout" Target="../slideLayouts/slideLayout67.xml"/><Relationship Id="rId9" Type="http://schemas.openxmlformats.org/officeDocument/2006/relationships/slideLayout" Target="../slideLayouts/slideLayout72.xml"/><Relationship Id="rId14" Type="http://schemas.openxmlformats.org/officeDocument/2006/relationships/slideLayout" Target="../slideLayouts/slideLayout77.xml"/><Relationship Id="rId22" Type="http://schemas.openxmlformats.org/officeDocument/2006/relationships/slideLayout" Target="../slideLayouts/slideLayout85.xml"/><Relationship Id="rId27" Type="http://schemas.openxmlformats.org/officeDocument/2006/relationships/slideLayout" Target="../slideLayouts/slideLayout90.xml"/><Relationship Id="rId30" Type="http://schemas.openxmlformats.org/officeDocument/2006/relationships/slideLayout" Target="../slideLayouts/slideLayout9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360000" y="414000"/>
            <a:ext cx="8424000" cy="360000"/>
          </a:xfrm>
          <a:prstGeom prst="rect">
            <a:avLst/>
          </a:prstGeom>
        </p:spPr>
        <p:txBody>
          <a:bodyPr vert="horz" lIns="0" tIns="0" rIns="0" bIns="0" rtlCol="0" anchor="t">
            <a:noAutofit/>
          </a:bodyPr>
          <a:lstStyle/>
          <a:p>
            <a:r>
              <a:rPr lang="en-US" noProof="0" dirty="0" err="1"/>
              <a:t>Klicka</a:t>
            </a:r>
            <a:r>
              <a:rPr lang="en-US" noProof="0" dirty="0"/>
              <a:t> </a:t>
            </a:r>
            <a:r>
              <a:rPr lang="en-US" noProof="0" dirty="0" err="1"/>
              <a:t>här</a:t>
            </a:r>
            <a:r>
              <a:rPr lang="en-US" noProof="0" dirty="0"/>
              <a:t> </a:t>
            </a:r>
            <a:r>
              <a:rPr lang="en-US" noProof="0" dirty="0" err="1"/>
              <a:t>för</a:t>
            </a:r>
            <a:r>
              <a:rPr lang="en-US" noProof="0" dirty="0"/>
              <a:t> </a:t>
            </a:r>
            <a:r>
              <a:rPr lang="en-US" noProof="0" dirty="0" err="1"/>
              <a:t>att</a:t>
            </a:r>
            <a:r>
              <a:rPr lang="en-US" noProof="0" dirty="0"/>
              <a:t> </a:t>
            </a:r>
            <a:r>
              <a:rPr lang="en-US" noProof="0" dirty="0" err="1"/>
              <a:t>ändra</a:t>
            </a:r>
            <a:r>
              <a:rPr lang="en-US" noProof="0" dirty="0"/>
              <a:t> format</a:t>
            </a:r>
          </a:p>
        </p:txBody>
      </p:sp>
      <p:sp>
        <p:nvSpPr>
          <p:cNvPr id="3" name="Platshållare för text 2"/>
          <p:cNvSpPr>
            <a:spLocks noGrp="1"/>
          </p:cNvSpPr>
          <p:nvPr>
            <p:ph type="body" idx="1"/>
          </p:nvPr>
        </p:nvSpPr>
        <p:spPr>
          <a:xfrm>
            <a:off x="360000" y="1134000"/>
            <a:ext cx="8424000" cy="3240000"/>
          </a:xfrm>
          <a:prstGeom prst="rect">
            <a:avLst/>
          </a:prstGeom>
        </p:spPr>
        <p:txBody>
          <a:bodyPr vert="horz" lIns="0" tIns="0" rIns="0" bIns="0" rtlCol="0">
            <a:noAutofit/>
          </a:bodyPr>
          <a:lstStyle/>
          <a:p>
            <a:pPr lvl="0"/>
            <a:r>
              <a:rPr lang="en-US" noProof="0" dirty="0" err="1"/>
              <a:t>Klicka</a:t>
            </a:r>
            <a:r>
              <a:rPr lang="en-US" noProof="0" dirty="0"/>
              <a:t> </a:t>
            </a:r>
            <a:r>
              <a:rPr lang="en-US" noProof="0" dirty="0" err="1"/>
              <a:t>här</a:t>
            </a:r>
            <a:r>
              <a:rPr lang="en-US" noProof="0" dirty="0"/>
              <a:t> </a:t>
            </a:r>
            <a:r>
              <a:rPr lang="en-US" noProof="0" dirty="0" err="1"/>
              <a:t>för</a:t>
            </a:r>
            <a:r>
              <a:rPr lang="en-US" noProof="0" dirty="0"/>
              <a:t> </a:t>
            </a:r>
            <a:r>
              <a:rPr lang="en-US" noProof="0" dirty="0" err="1"/>
              <a:t>att</a:t>
            </a:r>
            <a:r>
              <a:rPr lang="en-US" noProof="0" dirty="0"/>
              <a:t> </a:t>
            </a:r>
            <a:r>
              <a:rPr lang="en-US" noProof="0" dirty="0" err="1"/>
              <a:t>ändra</a:t>
            </a:r>
            <a:r>
              <a:rPr lang="en-US" noProof="0" dirty="0"/>
              <a:t> format </a:t>
            </a:r>
            <a:r>
              <a:rPr lang="en-US" noProof="0" dirty="0" err="1"/>
              <a:t>på</a:t>
            </a:r>
            <a:r>
              <a:rPr lang="en-US" noProof="0" dirty="0"/>
              <a:t> </a:t>
            </a:r>
            <a:r>
              <a:rPr lang="en-US" noProof="0" dirty="0" err="1"/>
              <a:t>bakgrundstexten</a:t>
            </a:r>
            <a:endParaRPr lang="en-US" noProof="0" dirty="0"/>
          </a:p>
          <a:p>
            <a:pPr lvl="1"/>
            <a:r>
              <a:rPr lang="en-US" noProof="0" dirty="0" err="1"/>
              <a:t>Nivå</a:t>
            </a:r>
            <a:r>
              <a:rPr lang="en-US" noProof="0" dirty="0"/>
              <a:t> </a:t>
            </a:r>
            <a:r>
              <a:rPr lang="en-US" noProof="0" dirty="0" err="1"/>
              <a:t>två</a:t>
            </a:r>
            <a:endParaRPr lang="en-US" noProof="0" dirty="0"/>
          </a:p>
          <a:p>
            <a:pPr lvl="2"/>
            <a:r>
              <a:rPr lang="en-US" noProof="0" dirty="0" err="1"/>
              <a:t>Nivå</a:t>
            </a:r>
            <a:r>
              <a:rPr lang="en-US" noProof="0" dirty="0"/>
              <a:t> </a:t>
            </a:r>
            <a:r>
              <a:rPr lang="en-US" noProof="0" dirty="0" err="1"/>
              <a:t>tre</a:t>
            </a:r>
            <a:endParaRPr lang="en-US" noProof="0" dirty="0"/>
          </a:p>
          <a:p>
            <a:pPr lvl="3"/>
            <a:r>
              <a:rPr lang="en-US" noProof="0" dirty="0" err="1"/>
              <a:t>Nivå</a:t>
            </a:r>
            <a:r>
              <a:rPr lang="en-US" noProof="0" dirty="0"/>
              <a:t> </a:t>
            </a:r>
            <a:r>
              <a:rPr lang="en-US" noProof="0" dirty="0" err="1"/>
              <a:t>fyra</a:t>
            </a:r>
            <a:endParaRPr lang="en-US" noProof="0" dirty="0"/>
          </a:p>
          <a:p>
            <a:pPr lvl="4"/>
            <a:r>
              <a:rPr lang="en-US" noProof="0" dirty="0" err="1"/>
              <a:t>Nivå</a:t>
            </a:r>
            <a:r>
              <a:rPr lang="en-US" noProof="0" dirty="0"/>
              <a:t> fem</a:t>
            </a:r>
          </a:p>
        </p:txBody>
      </p:sp>
      <p:sp>
        <p:nvSpPr>
          <p:cNvPr id="4" name="Platshållare för datum 3"/>
          <p:cNvSpPr>
            <a:spLocks noGrp="1"/>
          </p:cNvSpPr>
          <p:nvPr>
            <p:ph type="dt" sz="half" idx="2"/>
          </p:nvPr>
        </p:nvSpPr>
        <p:spPr>
          <a:xfrm>
            <a:off x="6891372" y="4674791"/>
            <a:ext cx="900000" cy="180000"/>
          </a:xfrm>
          <a:prstGeom prst="rect">
            <a:avLst/>
          </a:prstGeom>
        </p:spPr>
        <p:txBody>
          <a:bodyPr vert="horz" lIns="0" tIns="0" rIns="0" bIns="0" rtlCol="0" anchor="b" anchorCtr="0"/>
          <a:lstStyle>
            <a:lvl1pPr algn="ctr">
              <a:defRPr sz="700">
                <a:solidFill>
                  <a:schemeClr val="bg2"/>
                </a:solidFill>
              </a:defRPr>
            </a:lvl1pPr>
          </a:lstStyle>
          <a:p>
            <a:fld id="{519B61F5-90DB-401B-A64C-D2E08EE0A242}" type="datetime1">
              <a:rPr lang="en-US" smtClean="0"/>
              <a:pPr/>
              <a:t>9/10/2018</a:t>
            </a:fld>
            <a:endParaRPr lang="en-US" dirty="0"/>
          </a:p>
        </p:txBody>
      </p:sp>
      <p:sp>
        <p:nvSpPr>
          <p:cNvPr id="5" name="Platshållare för sidfot 4"/>
          <p:cNvSpPr>
            <a:spLocks noGrp="1"/>
          </p:cNvSpPr>
          <p:nvPr>
            <p:ph type="ftr" sz="quarter" idx="3"/>
          </p:nvPr>
        </p:nvSpPr>
        <p:spPr>
          <a:xfrm>
            <a:off x="3123613" y="4680104"/>
            <a:ext cx="2895600" cy="180000"/>
          </a:xfrm>
          <a:prstGeom prst="rect">
            <a:avLst/>
          </a:prstGeom>
        </p:spPr>
        <p:txBody>
          <a:bodyPr vert="horz" lIns="0" tIns="0" rIns="0" bIns="0" rtlCol="0" anchor="b" anchorCtr="0"/>
          <a:lstStyle>
            <a:lvl1pPr algn="ctr">
              <a:defRPr sz="700">
                <a:solidFill>
                  <a:schemeClr val="bg2"/>
                </a:solidFill>
              </a:defRPr>
            </a:lvl1pPr>
          </a:lstStyle>
          <a:p>
            <a:r>
              <a:rPr lang="en-US" dirty="0"/>
              <a:t>SANDVIK: Title of presentation</a:t>
            </a:r>
          </a:p>
        </p:txBody>
      </p:sp>
      <p:sp>
        <p:nvSpPr>
          <p:cNvPr id="6" name="Platshållare för bildnummer 5"/>
          <p:cNvSpPr>
            <a:spLocks noGrp="1"/>
          </p:cNvSpPr>
          <p:nvPr>
            <p:ph type="sldNum" sz="quarter" idx="4"/>
          </p:nvPr>
        </p:nvSpPr>
        <p:spPr>
          <a:xfrm>
            <a:off x="354946" y="4679655"/>
            <a:ext cx="1440000" cy="180000"/>
          </a:xfrm>
          <a:prstGeom prst="rect">
            <a:avLst/>
          </a:prstGeom>
        </p:spPr>
        <p:txBody>
          <a:bodyPr vert="horz" lIns="0" tIns="0" rIns="0" bIns="0" rtlCol="0" anchor="b" anchorCtr="0"/>
          <a:lstStyle>
            <a:lvl1pPr algn="l">
              <a:defRPr sz="700">
                <a:solidFill>
                  <a:schemeClr val="bg2"/>
                </a:solidFill>
              </a:defRPr>
            </a:lvl1pPr>
          </a:lstStyle>
          <a:p>
            <a:fld id="{469B62F1-B431-48B6-8270-02431A1685B7}" type="slidenum">
              <a:rPr lang="en-US" smtClean="0"/>
              <a:pPr/>
              <a:t>‹#›</a:t>
            </a:fld>
            <a:endParaRPr lang="en-US" dirty="0"/>
          </a:p>
        </p:txBody>
      </p:sp>
      <p:pic>
        <p:nvPicPr>
          <p:cNvPr id="13" name="Bildobjekt 12" descr="SAV_Logo_cyan_RGB300.png"/>
          <p:cNvPicPr>
            <a:picLocks noChangeAspect="1"/>
          </p:cNvPicPr>
          <p:nvPr/>
        </p:nvPicPr>
        <p:blipFill>
          <a:blip r:embed="rId32" cstate="screen">
            <a:extLst>
              <a:ext uri="{28A0092B-C50C-407E-A947-70E740481C1C}">
                <a14:useLocalDpi xmlns:a14="http://schemas.microsoft.com/office/drawing/2010/main"/>
              </a:ext>
            </a:extLst>
          </a:blip>
          <a:stretch>
            <a:fillRect/>
          </a:stretch>
        </p:blipFill>
        <p:spPr>
          <a:xfrm>
            <a:off x="7891267" y="4538521"/>
            <a:ext cx="889868" cy="324000"/>
          </a:xfrm>
          <a:prstGeom prst="rect">
            <a:avLst/>
          </a:prstGeom>
        </p:spPr>
      </p:pic>
    </p:spTree>
    <p:extLst>
      <p:ext uri="{BB962C8B-B14F-4D97-AF65-F5344CB8AC3E}">
        <p14:creationId xmlns:p14="http://schemas.microsoft.com/office/powerpoint/2010/main" val="1864483013"/>
      </p:ext>
    </p:extLst>
  </p:cSld>
  <p:clrMap bg1="lt1" tx1="dk1" bg2="lt2" tx2="dk2" accent1="accent1" accent2="accent2" accent3="accent3" accent4="accent4" accent5="accent5" accent6="accent6" hlink="hlink" folHlink="folHlink"/>
  <p:sldLayoutIdLst>
    <p:sldLayoutId id="2147483661" r:id="rId1"/>
    <p:sldLayoutId id="2147483690" r:id="rId2"/>
    <p:sldLayoutId id="2147483662" r:id="rId3"/>
    <p:sldLayoutId id="2147483663" r:id="rId4"/>
    <p:sldLayoutId id="2147483691" r:id="rId5"/>
    <p:sldLayoutId id="2147483666" r:id="rId6"/>
    <p:sldLayoutId id="2147483667" r:id="rId7"/>
    <p:sldLayoutId id="2147483669" r:id="rId8"/>
    <p:sldLayoutId id="2147483668" r:id="rId9"/>
    <p:sldLayoutId id="2147483664" r:id="rId10"/>
    <p:sldLayoutId id="2147483665" r:id="rId11"/>
    <p:sldLayoutId id="2147483670" r:id="rId12"/>
    <p:sldLayoutId id="2147483688" r:id="rId13"/>
    <p:sldLayoutId id="2147483671" r:id="rId14"/>
    <p:sldLayoutId id="2147483672" r:id="rId15"/>
    <p:sldLayoutId id="2147483673" r:id="rId16"/>
    <p:sldLayoutId id="2147483674" r:id="rId17"/>
    <p:sldLayoutId id="2147483675" r:id="rId18"/>
    <p:sldLayoutId id="2147483676" r:id="rId19"/>
    <p:sldLayoutId id="2147483677" r:id="rId20"/>
    <p:sldLayoutId id="2147483678" r:id="rId21"/>
    <p:sldLayoutId id="2147483679" r:id="rId22"/>
    <p:sldLayoutId id="2147483680" r:id="rId23"/>
    <p:sldLayoutId id="2147483681" r:id="rId24"/>
    <p:sldLayoutId id="2147483682" r:id="rId25"/>
    <p:sldLayoutId id="2147483683" r:id="rId26"/>
    <p:sldLayoutId id="2147483684" r:id="rId27"/>
    <p:sldLayoutId id="2147483685" r:id="rId28"/>
    <p:sldLayoutId id="2147483687" r:id="rId29"/>
    <p:sldLayoutId id="2147483689" r:id="rId3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296" rtl="0" eaLnBrk="1" latinLnBrk="0" hangingPunct="1">
        <a:lnSpc>
          <a:spcPct val="100000"/>
        </a:lnSpc>
        <a:spcBef>
          <a:spcPct val="0"/>
        </a:spcBef>
        <a:buNone/>
        <a:defRPr sz="2800" kern="1200" cap="all" baseline="0">
          <a:solidFill>
            <a:schemeClr val="tx2"/>
          </a:solidFill>
          <a:latin typeface="+mj-lt"/>
          <a:ea typeface="+mj-ea"/>
          <a:cs typeface="+mj-cs"/>
        </a:defRPr>
      </a:lvl1pPr>
    </p:titleStyle>
    <p:bodyStyle>
      <a:lvl1pPr marL="161982" indent="-161982" algn="l" defTabSz="914296" rtl="0" eaLnBrk="1" latinLnBrk="0" hangingPunct="1">
        <a:lnSpc>
          <a:spcPct val="100000"/>
        </a:lnSpc>
        <a:spcBef>
          <a:spcPts val="0"/>
        </a:spcBef>
        <a:spcAft>
          <a:spcPts val="700"/>
        </a:spcAft>
        <a:buClr>
          <a:schemeClr val="tx1"/>
        </a:buClr>
        <a:buFont typeface="Arial" panose="020B0604020202020204" pitchFamily="34" charset="0"/>
        <a:buChar char="•"/>
        <a:defRPr sz="1800" kern="1200">
          <a:solidFill>
            <a:schemeClr val="tx1"/>
          </a:solidFill>
          <a:latin typeface="+mn-lt"/>
          <a:ea typeface="+mn-ea"/>
          <a:cs typeface="+mn-cs"/>
        </a:defRPr>
      </a:lvl1pPr>
      <a:lvl2pPr marL="539939" indent="-161982" algn="l" defTabSz="914296" rtl="0" eaLnBrk="1" latinLnBrk="0" hangingPunct="1">
        <a:lnSpc>
          <a:spcPct val="100000"/>
        </a:lnSpc>
        <a:spcBef>
          <a:spcPts val="0"/>
        </a:spcBef>
        <a:spcAft>
          <a:spcPts val="400"/>
        </a:spcAft>
        <a:buClr>
          <a:schemeClr val="tx1"/>
        </a:buClr>
        <a:buFont typeface="Arial" panose="020B0604020202020204" pitchFamily="34" charset="0"/>
        <a:buChar char="•"/>
        <a:defRPr sz="1600" kern="1200">
          <a:solidFill>
            <a:schemeClr val="tx1"/>
          </a:solidFill>
          <a:latin typeface="+mn-lt"/>
          <a:ea typeface="+mn-ea"/>
          <a:cs typeface="+mn-cs"/>
        </a:defRPr>
      </a:lvl2pPr>
      <a:lvl3pPr marL="899898" indent="-161982" algn="l" defTabSz="914296" rtl="0" eaLnBrk="1" latinLnBrk="0" hangingPunct="1">
        <a:lnSpc>
          <a:spcPct val="100000"/>
        </a:lnSpc>
        <a:spcBef>
          <a:spcPts val="0"/>
        </a:spcBef>
        <a:spcAft>
          <a:spcPts val="300"/>
        </a:spcAft>
        <a:buClr>
          <a:schemeClr val="tx1"/>
        </a:buClr>
        <a:buFont typeface="Arial" panose="020B0604020202020204" pitchFamily="34" charset="0"/>
        <a:buChar char="•"/>
        <a:defRPr sz="1400" kern="1200">
          <a:solidFill>
            <a:schemeClr val="tx1"/>
          </a:solidFill>
          <a:latin typeface="+mn-lt"/>
          <a:ea typeface="+mn-ea"/>
          <a:cs typeface="+mn-cs"/>
        </a:defRPr>
      </a:lvl3pPr>
      <a:lvl4pPr marL="1259857" indent="-161982" algn="l" defTabSz="914296" rtl="0" eaLnBrk="1" latinLnBrk="0" hangingPunct="1">
        <a:lnSpc>
          <a:spcPct val="100000"/>
        </a:lnSpc>
        <a:spcBef>
          <a:spcPts val="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4pPr>
      <a:lvl5pPr marL="1627015" indent="-158382" algn="l" defTabSz="914296" rtl="0" eaLnBrk="1" latinLnBrk="0" hangingPunct="1">
        <a:lnSpc>
          <a:spcPct val="100000"/>
        </a:lnSpc>
        <a:spcBef>
          <a:spcPts val="0"/>
        </a:spcBef>
        <a:spcAft>
          <a:spcPts val="240"/>
        </a:spcAft>
        <a:buClr>
          <a:schemeClr val="tx1"/>
        </a:buClr>
        <a:buFont typeface="Arial" panose="020B0604020202020204" pitchFamily="34" charset="0"/>
        <a:buChar char="»"/>
        <a:defRPr sz="1000" kern="1200">
          <a:solidFill>
            <a:schemeClr val="tx1"/>
          </a:solidFill>
          <a:latin typeface="+mn-lt"/>
          <a:ea typeface="+mn-ea"/>
          <a:cs typeface="+mn-cs"/>
        </a:defRPr>
      </a:lvl5pPr>
      <a:lvl6pPr marL="2514314" indent="-228574" algn="l" defTabSz="914296"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62" indent="-228574" algn="l" defTabSz="914296"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610" indent="-228574" algn="l" defTabSz="914296"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58" indent="-228574" algn="l" defTabSz="914296"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sv-SE"/>
      </a:defPPr>
      <a:lvl1pPr marL="0" algn="l" defTabSz="914296" rtl="0" eaLnBrk="1" latinLnBrk="0" hangingPunct="1">
        <a:defRPr sz="1800" kern="1200">
          <a:solidFill>
            <a:schemeClr val="tx1"/>
          </a:solidFill>
          <a:latin typeface="+mn-lt"/>
          <a:ea typeface="+mn-ea"/>
          <a:cs typeface="+mn-cs"/>
        </a:defRPr>
      </a:lvl1pPr>
      <a:lvl2pPr marL="457148" algn="l" defTabSz="914296" rtl="0" eaLnBrk="1" latinLnBrk="0" hangingPunct="1">
        <a:defRPr sz="1800" kern="1200">
          <a:solidFill>
            <a:schemeClr val="tx1"/>
          </a:solidFill>
          <a:latin typeface="+mn-lt"/>
          <a:ea typeface="+mn-ea"/>
          <a:cs typeface="+mn-cs"/>
        </a:defRPr>
      </a:lvl2pPr>
      <a:lvl3pPr marL="914296" algn="l" defTabSz="914296" rtl="0" eaLnBrk="1" latinLnBrk="0" hangingPunct="1">
        <a:defRPr sz="1800" kern="1200">
          <a:solidFill>
            <a:schemeClr val="tx1"/>
          </a:solidFill>
          <a:latin typeface="+mn-lt"/>
          <a:ea typeface="+mn-ea"/>
          <a:cs typeface="+mn-cs"/>
        </a:defRPr>
      </a:lvl3pPr>
      <a:lvl4pPr marL="1371444" algn="l" defTabSz="914296" rtl="0" eaLnBrk="1" latinLnBrk="0" hangingPunct="1">
        <a:defRPr sz="1800" kern="1200">
          <a:solidFill>
            <a:schemeClr val="tx1"/>
          </a:solidFill>
          <a:latin typeface="+mn-lt"/>
          <a:ea typeface="+mn-ea"/>
          <a:cs typeface="+mn-cs"/>
        </a:defRPr>
      </a:lvl4pPr>
      <a:lvl5pPr marL="1828592" algn="l" defTabSz="914296" rtl="0" eaLnBrk="1" latinLnBrk="0" hangingPunct="1">
        <a:defRPr sz="1800" kern="1200">
          <a:solidFill>
            <a:schemeClr val="tx1"/>
          </a:solidFill>
          <a:latin typeface="+mn-lt"/>
          <a:ea typeface="+mn-ea"/>
          <a:cs typeface="+mn-cs"/>
        </a:defRPr>
      </a:lvl5pPr>
      <a:lvl6pPr marL="2285740" algn="l" defTabSz="914296" rtl="0" eaLnBrk="1" latinLnBrk="0" hangingPunct="1">
        <a:defRPr sz="1800" kern="1200">
          <a:solidFill>
            <a:schemeClr val="tx1"/>
          </a:solidFill>
          <a:latin typeface="+mn-lt"/>
          <a:ea typeface="+mn-ea"/>
          <a:cs typeface="+mn-cs"/>
        </a:defRPr>
      </a:lvl6pPr>
      <a:lvl7pPr marL="2742888" algn="l" defTabSz="914296" rtl="0" eaLnBrk="1" latinLnBrk="0" hangingPunct="1">
        <a:defRPr sz="1800" kern="1200">
          <a:solidFill>
            <a:schemeClr val="tx1"/>
          </a:solidFill>
          <a:latin typeface="+mn-lt"/>
          <a:ea typeface="+mn-ea"/>
          <a:cs typeface="+mn-cs"/>
        </a:defRPr>
      </a:lvl7pPr>
      <a:lvl8pPr marL="3200036" algn="l" defTabSz="914296" rtl="0" eaLnBrk="1" latinLnBrk="0" hangingPunct="1">
        <a:defRPr sz="1800" kern="1200">
          <a:solidFill>
            <a:schemeClr val="tx1"/>
          </a:solidFill>
          <a:latin typeface="+mn-lt"/>
          <a:ea typeface="+mn-ea"/>
          <a:cs typeface="+mn-cs"/>
        </a:defRPr>
      </a:lvl8pPr>
      <a:lvl9pPr marL="3657184" algn="l" defTabSz="914296"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userDrawn="1">
          <p15:clr>
            <a:srgbClr val="F26B43"/>
          </p15:clr>
        </p15:guide>
        <p15:guide id="2" pos="2880" userDrawn="1">
          <p15:clr>
            <a:srgbClr val="F26B43"/>
          </p15:clr>
        </p15:guide>
        <p15:guide id="4" orient="horz" pos="2788" userDrawn="1">
          <p15:clr>
            <a:srgbClr val="F26B43"/>
          </p15:clr>
        </p15:guide>
        <p15:guide id="5" orient="horz" pos="894" userDrawn="1">
          <p15:clr>
            <a:srgbClr val="F26B43"/>
          </p15:clr>
        </p15:guide>
        <p15:guide id="6" pos="226" userDrawn="1">
          <p15:clr>
            <a:srgbClr val="F26B43"/>
          </p15:clr>
        </p15:guide>
        <p15:guide id="7" pos="5534" userDrawn="1">
          <p15:clr>
            <a:srgbClr val="F26B43"/>
          </p15:clr>
        </p15:guide>
        <p15:guide id="8" orient="horz" pos="3014" userDrawn="1">
          <p15:clr>
            <a:srgbClr val="F26B43"/>
          </p15:clr>
        </p15:guide>
        <p15:guide id="9" orient="horz" pos="226" userDrawn="1">
          <p15:clr>
            <a:srgbClr val="F26B43"/>
          </p15:clr>
        </p15:guide>
        <p15:guide id="10" orient="horz" pos="35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098" name="Line 2"/>
          <p:cNvSpPr>
            <a:spLocks noChangeShapeType="1"/>
          </p:cNvSpPr>
          <p:nvPr/>
        </p:nvSpPr>
        <p:spPr bwMode="auto">
          <a:xfrm>
            <a:off x="-508487" y="1932385"/>
            <a:ext cx="9973409" cy="0"/>
          </a:xfrm>
          <a:prstGeom prst="line">
            <a:avLst/>
          </a:prstGeom>
          <a:noFill/>
          <a:ln w="3175">
            <a:solidFill>
              <a:schemeClr val="bg1"/>
            </a:solidFill>
            <a:round/>
            <a:headEnd/>
            <a:tailEnd/>
          </a:ln>
          <a:effectLst/>
        </p:spPr>
        <p:txBody>
          <a:bodyPr lIns="77907" tIns="38953" rIns="77907" bIns="38953"/>
          <a:lstStyle/>
          <a:p>
            <a:pPr fontAlgn="base">
              <a:spcBef>
                <a:spcPct val="0"/>
              </a:spcBef>
              <a:spcAft>
                <a:spcPct val="0"/>
              </a:spcAft>
              <a:defRPr/>
            </a:pPr>
            <a:endParaRPr lang="en-US" sz="1500">
              <a:solidFill>
                <a:srgbClr val="000000"/>
              </a:solidFill>
              <a:ea typeface="Arial" charset="0"/>
            </a:endParaRPr>
          </a:p>
        </p:txBody>
      </p:sp>
      <p:sp>
        <p:nvSpPr>
          <p:cNvPr id="4099" name="Line 3"/>
          <p:cNvSpPr>
            <a:spLocks noChangeShapeType="1"/>
          </p:cNvSpPr>
          <p:nvPr/>
        </p:nvSpPr>
        <p:spPr bwMode="auto">
          <a:xfrm>
            <a:off x="1141535" y="-95250"/>
            <a:ext cx="0" cy="95250"/>
          </a:xfrm>
          <a:prstGeom prst="line">
            <a:avLst/>
          </a:prstGeom>
          <a:noFill/>
          <a:ln w="3175">
            <a:solidFill>
              <a:schemeClr val="bg1"/>
            </a:solidFill>
            <a:round/>
            <a:headEnd/>
            <a:tailEnd/>
          </a:ln>
          <a:effectLst/>
        </p:spPr>
        <p:txBody>
          <a:bodyPr lIns="77907" tIns="38953" rIns="77907" bIns="38953"/>
          <a:lstStyle/>
          <a:p>
            <a:pPr fontAlgn="base">
              <a:spcBef>
                <a:spcPct val="0"/>
              </a:spcBef>
              <a:spcAft>
                <a:spcPct val="0"/>
              </a:spcAft>
              <a:defRPr/>
            </a:pPr>
            <a:endParaRPr lang="en-US" sz="1500">
              <a:solidFill>
                <a:srgbClr val="000000"/>
              </a:solidFill>
              <a:ea typeface="Arial" charset="0"/>
            </a:endParaRPr>
          </a:p>
        </p:txBody>
      </p:sp>
      <p:sp>
        <p:nvSpPr>
          <p:cNvPr id="4100" name="Line 4"/>
          <p:cNvSpPr>
            <a:spLocks noChangeShapeType="1"/>
          </p:cNvSpPr>
          <p:nvPr/>
        </p:nvSpPr>
        <p:spPr bwMode="auto">
          <a:xfrm>
            <a:off x="3427535" y="-95250"/>
            <a:ext cx="0" cy="95250"/>
          </a:xfrm>
          <a:prstGeom prst="line">
            <a:avLst/>
          </a:prstGeom>
          <a:noFill/>
          <a:ln w="3175">
            <a:solidFill>
              <a:schemeClr val="bg1"/>
            </a:solidFill>
            <a:round/>
            <a:headEnd/>
            <a:tailEnd/>
          </a:ln>
          <a:effectLst/>
        </p:spPr>
        <p:txBody>
          <a:bodyPr lIns="77907" tIns="38953" rIns="77907" bIns="38953"/>
          <a:lstStyle/>
          <a:p>
            <a:pPr fontAlgn="base">
              <a:spcBef>
                <a:spcPct val="0"/>
              </a:spcBef>
              <a:spcAft>
                <a:spcPct val="0"/>
              </a:spcAft>
              <a:defRPr/>
            </a:pPr>
            <a:endParaRPr lang="en-US" sz="1500">
              <a:solidFill>
                <a:srgbClr val="000000"/>
              </a:solidFill>
              <a:ea typeface="Arial" charset="0"/>
            </a:endParaRPr>
          </a:p>
        </p:txBody>
      </p:sp>
      <p:sp>
        <p:nvSpPr>
          <p:cNvPr id="4101" name="Line 5"/>
          <p:cNvSpPr>
            <a:spLocks noChangeShapeType="1"/>
          </p:cNvSpPr>
          <p:nvPr/>
        </p:nvSpPr>
        <p:spPr bwMode="auto">
          <a:xfrm>
            <a:off x="5712069" y="-95250"/>
            <a:ext cx="0" cy="95250"/>
          </a:xfrm>
          <a:prstGeom prst="line">
            <a:avLst/>
          </a:prstGeom>
          <a:noFill/>
          <a:ln w="3175">
            <a:solidFill>
              <a:schemeClr val="bg1"/>
            </a:solidFill>
            <a:round/>
            <a:headEnd/>
            <a:tailEnd/>
          </a:ln>
          <a:effectLst/>
        </p:spPr>
        <p:txBody>
          <a:bodyPr lIns="77907" tIns="38953" rIns="77907" bIns="38953"/>
          <a:lstStyle/>
          <a:p>
            <a:pPr fontAlgn="base">
              <a:spcBef>
                <a:spcPct val="0"/>
              </a:spcBef>
              <a:spcAft>
                <a:spcPct val="0"/>
              </a:spcAft>
              <a:defRPr/>
            </a:pPr>
            <a:endParaRPr lang="en-US" sz="1500">
              <a:solidFill>
                <a:srgbClr val="000000"/>
              </a:solidFill>
              <a:ea typeface="Arial" charset="0"/>
            </a:endParaRPr>
          </a:p>
        </p:txBody>
      </p:sp>
      <p:sp>
        <p:nvSpPr>
          <p:cNvPr id="4102" name="Line 6"/>
          <p:cNvSpPr>
            <a:spLocks noChangeShapeType="1"/>
          </p:cNvSpPr>
          <p:nvPr/>
        </p:nvSpPr>
        <p:spPr bwMode="auto">
          <a:xfrm>
            <a:off x="7998069" y="-95250"/>
            <a:ext cx="0" cy="95250"/>
          </a:xfrm>
          <a:prstGeom prst="line">
            <a:avLst/>
          </a:prstGeom>
          <a:noFill/>
          <a:ln w="3175">
            <a:solidFill>
              <a:schemeClr val="bg1"/>
            </a:solidFill>
            <a:round/>
            <a:headEnd/>
            <a:tailEnd/>
          </a:ln>
          <a:effectLst/>
        </p:spPr>
        <p:txBody>
          <a:bodyPr lIns="77907" tIns="38953" rIns="77907" bIns="38953"/>
          <a:lstStyle/>
          <a:p>
            <a:pPr fontAlgn="base">
              <a:spcBef>
                <a:spcPct val="0"/>
              </a:spcBef>
              <a:spcAft>
                <a:spcPct val="0"/>
              </a:spcAft>
              <a:defRPr/>
            </a:pPr>
            <a:endParaRPr lang="en-US" sz="1500">
              <a:solidFill>
                <a:srgbClr val="000000"/>
              </a:solidFill>
              <a:ea typeface="Arial" charset="0"/>
            </a:endParaRPr>
          </a:p>
        </p:txBody>
      </p:sp>
      <p:sp>
        <p:nvSpPr>
          <p:cNvPr id="4103" name="Line 7"/>
          <p:cNvSpPr>
            <a:spLocks noChangeShapeType="1"/>
          </p:cNvSpPr>
          <p:nvPr/>
        </p:nvSpPr>
        <p:spPr bwMode="auto">
          <a:xfrm>
            <a:off x="-508486" y="1077516"/>
            <a:ext cx="10191750" cy="0"/>
          </a:xfrm>
          <a:prstGeom prst="line">
            <a:avLst/>
          </a:prstGeom>
          <a:noFill/>
          <a:ln w="3175">
            <a:solidFill>
              <a:schemeClr val="bg1"/>
            </a:solidFill>
            <a:round/>
            <a:headEnd/>
            <a:tailEnd/>
          </a:ln>
          <a:effectLst/>
        </p:spPr>
        <p:txBody>
          <a:bodyPr lIns="77907" tIns="38953" rIns="77907" bIns="38953"/>
          <a:lstStyle/>
          <a:p>
            <a:pPr fontAlgn="base">
              <a:spcBef>
                <a:spcPct val="0"/>
              </a:spcBef>
              <a:spcAft>
                <a:spcPct val="0"/>
              </a:spcAft>
              <a:defRPr/>
            </a:pPr>
            <a:endParaRPr lang="en-US" sz="1500">
              <a:solidFill>
                <a:srgbClr val="000000"/>
              </a:solidFill>
              <a:ea typeface="Arial" charset="0"/>
            </a:endParaRPr>
          </a:p>
        </p:txBody>
      </p:sp>
      <p:sp>
        <p:nvSpPr>
          <p:cNvPr id="4104" name="Line 8"/>
          <p:cNvSpPr>
            <a:spLocks noChangeShapeType="1"/>
          </p:cNvSpPr>
          <p:nvPr/>
        </p:nvSpPr>
        <p:spPr bwMode="auto">
          <a:xfrm>
            <a:off x="-508486" y="2794397"/>
            <a:ext cx="10191750" cy="0"/>
          </a:xfrm>
          <a:prstGeom prst="line">
            <a:avLst/>
          </a:prstGeom>
          <a:noFill/>
          <a:ln w="3175">
            <a:solidFill>
              <a:schemeClr val="bg1"/>
            </a:solidFill>
            <a:round/>
            <a:headEnd/>
            <a:tailEnd/>
          </a:ln>
          <a:effectLst/>
        </p:spPr>
        <p:txBody>
          <a:bodyPr lIns="77907" tIns="38953" rIns="77907" bIns="38953"/>
          <a:lstStyle/>
          <a:p>
            <a:pPr fontAlgn="base">
              <a:spcBef>
                <a:spcPct val="0"/>
              </a:spcBef>
              <a:spcAft>
                <a:spcPct val="0"/>
              </a:spcAft>
              <a:defRPr/>
            </a:pPr>
            <a:endParaRPr lang="en-US" sz="1500">
              <a:solidFill>
                <a:srgbClr val="000000"/>
              </a:solidFill>
              <a:ea typeface="Arial" charset="0"/>
            </a:endParaRPr>
          </a:p>
        </p:txBody>
      </p:sp>
      <p:sp>
        <p:nvSpPr>
          <p:cNvPr id="4105" name="Line 9"/>
          <p:cNvSpPr>
            <a:spLocks noChangeShapeType="1"/>
          </p:cNvSpPr>
          <p:nvPr/>
        </p:nvSpPr>
        <p:spPr bwMode="auto">
          <a:xfrm>
            <a:off x="-508486" y="4507706"/>
            <a:ext cx="10191750" cy="0"/>
          </a:xfrm>
          <a:prstGeom prst="line">
            <a:avLst/>
          </a:prstGeom>
          <a:noFill/>
          <a:ln w="3175">
            <a:solidFill>
              <a:schemeClr val="bg1"/>
            </a:solidFill>
            <a:round/>
            <a:headEnd/>
            <a:tailEnd/>
          </a:ln>
          <a:effectLst/>
        </p:spPr>
        <p:txBody>
          <a:bodyPr lIns="77907" tIns="38953" rIns="77907" bIns="38953"/>
          <a:lstStyle/>
          <a:p>
            <a:pPr fontAlgn="base">
              <a:spcBef>
                <a:spcPct val="0"/>
              </a:spcBef>
              <a:spcAft>
                <a:spcPct val="0"/>
              </a:spcAft>
              <a:defRPr/>
            </a:pPr>
            <a:endParaRPr lang="en-US" sz="1500">
              <a:solidFill>
                <a:srgbClr val="000000"/>
              </a:solidFill>
              <a:ea typeface="Arial" charset="0"/>
            </a:endParaRPr>
          </a:p>
        </p:txBody>
      </p:sp>
      <p:sp>
        <p:nvSpPr>
          <p:cNvPr id="4106" name="Line 10"/>
          <p:cNvSpPr>
            <a:spLocks noChangeShapeType="1"/>
          </p:cNvSpPr>
          <p:nvPr/>
        </p:nvSpPr>
        <p:spPr bwMode="auto">
          <a:xfrm>
            <a:off x="2284535" y="-95250"/>
            <a:ext cx="0" cy="95250"/>
          </a:xfrm>
          <a:prstGeom prst="line">
            <a:avLst/>
          </a:prstGeom>
          <a:noFill/>
          <a:ln w="3175">
            <a:solidFill>
              <a:schemeClr val="bg1"/>
            </a:solidFill>
            <a:round/>
            <a:headEnd/>
            <a:tailEnd/>
          </a:ln>
          <a:effectLst/>
        </p:spPr>
        <p:txBody>
          <a:bodyPr lIns="77907" tIns="38953" rIns="77907" bIns="38953"/>
          <a:lstStyle/>
          <a:p>
            <a:pPr fontAlgn="base">
              <a:spcBef>
                <a:spcPct val="0"/>
              </a:spcBef>
              <a:spcAft>
                <a:spcPct val="0"/>
              </a:spcAft>
              <a:defRPr/>
            </a:pPr>
            <a:endParaRPr lang="en-US" sz="1500">
              <a:solidFill>
                <a:srgbClr val="000000"/>
              </a:solidFill>
              <a:ea typeface="Arial" charset="0"/>
            </a:endParaRPr>
          </a:p>
        </p:txBody>
      </p:sp>
      <p:sp>
        <p:nvSpPr>
          <p:cNvPr id="4107" name="Line 11"/>
          <p:cNvSpPr>
            <a:spLocks noChangeShapeType="1"/>
          </p:cNvSpPr>
          <p:nvPr/>
        </p:nvSpPr>
        <p:spPr bwMode="auto">
          <a:xfrm>
            <a:off x="4570535" y="-95250"/>
            <a:ext cx="0" cy="95250"/>
          </a:xfrm>
          <a:prstGeom prst="line">
            <a:avLst/>
          </a:prstGeom>
          <a:noFill/>
          <a:ln w="3175">
            <a:solidFill>
              <a:schemeClr val="bg1"/>
            </a:solidFill>
            <a:round/>
            <a:headEnd/>
            <a:tailEnd/>
          </a:ln>
          <a:effectLst/>
        </p:spPr>
        <p:txBody>
          <a:bodyPr lIns="77907" tIns="38953" rIns="77907" bIns="38953"/>
          <a:lstStyle/>
          <a:p>
            <a:pPr fontAlgn="base">
              <a:spcBef>
                <a:spcPct val="0"/>
              </a:spcBef>
              <a:spcAft>
                <a:spcPct val="0"/>
              </a:spcAft>
              <a:defRPr/>
            </a:pPr>
            <a:endParaRPr lang="en-US" sz="1500">
              <a:solidFill>
                <a:srgbClr val="000000"/>
              </a:solidFill>
              <a:ea typeface="Arial" charset="0"/>
            </a:endParaRPr>
          </a:p>
        </p:txBody>
      </p:sp>
      <p:sp>
        <p:nvSpPr>
          <p:cNvPr id="4108" name="Line 12"/>
          <p:cNvSpPr>
            <a:spLocks noChangeShapeType="1"/>
          </p:cNvSpPr>
          <p:nvPr/>
        </p:nvSpPr>
        <p:spPr bwMode="auto">
          <a:xfrm>
            <a:off x="6855069" y="-95250"/>
            <a:ext cx="0" cy="95250"/>
          </a:xfrm>
          <a:prstGeom prst="line">
            <a:avLst/>
          </a:prstGeom>
          <a:noFill/>
          <a:ln w="3175">
            <a:solidFill>
              <a:schemeClr val="bg1"/>
            </a:solidFill>
            <a:round/>
            <a:headEnd/>
            <a:tailEnd/>
          </a:ln>
          <a:effectLst/>
        </p:spPr>
        <p:txBody>
          <a:bodyPr lIns="77907" tIns="38953" rIns="77907" bIns="38953"/>
          <a:lstStyle/>
          <a:p>
            <a:pPr fontAlgn="base">
              <a:spcBef>
                <a:spcPct val="0"/>
              </a:spcBef>
              <a:spcAft>
                <a:spcPct val="0"/>
              </a:spcAft>
              <a:defRPr/>
            </a:pPr>
            <a:endParaRPr lang="en-US" sz="1500">
              <a:solidFill>
                <a:srgbClr val="000000"/>
              </a:solidFill>
              <a:ea typeface="Arial" charset="0"/>
            </a:endParaRPr>
          </a:p>
        </p:txBody>
      </p:sp>
      <p:sp>
        <p:nvSpPr>
          <p:cNvPr id="4109" name="Text Box 13"/>
          <p:cNvSpPr txBox="1">
            <a:spLocks noChangeArrowheads="1"/>
          </p:cNvSpPr>
          <p:nvPr/>
        </p:nvSpPr>
        <p:spPr bwMode="auto">
          <a:xfrm>
            <a:off x="-509954" y="947548"/>
            <a:ext cx="216406" cy="138499"/>
          </a:xfrm>
          <a:prstGeom prst="rect">
            <a:avLst/>
          </a:prstGeom>
          <a:noFill/>
          <a:ln w="9525">
            <a:noFill/>
            <a:miter lim="800000"/>
            <a:headEnd/>
            <a:tailEnd/>
          </a:ln>
          <a:effectLst/>
        </p:spPr>
        <p:txBody>
          <a:bodyPr wrap="none" lIns="0" tIns="0" rIns="0" bIns="0" anchor="ctr">
            <a:spAutoFit/>
          </a:bodyPr>
          <a:lstStyle/>
          <a:p>
            <a:pPr fontAlgn="base">
              <a:spcBef>
                <a:spcPct val="50000"/>
              </a:spcBef>
              <a:spcAft>
                <a:spcPct val="0"/>
              </a:spcAft>
              <a:defRPr/>
            </a:pPr>
            <a:r>
              <a:rPr lang="sv-SE" sz="900">
                <a:solidFill>
                  <a:srgbClr val="FFFFFF"/>
                </a:solidFill>
                <a:ea typeface="Arial" charset="0"/>
              </a:rPr>
              <a:t>Grid</a:t>
            </a:r>
          </a:p>
        </p:txBody>
      </p:sp>
      <p:sp>
        <p:nvSpPr>
          <p:cNvPr id="4110" name="Text Box 14"/>
          <p:cNvSpPr txBox="1">
            <a:spLocks noChangeArrowheads="1"/>
          </p:cNvSpPr>
          <p:nvPr/>
        </p:nvSpPr>
        <p:spPr bwMode="auto">
          <a:xfrm>
            <a:off x="9463454" y="947548"/>
            <a:ext cx="216406" cy="138499"/>
          </a:xfrm>
          <a:prstGeom prst="rect">
            <a:avLst/>
          </a:prstGeom>
          <a:noFill/>
          <a:ln w="9525">
            <a:noFill/>
            <a:miter lim="800000"/>
            <a:headEnd/>
            <a:tailEnd/>
          </a:ln>
          <a:effectLst/>
        </p:spPr>
        <p:txBody>
          <a:bodyPr wrap="none" lIns="0" tIns="0" rIns="0" bIns="0" anchor="ctr">
            <a:spAutoFit/>
          </a:bodyPr>
          <a:lstStyle/>
          <a:p>
            <a:pPr fontAlgn="base">
              <a:spcBef>
                <a:spcPct val="50000"/>
              </a:spcBef>
              <a:spcAft>
                <a:spcPct val="0"/>
              </a:spcAft>
              <a:defRPr/>
            </a:pPr>
            <a:r>
              <a:rPr lang="sv-SE" sz="900">
                <a:solidFill>
                  <a:srgbClr val="FFFFFF"/>
                </a:solidFill>
                <a:ea typeface="Arial" charset="0"/>
              </a:rPr>
              <a:t>Grid</a:t>
            </a:r>
          </a:p>
        </p:txBody>
      </p:sp>
      <p:sp>
        <p:nvSpPr>
          <p:cNvPr id="4111" name="Line 15"/>
          <p:cNvSpPr>
            <a:spLocks noChangeShapeType="1"/>
          </p:cNvSpPr>
          <p:nvPr/>
        </p:nvSpPr>
        <p:spPr bwMode="auto">
          <a:xfrm>
            <a:off x="-508486" y="3646885"/>
            <a:ext cx="10191750" cy="0"/>
          </a:xfrm>
          <a:prstGeom prst="line">
            <a:avLst/>
          </a:prstGeom>
          <a:noFill/>
          <a:ln w="3175">
            <a:solidFill>
              <a:schemeClr val="bg1"/>
            </a:solidFill>
            <a:round/>
            <a:headEnd/>
            <a:tailEnd/>
          </a:ln>
          <a:effectLst/>
        </p:spPr>
        <p:txBody>
          <a:bodyPr lIns="77907" tIns="38953" rIns="77907" bIns="38953"/>
          <a:lstStyle/>
          <a:p>
            <a:pPr fontAlgn="base">
              <a:spcBef>
                <a:spcPct val="0"/>
              </a:spcBef>
              <a:spcAft>
                <a:spcPct val="0"/>
              </a:spcAft>
              <a:defRPr/>
            </a:pPr>
            <a:endParaRPr lang="en-US" sz="1500">
              <a:solidFill>
                <a:srgbClr val="000000"/>
              </a:solidFill>
              <a:ea typeface="Arial" charset="0"/>
            </a:endParaRPr>
          </a:p>
        </p:txBody>
      </p:sp>
      <p:sp>
        <p:nvSpPr>
          <p:cNvPr id="4112" name="AutoShape 16"/>
          <p:cNvSpPr>
            <a:spLocks/>
          </p:cNvSpPr>
          <p:nvPr/>
        </p:nvSpPr>
        <p:spPr bwMode="auto">
          <a:xfrm flipH="1">
            <a:off x="-191966" y="1084662"/>
            <a:ext cx="89389" cy="848915"/>
          </a:xfrm>
          <a:prstGeom prst="rightBrace">
            <a:avLst>
              <a:gd name="adj1" fmla="val 106101"/>
              <a:gd name="adj2" fmla="val 50000"/>
            </a:avLst>
          </a:prstGeom>
          <a:noFill/>
          <a:ln w="9525">
            <a:solidFill>
              <a:schemeClr val="bg1"/>
            </a:solidFill>
            <a:round/>
            <a:headEnd/>
            <a:tailEnd/>
          </a:ln>
          <a:effectLst/>
        </p:spPr>
        <p:txBody>
          <a:bodyPr wrap="none" lIns="77907" tIns="38953" rIns="77907" bIns="38953" anchor="ctr"/>
          <a:lstStyle/>
          <a:p>
            <a:pPr fontAlgn="base">
              <a:spcBef>
                <a:spcPct val="0"/>
              </a:spcBef>
              <a:spcAft>
                <a:spcPct val="0"/>
              </a:spcAft>
              <a:defRPr/>
            </a:pPr>
            <a:endParaRPr lang="en-US" sz="1500">
              <a:solidFill>
                <a:srgbClr val="000000"/>
              </a:solidFill>
              <a:ea typeface="Arial" charset="0"/>
            </a:endParaRPr>
          </a:p>
        </p:txBody>
      </p:sp>
      <p:sp>
        <p:nvSpPr>
          <p:cNvPr id="4113" name="Text Box 17"/>
          <p:cNvSpPr txBox="1">
            <a:spLocks noChangeArrowheads="1"/>
          </p:cNvSpPr>
          <p:nvPr/>
        </p:nvSpPr>
        <p:spPr bwMode="auto">
          <a:xfrm rot="16200000">
            <a:off x="-621699" y="1435106"/>
            <a:ext cx="469680" cy="138499"/>
          </a:xfrm>
          <a:prstGeom prst="rect">
            <a:avLst/>
          </a:prstGeom>
          <a:noFill/>
          <a:ln w="9525">
            <a:noFill/>
            <a:miter lim="800000"/>
            <a:headEnd/>
            <a:tailEnd/>
          </a:ln>
          <a:effectLst/>
        </p:spPr>
        <p:txBody>
          <a:bodyPr wrap="none" lIns="0" tIns="0" rIns="0" bIns="0" anchor="ctr">
            <a:spAutoFit/>
          </a:bodyPr>
          <a:lstStyle/>
          <a:p>
            <a:pPr algn="ctr" fontAlgn="base">
              <a:spcBef>
                <a:spcPct val="50000"/>
              </a:spcBef>
              <a:spcAft>
                <a:spcPct val="0"/>
              </a:spcAft>
              <a:defRPr/>
            </a:pPr>
            <a:r>
              <a:rPr lang="sv-SE" sz="900">
                <a:solidFill>
                  <a:srgbClr val="FFFFFF"/>
                </a:solidFill>
                <a:ea typeface="Arial" charset="0"/>
              </a:rPr>
              <a:t>Size 3,175</a:t>
            </a:r>
          </a:p>
        </p:txBody>
      </p:sp>
      <p:sp>
        <p:nvSpPr>
          <p:cNvPr id="4114" name="AutoShape 18"/>
          <p:cNvSpPr>
            <a:spLocks/>
          </p:cNvSpPr>
          <p:nvPr/>
        </p:nvSpPr>
        <p:spPr bwMode="auto">
          <a:xfrm>
            <a:off x="9296402" y="1084660"/>
            <a:ext cx="42497" cy="1709738"/>
          </a:xfrm>
          <a:prstGeom prst="rightBrace">
            <a:avLst>
              <a:gd name="adj1" fmla="val 443205"/>
              <a:gd name="adj2" fmla="val 50000"/>
            </a:avLst>
          </a:prstGeom>
          <a:noFill/>
          <a:ln w="9525">
            <a:solidFill>
              <a:schemeClr val="bg1"/>
            </a:solidFill>
            <a:round/>
            <a:headEnd/>
            <a:tailEnd/>
          </a:ln>
          <a:effectLst/>
        </p:spPr>
        <p:txBody>
          <a:bodyPr wrap="none" lIns="77907" tIns="38953" rIns="77907" bIns="38953" anchor="ctr"/>
          <a:lstStyle/>
          <a:p>
            <a:pPr fontAlgn="base">
              <a:spcBef>
                <a:spcPct val="0"/>
              </a:spcBef>
              <a:spcAft>
                <a:spcPct val="0"/>
              </a:spcAft>
              <a:defRPr/>
            </a:pPr>
            <a:endParaRPr lang="en-US" sz="1500">
              <a:solidFill>
                <a:srgbClr val="000000"/>
              </a:solidFill>
              <a:ea typeface="Arial" charset="0"/>
            </a:endParaRPr>
          </a:p>
        </p:txBody>
      </p:sp>
      <p:sp>
        <p:nvSpPr>
          <p:cNvPr id="4115" name="Text Box 19"/>
          <p:cNvSpPr txBox="1">
            <a:spLocks noChangeArrowheads="1"/>
          </p:cNvSpPr>
          <p:nvPr/>
        </p:nvSpPr>
        <p:spPr bwMode="auto">
          <a:xfrm rot="5400000" flipH="1">
            <a:off x="9412799" y="1862542"/>
            <a:ext cx="411972" cy="138499"/>
          </a:xfrm>
          <a:prstGeom prst="rect">
            <a:avLst/>
          </a:prstGeom>
          <a:noFill/>
          <a:ln w="9525">
            <a:noFill/>
            <a:miter lim="800000"/>
            <a:headEnd/>
            <a:tailEnd/>
          </a:ln>
          <a:effectLst/>
        </p:spPr>
        <p:txBody>
          <a:bodyPr wrap="none" lIns="0" tIns="0" rIns="0" bIns="0" anchor="ctr">
            <a:spAutoFit/>
          </a:bodyPr>
          <a:lstStyle/>
          <a:p>
            <a:pPr algn="ctr" fontAlgn="base">
              <a:spcBef>
                <a:spcPct val="50000"/>
              </a:spcBef>
              <a:spcAft>
                <a:spcPct val="0"/>
              </a:spcAft>
              <a:defRPr/>
            </a:pPr>
            <a:r>
              <a:rPr lang="sv-SE" sz="900">
                <a:solidFill>
                  <a:srgbClr val="FFFFFF"/>
                </a:solidFill>
                <a:ea typeface="Arial" charset="0"/>
              </a:rPr>
              <a:t>Size 6,35</a:t>
            </a:r>
          </a:p>
        </p:txBody>
      </p:sp>
      <p:sp>
        <p:nvSpPr>
          <p:cNvPr id="435220" name="Rectangle 20"/>
          <p:cNvSpPr>
            <a:spLocks noGrp="1" noChangeArrowheads="1"/>
          </p:cNvSpPr>
          <p:nvPr>
            <p:ph type="title"/>
          </p:nvPr>
        </p:nvSpPr>
        <p:spPr bwMode="auto">
          <a:xfrm>
            <a:off x="424962" y="363142"/>
            <a:ext cx="8277958" cy="728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Klicka här för att ändra format</a:t>
            </a:r>
          </a:p>
        </p:txBody>
      </p:sp>
      <p:sp>
        <p:nvSpPr>
          <p:cNvPr id="4117" name="Rectangle 21"/>
          <p:cNvSpPr>
            <a:spLocks noGrp="1" noChangeArrowheads="1"/>
          </p:cNvSpPr>
          <p:nvPr>
            <p:ph type="sldNum" sz="quarter" idx="4"/>
          </p:nvPr>
        </p:nvSpPr>
        <p:spPr bwMode="auto">
          <a:xfrm>
            <a:off x="221276" y="4814889"/>
            <a:ext cx="162657" cy="102394"/>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r" eaLnBrk="1" hangingPunct="1">
              <a:defRPr sz="800" b="1">
                <a:solidFill>
                  <a:schemeClr val="tx1"/>
                </a:solidFill>
                <a:latin typeface="+mn-lt"/>
                <a:ea typeface="Arial" charset="0"/>
                <a:cs typeface="+mn-cs"/>
              </a:defRPr>
            </a:lvl1pPr>
          </a:lstStyle>
          <a:p>
            <a:pPr fontAlgn="base">
              <a:spcBef>
                <a:spcPct val="0"/>
              </a:spcBef>
              <a:spcAft>
                <a:spcPct val="0"/>
              </a:spcAft>
              <a:defRPr/>
            </a:pPr>
            <a:fld id="{A2FFC142-F466-45F1-B75A-F2DDD1FB9E10}" type="slidenum">
              <a:rPr lang="sv-SE">
                <a:solidFill>
                  <a:srgbClr val="000000"/>
                </a:solidFill>
              </a:rPr>
              <a:pPr fontAlgn="base">
                <a:spcBef>
                  <a:spcPct val="0"/>
                </a:spcBef>
                <a:spcAft>
                  <a:spcPct val="0"/>
                </a:spcAft>
                <a:defRPr/>
              </a:pPr>
              <a:t>‹#›</a:t>
            </a:fld>
            <a:endParaRPr lang="sv-SE">
              <a:solidFill>
                <a:srgbClr val="000000"/>
              </a:solidFill>
            </a:endParaRPr>
          </a:p>
        </p:txBody>
      </p:sp>
      <p:pic>
        <p:nvPicPr>
          <p:cNvPr id="435222" name="Picture 22" descr="Sandvik-logo"/>
          <p:cNvPicPr>
            <a:picLocks noChangeAspect="1" noChangeArrowheads="1"/>
          </p:cNvPicPr>
          <p:nvPr/>
        </p:nvPicPr>
        <p:blipFill>
          <a:blip r:embed="rId13" cstate="print">
            <a:extLst>
              <a:ext uri="{28A0092B-C50C-407E-A947-70E740481C1C}">
                <a14:useLocalDpi xmlns:a14="http://schemas.microsoft.com/office/drawing/2010/main"/>
              </a:ext>
            </a:extLst>
          </a:blip>
          <a:srcRect/>
          <a:stretch>
            <a:fillRect/>
          </a:stretch>
        </p:blipFill>
        <p:spPr bwMode="auto">
          <a:xfrm>
            <a:off x="8017122" y="4731546"/>
            <a:ext cx="934915" cy="2559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19" name="Line 23"/>
          <p:cNvSpPr>
            <a:spLocks noChangeShapeType="1"/>
          </p:cNvSpPr>
          <p:nvPr/>
        </p:nvSpPr>
        <p:spPr bwMode="auto">
          <a:xfrm>
            <a:off x="2568822" y="4875610"/>
            <a:ext cx="5240215" cy="0"/>
          </a:xfrm>
          <a:prstGeom prst="line">
            <a:avLst/>
          </a:prstGeom>
          <a:noFill/>
          <a:ln w="12700">
            <a:solidFill>
              <a:schemeClr val="accent1"/>
            </a:solidFill>
            <a:round/>
            <a:headEnd/>
            <a:tailEnd/>
          </a:ln>
          <a:effectLst/>
        </p:spPr>
        <p:txBody>
          <a:bodyPr lIns="77907" tIns="38953" rIns="77907" bIns="38953"/>
          <a:lstStyle/>
          <a:p>
            <a:pPr fontAlgn="base">
              <a:spcBef>
                <a:spcPct val="0"/>
              </a:spcBef>
              <a:spcAft>
                <a:spcPct val="0"/>
              </a:spcAft>
              <a:defRPr/>
            </a:pPr>
            <a:endParaRPr lang="en-US" sz="1500">
              <a:solidFill>
                <a:srgbClr val="000000"/>
              </a:solidFill>
              <a:ea typeface="Arial" charset="0"/>
            </a:endParaRPr>
          </a:p>
        </p:txBody>
      </p:sp>
      <p:sp>
        <p:nvSpPr>
          <p:cNvPr id="4120" name="Rectangle 24"/>
          <p:cNvSpPr>
            <a:spLocks noChangeArrowheads="1"/>
          </p:cNvSpPr>
          <p:nvPr/>
        </p:nvSpPr>
        <p:spPr bwMode="auto">
          <a:xfrm>
            <a:off x="0" y="1078707"/>
            <a:ext cx="9144000" cy="3427810"/>
          </a:xfrm>
          <a:prstGeom prst="rect">
            <a:avLst/>
          </a:prstGeom>
          <a:solidFill>
            <a:srgbClr val="EAEAEA"/>
          </a:solidFill>
          <a:ln w="9525">
            <a:noFill/>
            <a:miter lim="800000"/>
            <a:headEnd/>
            <a:tailEnd/>
          </a:ln>
          <a:effectLst/>
        </p:spPr>
        <p:txBody>
          <a:bodyPr wrap="none" lIns="77907" tIns="38953" rIns="77907" bIns="38953" anchor="ctr"/>
          <a:lstStyle/>
          <a:p>
            <a:pPr fontAlgn="base">
              <a:spcBef>
                <a:spcPct val="0"/>
              </a:spcBef>
              <a:spcAft>
                <a:spcPct val="0"/>
              </a:spcAft>
              <a:defRPr/>
            </a:pPr>
            <a:endParaRPr lang="en-US" sz="1500">
              <a:solidFill>
                <a:srgbClr val="000000"/>
              </a:solidFill>
              <a:ea typeface="Arial" charset="0"/>
            </a:endParaRPr>
          </a:p>
        </p:txBody>
      </p:sp>
      <p:sp>
        <p:nvSpPr>
          <p:cNvPr id="435225" name="Rectangle 25"/>
          <p:cNvSpPr>
            <a:spLocks noGrp="1" noChangeArrowheads="1"/>
          </p:cNvSpPr>
          <p:nvPr>
            <p:ph type="body" idx="1"/>
          </p:nvPr>
        </p:nvSpPr>
        <p:spPr bwMode="auto">
          <a:xfrm>
            <a:off x="404446" y="1579962"/>
            <a:ext cx="8307266" cy="29313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Klicka här för att ändra format på bakgrundstexten</a:t>
            </a:r>
          </a:p>
          <a:p>
            <a:pPr lvl="1"/>
            <a:r>
              <a:rPr lang="en-US"/>
              <a:t>Nivå två</a:t>
            </a:r>
          </a:p>
          <a:p>
            <a:pPr lvl="2"/>
            <a:r>
              <a:rPr lang="en-US"/>
              <a:t>Nivå tre</a:t>
            </a:r>
          </a:p>
          <a:p>
            <a:pPr lvl="3"/>
            <a:r>
              <a:rPr lang="en-US"/>
              <a:t>Nivå fyra</a:t>
            </a:r>
          </a:p>
          <a:p>
            <a:pPr lvl="4"/>
            <a:r>
              <a:rPr lang="en-US"/>
              <a:t>Nivå fem</a:t>
            </a:r>
          </a:p>
        </p:txBody>
      </p:sp>
      <p:sp>
        <p:nvSpPr>
          <p:cNvPr id="4122" name="Line 26"/>
          <p:cNvSpPr>
            <a:spLocks noChangeShapeType="1"/>
          </p:cNvSpPr>
          <p:nvPr/>
        </p:nvSpPr>
        <p:spPr bwMode="auto">
          <a:xfrm>
            <a:off x="565638" y="4801792"/>
            <a:ext cx="0" cy="128588"/>
          </a:xfrm>
          <a:prstGeom prst="line">
            <a:avLst/>
          </a:prstGeom>
          <a:noFill/>
          <a:ln w="6350">
            <a:solidFill>
              <a:schemeClr val="tx1"/>
            </a:solidFill>
            <a:round/>
            <a:headEnd/>
            <a:tailEnd/>
          </a:ln>
          <a:effectLst/>
        </p:spPr>
        <p:txBody>
          <a:bodyPr lIns="77907" tIns="38953" rIns="77907" bIns="38953"/>
          <a:lstStyle/>
          <a:p>
            <a:pPr fontAlgn="base">
              <a:spcBef>
                <a:spcPct val="0"/>
              </a:spcBef>
              <a:spcAft>
                <a:spcPct val="0"/>
              </a:spcAft>
              <a:defRPr/>
            </a:pPr>
            <a:endParaRPr lang="en-US" sz="1500">
              <a:solidFill>
                <a:srgbClr val="000000"/>
              </a:solidFill>
              <a:ea typeface="Arial" charset="0"/>
            </a:endParaRPr>
          </a:p>
        </p:txBody>
      </p:sp>
      <p:sp>
        <p:nvSpPr>
          <p:cNvPr id="4123" name="Text Box 27"/>
          <p:cNvSpPr txBox="1">
            <a:spLocks noChangeArrowheads="1"/>
          </p:cNvSpPr>
          <p:nvPr/>
        </p:nvSpPr>
        <p:spPr bwMode="auto">
          <a:xfrm>
            <a:off x="679939" y="4814889"/>
            <a:ext cx="1771650" cy="102394"/>
          </a:xfrm>
          <a:prstGeom prst="rect">
            <a:avLst/>
          </a:prstGeom>
          <a:noFill/>
          <a:ln w="9525">
            <a:noFill/>
            <a:miter lim="800000"/>
            <a:headEnd/>
            <a:tailEnd/>
          </a:ln>
          <a:effectLst/>
        </p:spPr>
        <p:txBody>
          <a:bodyPr wrap="none" lIns="0" tIns="0" rIns="0" bIns="0" anchor="ctr"/>
          <a:lstStyle/>
          <a:p>
            <a:pPr fontAlgn="base">
              <a:spcBef>
                <a:spcPct val="50000"/>
              </a:spcBef>
              <a:spcAft>
                <a:spcPct val="0"/>
              </a:spcAft>
              <a:defRPr/>
            </a:pPr>
            <a:r>
              <a:rPr lang="sv-SE" sz="800" b="1">
                <a:solidFill>
                  <a:srgbClr val="000000"/>
                </a:solidFill>
                <a:ea typeface="Arial" charset="0"/>
              </a:rPr>
              <a:t>Sandvik Mining and Construction</a:t>
            </a:r>
          </a:p>
        </p:txBody>
      </p:sp>
      <p:sp>
        <p:nvSpPr>
          <p:cNvPr id="4131" name="Line 35"/>
          <p:cNvSpPr>
            <a:spLocks noChangeShapeType="1"/>
          </p:cNvSpPr>
          <p:nvPr/>
        </p:nvSpPr>
        <p:spPr bwMode="auto">
          <a:xfrm>
            <a:off x="1140069" y="5143500"/>
            <a:ext cx="0" cy="95250"/>
          </a:xfrm>
          <a:prstGeom prst="line">
            <a:avLst/>
          </a:prstGeom>
          <a:noFill/>
          <a:ln w="3175">
            <a:solidFill>
              <a:schemeClr val="bg1"/>
            </a:solidFill>
            <a:round/>
            <a:headEnd/>
            <a:tailEnd/>
          </a:ln>
          <a:effectLst/>
        </p:spPr>
        <p:txBody>
          <a:bodyPr lIns="77907" tIns="38953" rIns="77907" bIns="38953"/>
          <a:lstStyle/>
          <a:p>
            <a:pPr fontAlgn="base">
              <a:spcBef>
                <a:spcPct val="0"/>
              </a:spcBef>
              <a:spcAft>
                <a:spcPct val="0"/>
              </a:spcAft>
              <a:defRPr/>
            </a:pPr>
            <a:endParaRPr lang="en-US" sz="1500">
              <a:solidFill>
                <a:srgbClr val="000000"/>
              </a:solidFill>
              <a:ea typeface="Arial" charset="0"/>
            </a:endParaRPr>
          </a:p>
        </p:txBody>
      </p:sp>
      <p:sp>
        <p:nvSpPr>
          <p:cNvPr id="4132" name="Line 36"/>
          <p:cNvSpPr>
            <a:spLocks noChangeShapeType="1"/>
          </p:cNvSpPr>
          <p:nvPr/>
        </p:nvSpPr>
        <p:spPr bwMode="auto">
          <a:xfrm>
            <a:off x="3430466" y="5143500"/>
            <a:ext cx="0" cy="95250"/>
          </a:xfrm>
          <a:prstGeom prst="line">
            <a:avLst/>
          </a:prstGeom>
          <a:noFill/>
          <a:ln w="3175">
            <a:solidFill>
              <a:schemeClr val="bg1"/>
            </a:solidFill>
            <a:round/>
            <a:headEnd/>
            <a:tailEnd/>
          </a:ln>
          <a:effectLst/>
        </p:spPr>
        <p:txBody>
          <a:bodyPr lIns="77907" tIns="38953" rIns="77907" bIns="38953"/>
          <a:lstStyle/>
          <a:p>
            <a:pPr fontAlgn="base">
              <a:spcBef>
                <a:spcPct val="0"/>
              </a:spcBef>
              <a:spcAft>
                <a:spcPct val="0"/>
              </a:spcAft>
              <a:defRPr/>
            </a:pPr>
            <a:endParaRPr lang="en-US" sz="1500">
              <a:solidFill>
                <a:srgbClr val="000000"/>
              </a:solidFill>
              <a:ea typeface="Arial" charset="0"/>
            </a:endParaRPr>
          </a:p>
        </p:txBody>
      </p:sp>
      <p:sp>
        <p:nvSpPr>
          <p:cNvPr id="4133" name="Line 37"/>
          <p:cNvSpPr>
            <a:spLocks noChangeShapeType="1"/>
          </p:cNvSpPr>
          <p:nvPr/>
        </p:nvSpPr>
        <p:spPr bwMode="auto">
          <a:xfrm>
            <a:off x="5715000" y="5143500"/>
            <a:ext cx="0" cy="95250"/>
          </a:xfrm>
          <a:prstGeom prst="line">
            <a:avLst/>
          </a:prstGeom>
          <a:noFill/>
          <a:ln w="3175">
            <a:solidFill>
              <a:schemeClr val="bg1"/>
            </a:solidFill>
            <a:round/>
            <a:headEnd/>
            <a:tailEnd/>
          </a:ln>
          <a:effectLst/>
        </p:spPr>
        <p:txBody>
          <a:bodyPr lIns="77907" tIns="38953" rIns="77907" bIns="38953"/>
          <a:lstStyle/>
          <a:p>
            <a:pPr fontAlgn="base">
              <a:spcBef>
                <a:spcPct val="0"/>
              </a:spcBef>
              <a:spcAft>
                <a:spcPct val="0"/>
              </a:spcAft>
              <a:defRPr/>
            </a:pPr>
            <a:endParaRPr lang="en-US" sz="1500">
              <a:solidFill>
                <a:srgbClr val="000000"/>
              </a:solidFill>
              <a:ea typeface="Arial" charset="0"/>
            </a:endParaRPr>
          </a:p>
        </p:txBody>
      </p:sp>
      <p:sp>
        <p:nvSpPr>
          <p:cNvPr id="4134" name="Line 38"/>
          <p:cNvSpPr>
            <a:spLocks noChangeShapeType="1"/>
          </p:cNvSpPr>
          <p:nvPr/>
        </p:nvSpPr>
        <p:spPr bwMode="auto">
          <a:xfrm>
            <a:off x="8001000" y="5143500"/>
            <a:ext cx="0" cy="95250"/>
          </a:xfrm>
          <a:prstGeom prst="line">
            <a:avLst/>
          </a:prstGeom>
          <a:noFill/>
          <a:ln w="3175">
            <a:solidFill>
              <a:schemeClr val="bg1"/>
            </a:solidFill>
            <a:round/>
            <a:headEnd/>
            <a:tailEnd/>
          </a:ln>
          <a:effectLst/>
        </p:spPr>
        <p:txBody>
          <a:bodyPr lIns="77907" tIns="38953" rIns="77907" bIns="38953"/>
          <a:lstStyle/>
          <a:p>
            <a:pPr fontAlgn="base">
              <a:spcBef>
                <a:spcPct val="0"/>
              </a:spcBef>
              <a:spcAft>
                <a:spcPct val="0"/>
              </a:spcAft>
              <a:defRPr/>
            </a:pPr>
            <a:endParaRPr lang="en-US" sz="1500">
              <a:solidFill>
                <a:srgbClr val="000000"/>
              </a:solidFill>
              <a:ea typeface="Arial" charset="0"/>
            </a:endParaRPr>
          </a:p>
        </p:txBody>
      </p:sp>
      <p:sp>
        <p:nvSpPr>
          <p:cNvPr id="4135" name="Line 39"/>
          <p:cNvSpPr>
            <a:spLocks noChangeShapeType="1"/>
          </p:cNvSpPr>
          <p:nvPr/>
        </p:nvSpPr>
        <p:spPr bwMode="auto">
          <a:xfrm>
            <a:off x="2287466" y="5143500"/>
            <a:ext cx="0" cy="95250"/>
          </a:xfrm>
          <a:prstGeom prst="line">
            <a:avLst/>
          </a:prstGeom>
          <a:noFill/>
          <a:ln w="3175">
            <a:solidFill>
              <a:schemeClr val="bg1"/>
            </a:solidFill>
            <a:round/>
            <a:headEnd/>
            <a:tailEnd/>
          </a:ln>
          <a:effectLst/>
        </p:spPr>
        <p:txBody>
          <a:bodyPr lIns="77907" tIns="38953" rIns="77907" bIns="38953"/>
          <a:lstStyle/>
          <a:p>
            <a:pPr fontAlgn="base">
              <a:spcBef>
                <a:spcPct val="0"/>
              </a:spcBef>
              <a:spcAft>
                <a:spcPct val="0"/>
              </a:spcAft>
              <a:defRPr/>
            </a:pPr>
            <a:endParaRPr lang="en-US" sz="1500">
              <a:solidFill>
                <a:srgbClr val="000000"/>
              </a:solidFill>
              <a:ea typeface="Arial" charset="0"/>
            </a:endParaRPr>
          </a:p>
        </p:txBody>
      </p:sp>
      <p:sp>
        <p:nvSpPr>
          <p:cNvPr id="4136" name="Line 40"/>
          <p:cNvSpPr>
            <a:spLocks noChangeShapeType="1"/>
          </p:cNvSpPr>
          <p:nvPr/>
        </p:nvSpPr>
        <p:spPr bwMode="auto">
          <a:xfrm>
            <a:off x="4573466" y="5143500"/>
            <a:ext cx="0" cy="95250"/>
          </a:xfrm>
          <a:prstGeom prst="line">
            <a:avLst/>
          </a:prstGeom>
          <a:noFill/>
          <a:ln w="3175">
            <a:solidFill>
              <a:schemeClr val="bg1"/>
            </a:solidFill>
            <a:round/>
            <a:headEnd/>
            <a:tailEnd/>
          </a:ln>
          <a:effectLst/>
        </p:spPr>
        <p:txBody>
          <a:bodyPr lIns="77907" tIns="38953" rIns="77907" bIns="38953"/>
          <a:lstStyle/>
          <a:p>
            <a:pPr fontAlgn="base">
              <a:spcBef>
                <a:spcPct val="0"/>
              </a:spcBef>
              <a:spcAft>
                <a:spcPct val="0"/>
              </a:spcAft>
              <a:defRPr/>
            </a:pPr>
            <a:endParaRPr lang="en-US" sz="1500">
              <a:solidFill>
                <a:srgbClr val="000000"/>
              </a:solidFill>
              <a:ea typeface="Arial" charset="0"/>
            </a:endParaRPr>
          </a:p>
        </p:txBody>
      </p:sp>
      <p:sp>
        <p:nvSpPr>
          <p:cNvPr id="4137" name="Line 41"/>
          <p:cNvSpPr>
            <a:spLocks noChangeShapeType="1"/>
          </p:cNvSpPr>
          <p:nvPr/>
        </p:nvSpPr>
        <p:spPr bwMode="auto">
          <a:xfrm>
            <a:off x="6858000" y="5143500"/>
            <a:ext cx="0" cy="95250"/>
          </a:xfrm>
          <a:prstGeom prst="line">
            <a:avLst/>
          </a:prstGeom>
          <a:noFill/>
          <a:ln w="3175">
            <a:solidFill>
              <a:schemeClr val="bg1"/>
            </a:solidFill>
            <a:round/>
            <a:headEnd/>
            <a:tailEnd/>
          </a:ln>
          <a:effectLst/>
        </p:spPr>
        <p:txBody>
          <a:bodyPr lIns="77907" tIns="38953" rIns="77907" bIns="38953"/>
          <a:lstStyle/>
          <a:p>
            <a:pPr fontAlgn="base">
              <a:spcBef>
                <a:spcPct val="0"/>
              </a:spcBef>
              <a:spcAft>
                <a:spcPct val="0"/>
              </a:spcAft>
              <a:defRPr/>
            </a:pPr>
            <a:endParaRPr lang="en-US" sz="1500">
              <a:solidFill>
                <a:srgbClr val="000000"/>
              </a:solidFill>
              <a:ea typeface="Arial" charset="0"/>
            </a:endParaRPr>
          </a:p>
        </p:txBody>
      </p:sp>
    </p:spTree>
    <p:extLst>
      <p:ext uri="{BB962C8B-B14F-4D97-AF65-F5344CB8AC3E}">
        <p14:creationId xmlns:p14="http://schemas.microsoft.com/office/powerpoint/2010/main" val="1847735494"/>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marL="612710" indent="-612710" algn="l" rtl="0" fontAlgn="base">
        <a:lnSpc>
          <a:spcPts val="2216"/>
        </a:lnSpc>
        <a:spcBef>
          <a:spcPct val="0"/>
        </a:spcBef>
        <a:spcAft>
          <a:spcPct val="0"/>
        </a:spcAft>
        <a:tabLst>
          <a:tab pos="608651" algn="l"/>
        </a:tabLst>
        <a:defRPr sz="2400" b="1">
          <a:solidFill>
            <a:schemeClr val="accent1"/>
          </a:solidFill>
          <a:latin typeface="+mj-lt"/>
          <a:ea typeface="+mj-ea"/>
          <a:cs typeface="+mj-cs"/>
        </a:defRPr>
      </a:lvl1pPr>
      <a:lvl2pPr marL="612710" indent="-612710" algn="l" rtl="0" fontAlgn="base">
        <a:lnSpc>
          <a:spcPts val="2216"/>
        </a:lnSpc>
        <a:spcBef>
          <a:spcPct val="0"/>
        </a:spcBef>
        <a:spcAft>
          <a:spcPct val="0"/>
        </a:spcAft>
        <a:tabLst>
          <a:tab pos="608651" algn="l"/>
        </a:tabLst>
        <a:defRPr sz="2400" b="1">
          <a:solidFill>
            <a:schemeClr val="accent1"/>
          </a:solidFill>
          <a:latin typeface="Gill Sans MT" pitchFamily="34" charset="0"/>
          <a:cs typeface="Arial" charset="0"/>
        </a:defRPr>
      </a:lvl2pPr>
      <a:lvl3pPr marL="612710" indent="-612710" algn="l" rtl="0" fontAlgn="base">
        <a:lnSpc>
          <a:spcPts val="2216"/>
        </a:lnSpc>
        <a:spcBef>
          <a:spcPct val="0"/>
        </a:spcBef>
        <a:spcAft>
          <a:spcPct val="0"/>
        </a:spcAft>
        <a:tabLst>
          <a:tab pos="608651" algn="l"/>
        </a:tabLst>
        <a:defRPr sz="2400" b="1">
          <a:solidFill>
            <a:schemeClr val="accent1"/>
          </a:solidFill>
          <a:latin typeface="Gill Sans MT" pitchFamily="34" charset="0"/>
          <a:cs typeface="Arial" charset="0"/>
        </a:defRPr>
      </a:lvl3pPr>
      <a:lvl4pPr marL="612710" indent="-612710" algn="l" rtl="0" fontAlgn="base">
        <a:lnSpc>
          <a:spcPts val="2216"/>
        </a:lnSpc>
        <a:spcBef>
          <a:spcPct val="0"/>
        </a:spcBef>
        <a:spcAft>
          <a:spcPct val="0"/>
        </a:spcAft>
        <a:tabLst>
          <a:tab pos="608651" algn="l"/>
        </a:tabLst>
        <a:defRPr sz="2400" b="1">
          <a:solidFill>
            <a:schemeClr val="accent1"/>
          </a:solidFill>
          <a:latin typeface="Gill Sans MT" pitchFamily="34" charset="0"/>
          <a:cs typeface="Arial" charset="0"/>
        </a:defRPr>
      </a:lvl4pPr>
      <a:lvl5pPr marL="612710" indent="-612710" algn="l" rtl="0" fontAlgn="base">
        <a:lnSpc>
          <a:spcPts val="2216"/>
        </a:lnSpc>
        <a:spcBef>
          <a:spcPct val="0"/>
        </a:spcBef>
        <a:spcAft>
          <a:spcPct val="0"/>
        </a:spcAft>
        <a:tabLst>
          <a:tab pos="608651" algn="l"/>
        </a:tabLst>
        <a:defRPr sz="2400" b="1">
          <a:solidFill>
            <a:schemeClr val="accent1"/>
          </a:solidFill>
          <a:latin typeface="Gill Sans MT" pitchFamily="34" charset="0"/>
          <a:cs typeface="Arial" charset="0"/>
        </a:defRPr>
      </a:lvl5pPr>
      <a:lvl6pPr marL="1002247" indent="-612710" algn="l" rtl="0" fontAlgn="base">
        <a:lnSpc>
          <a:spcPts val="2216"/>
        </a:lnSpc>
        <a:spcBef>
          <a:spcPct val="0"/>
        </a:spcBef>
        <a:spcAft>
          <a:spcPct val="0"/>
        </a:spcAft>
        <a:tabLst>
          <a:tab pos="608651" algn="l"/>
        </a:tabLst>
        <a:defRPr sz="2400" b="1">
          <a:solidFill>
            <a:schemeClr val="accent1"/>
          </a:solidFill>
          <a:latin typeface="Gill Sans MT" pitchFamily="34" charset="0"/>
          <a:cs typeface="Arial" charset="0"/>
        </a:defRPr>
      </a:lvl6pPr>
      <a:lvl7pPr marL="1391785" indent="-612710" algn="l" rtl="0" fontAlgn="base">
        <a:lnSpc>
          <a:spcPts val="2216"/>
        </a:lnSpc>
        <a:spcBef>
          <a:spcPct val="0"/>
        </a:spcBef>
        <a:spcAft>
          <a:spcPct val="0"/>
        </a:spcAft>
        <a:tabLst>
          <a:tab pos="608651" algn="l"/>
        </a:tabLst>
        <a:defRPr sz="2400" b="1">
          <a:solidFill>
            <a:schemeClr val="accent1"/>
          </a:solidFill>
          <a:latin typeface="Gill Sans MT" pitchFamily="34" charset="0"/>
          <a:cs typeface="Arial" charset="0"/>
        </a:defRPr>
      </a:lvl7pPr>
      <a:lvl8pPr marL="1781321" indent="-612710" algn="l" rtl="0" fontAlgn="base">
        <a:lnSpc>
          <a:spcPts val="2216"/>
        </a:lnSpc>
        <a:spcBef>
          <a:spcPct val="0"/>
        </a:spcBef>
        <a:spcAft>
          <a:spcPct val="0"/>
        </a:spcAft>
        <a:tabLst>
          <a:tab pos="608651" algn="l"/>
        </a:tabLst>
        <a:defRPr sz="2400" b="1">
          <a:solidFill>
            <a:schemeClr val="accent1"/>
          </a:solidFill>
          <a:latin typeface="Gill Sans MT" pitchFamily="34" charset="0"/>
          <a:cs typeface="Arial" charset="0"/>
        </a:defRPr>
      </a:lvl8pPr>
      <a:lvl9pPr marL="2170859" indent="-612710" algn="l" rtl="0" fontAlgn="base">
        <a:lnSpc>
          <a:spcPts val="2216"/>
        </a:lnSpc>
        <a:spcBef>
          <a:spcPct val="0"/>
        </a:spcBef>
        <a:spcAft>
          <a:spcPct val="0"/>
        </a:spcAft>
        <a:tabLst>
          <a:tab pos="608651" algn="l"/>
        </a:tabLst>
        <a:defRPr sz="2400" b="1">
          <a:solidFill>
            <a:schemeClr val="accent1"/>
          </a:solidFill>
          <a:latin typeface="Gill Sans MT" pitchFamily="34" charset="0"/>
          <a:cs typeface="Arial" charset="0"/>
        </a:defRPr>
      </a:lvl9pPr>
    </p:titleStyle>
    <p:bodyStyle>
      <a:lvl1pPr marL="252930" indent="-252930" algn="l" rtl="0" fontAlgn="base">
        <a:lnSpc>
          <a:spcPts val="2044"/>
        </a:lnSpc>
        <a:spcBef>
          <a:spcPct val="0"/>
        </a:spcBef>
        <a:spcAft>
          <a:spcPct val="0"/>
        </a:spcAft>
        <a:buClr>
          <a:schemeClr val="tx2"/>
        </a:buClr>
        <a:buSzPct val="70000"/>
        <a:buFont typeface="Wingdings 2" pitchFamily="18" charset="2"/>
        <a:buChar char="¢"/>
        <a:defRPr sz="1700">
          <a:solidFill>
            <a:schemeClr val="tx1"/>
          </a:solidFill>
          <a:latin typeface="+mn-lt"/>
          <a:ea typeface="+mn-ea"/>
          <a:cs typeface="+mn-cs"/>
        </a:defRPr>
      </a:lvl1pPr>
      <a:lvl2pPr marL="462577" indent="-208296" algn="l" rtl="0" fontAlgn="base">
        <a:spcBef>
          <a:spcPct val="20000"/>
        </a:spcBef>
        <a:spcAft>
          <a:spcPct val="0"/>
        </a:spcAft>
        <a:buFont typeface="Arial" charset="0"/>
        <a:buChar char="−"/>
        <a:defRPr sz="2400">
          <a:solidFill>
            <a:schemeClr val="tx1"/>
          </a:solidFill>
          <a:latin typeface="+mn-lt"/>
          <a:ea typeface="MS PGothic" pitchFamily="34" charset="-128"/>
          <a:cs typeface="+mn-cs"/>
        </a:defRPr>
      </a:lvl2pPr>
      <a:lvl3pPr marL="689805" indent="-225877" algn="l" rtl="0" fontAlgn="base">
        <a:spcBef>
          <a:spcPct val="20000"/>
        </a:spcBef>
        <a:spcAft>
          <a:spcPct val="0"/>
        </a:spcAft>
        <a:buFont typeface="Arial" charset="0"/>
        <a:buChar char="−"/>
        <a:defRPr sz="1000">
          <a:solidFill>
            <a:schemeClr val="tx1"/>
          </a:solidFill>
          <a:latin typeface="+mn-lt"/>
          <a:ea typeface="MS PGothic" pitchFamily="34" charset="-128"/>
          <a:cs typeface="+mn-cs"/>
        </a:defRPr>
      </a:lvl3pPr>
      <a:lvl4pPr marL="900804" indent="-209647" algn="l" rtl="0" fontAlgn="base">
        <a:spcBef>
          <a:spcPct val="20000"/>
        </a:spcBef>
        <a:spcAft>
          <a:spcPct val="0"/>
        </a:spcAft>
        <a:buFont typeface="Arial" charset="0"/>
        <a:buChar char="−"/>
        <a:defRPr sz="1000">
          <a:solidFill>
            <a:schemeClr val="tx1"/>
          </a:solidFill>
          <a:latin typeface="+mn-lt"/>
          <a:ea typeface="MS PGothic" pitchFamily="34" charset="-128"/>
          <a:cs typeface="+mn-cs"/>
        </a:defRPr>
      </a:lvl4pPr>
      <a:lvl5pPr marL="1141560" indent="-239403" algn="l" rtl="0" fontAlgn="base">
        <a:spcBef>
          <a:spcPct val="20000"/>
        </a:spcBef>
        <a:spcAft>
          <a:spcPct val="0"/>
        </a:spcAft>
        <a:buFont typeface="Arial" charset="0"/>
        <a:buChar char="−"/>
        <a:defRPr sz="1000">
          <a:solidFill>
            <a:schemeClr val="tx1"/>
          </a:solidFill>
          <a:latin typeface="+mn-lt"/>
          <a:ea typeface="MS PGothic" pitchFamily="34" charset="-128"/>
          <a:cs typeface="+mn-cs"/>
        </a:defRPr>
      </a:lvl5pPr>
      <a:lvl6pPr marL="1531097" indent="-239403" algn="l" rtl="0" fontAlgn="base">
        <a:spcBef>
          <a:spcPct val="20000"/>
        </a:spcBef>
        <a:spcAft>
          <a:spcPct val="0"/>
        </a:spcAft>
        <a:buFont typeface="Arial" charset="0"/>
        <a:buChar char="−"/>
        <a:defRPr sz="1000">
          <a:solidFill>
            <a:schemeClr val="tx1"/>
          </a:solidFill>
          <a:latin typeface="+mn-lt"/>
          <a:ea typeface="MS PGothic" pitchFamily="34" charset="-128"/>
          <a:cs typeface="+mn-cs"/>
        </a:defRPr>
      </a:lvl6pPr>
      <a:lvl7pPr marL="1920636" indent="-239403" algn="l" rtl="0" fontAlgn="base">
        <a:spcBef>
          <a:spcPct val="20000"/>
        </a:spcBef>
        <a:spcAft>
          <a:spcPct val="0"/>
        </a:spcAft>
        <a:buFont typeface="Arial" charset="0"/>
        <a:buChar char="−"/>
        <a:defRPr sz="1000">
          <a:solidFill>
            <a:schemeClr val="tx1"/>
          </a:solidFill>
          <a:latin typeface="+mn-lt"/>
          <a:ea typeface="MS PGothic" pitchFamily="34" charset="-128"/>
          <a:cs typeface="+mn-cs"/>
        </a:defRPr>
      </a:lvl7pPr>
      <a:lvl8pPr marL="2310172" indent="-239403" algn="l" rtl="0" fontAlgn="base">
        <a:spcBef>
          <a:spcPct val="20000"/>
        </a:spcBef>
        <a:spcAft>
          <a:spcPct val="0"/>
        </a:spcAft>
        <a:buFont typeface="Arial" charset="0"/>
        <a:buChar char="−"/>
        <a:defRPr sz="1000">
          <a:solidFill>
            <a:schemeClr val="tx1"/>
          </a:solidFill>
          <a:latin typeface="+mn-lt"/>
          <a:ea typeface="MS PGothic" pitchFamily="34" charset="-128"/>
          <a:cs typeface="+mn-cs"/>
        </a:defRPr>
      </a:lvl8pPr>
      <a:lvl9pPr marL="2699710" indent="-239403" algn="l" rtl="0" fontAlgn="base">
        <a:spcBef>
          <a:spcPct val="20000"/>
        </a:spcBef>
        <a:spcAft>
          <a:spcPct val="0"/>
        </a:spcAft>
        <a:buFont typeface="Arial" charset="0"/>
        <a:buChar char="−"/>
        <a:defRPr sz="1000">
          <a:solidFill>
            <a:schemeClr val="tx1"/>
          </a:solidFill>
          <a:latin typeface="+mn-lt"/>
          <a:ea typeface="MS PGothic" pitchFamily="34" charset="-128"/>
          <a:cs typeface="+mn-cs"/>
        </a:defRPr>
      </a:lvl9pPr>
    </p:bodyStyle>
    <p:otherStyle>
      <a:defPPr>
        <a:defRPr lang="en-US"/>
      </a:defPPr>
      <a:lvl1pPr marL="0" algn="l" defTabSz="779074" rtl="0" eaLnBrk="1" latinLnBrk="0" hangingPunct="1">
        <a:defRPr sz="1500" kern="1200">
          <a:solidFill>
            <a:schemeClr val="tx1"/>
          </a:solidFill>
          <a:latin typeface="+mn-lt"/>
          <a:ea typeface="+mn-ea"/>
          <a:cs typeface="+mn-cs"/>
        </a:defRPr>
      </a:lvl1pPr>
      <a:lvl2pPr marL="389538" algn="l" defTabSz="779074" rtl="0" eaLnBrk="1" latinLnBrk="0" hangingPunct="1">
        <a:defRPr sz="1500" kern="1200">
          <a:solidFill>
            <a:schemeClr val="tx1"/>
          </a:solidFill>
          <a:latin typeface="+mn-lt"/>
          <a:ea typeface="+mn-ea"/>
          <a:cs typeface="+mn-cs"/>
        </a:defRPr>
      </a:lvl2pPr>
      <a:lvl3pPr marL="779074" algn="l" defTabSz="779074" rtl="0" eaLnBrk="1" latinLnBrk="0" hangingPunct="1">
        <a:defRPr sz="1500" kern="1200">
          <a:solidFill>
            <a:schemeClr val="tx1"/>
          </a:solidFill>
          <a:latin typeface="+mn-lt"/>
          <a:ea typeface="+mn-ea"/>
          <a:cs typeface="+mn-cs"/>
        </a:defRPr>
      </a:lvl3pPr>
      <a:lvl4pPr marL="1168612" algn="l" defTabSz="779074" rtl="0" eaLnBrk="1" latinLnBrk="0" hangingPunct="1">
        <a:defRPr sz="1500" kern="1200">
          <a:solidFill>
            <a:schemeClr val="tx1"/>
          </a:solidFill>
          <a:latin typeface="+mn-lt"/>
          <a:ea typeface="+mn-ea"/>
          <a:cs typeface="+mn-cs"/>
        </a:defRPr>
      </a:lvl4pPr>
      <a:lvl5pPr marL="1558149" algn="l" defTabSz="779074" rtl="0" eaLnBrk="1" latinLnBrk="0" hangingPunct="1">
        <a:defRPr sz="1500" kern="1200">
          <a:solidFill>
            <a:schemeClr val="tx1"/>
          </a:solidFill>
          <a:latin typeface="+mn-lt"/>
          <a:ea typeface="+mn-ea"/>
          <a:cs typeface="+mn-cs"/>
        </a:defRPr>
      </a:lvl5pPr>
      <a:lvl6pPr marL="1947686" algn="l" defTabSz="779074" rtl="0" eaLnBrk="1" latinLnBrk="0" hangingPunct="1">
        <a:defRPr sz="1500" kern="1200">
          <a:solidFill>
            <a:schemeClr val="tx1"/>
          </a:solidFill>
          <a:latin typeface="+mn-lt"/>
          <a:ea typeface="+mn-ea"/>
          <a:cs typeface="+mn-cs"/>
        </a:defRPr>
      </a:lvl6pPr>
      <a:lvl7pPr marL="2337223" algn="l" defTabSz="779074" rtl="0" eaLnBrk="1" latinLnBrk="0" hangingPunct="1">
        <a:defRPr sz="1500" kern="1200">
          <a:solidFill>
            <a:schemeClr val="tx1"/>
          </a:solidFill>
          <a:latin typeface="+mn-lt"/>
          <a:ea typeface="+mn-ea"/>
          <a:cs typeface="+mn-cs"/>
        </a:defRPr>
      </a:lvl7pPr>
      <a:lvl8pPr marL="2726760" algn="l" defTabSz="779074" rtl="0" eaLnBrk="1" latinLnBrk="0" hangingPunct="1">
        <a:defRPr sz="1500" kern="1200">
          <a:solidFill>
            <a:schemeClr val="tx1"/>
          </a:solidFill>
          <a:latin typeface="+mn-lt"/>
          <a:ea typeface="+mn-ea"/>
          <a:cs typeface="+mn-cs"/>
        </a:defRPr>
      </a:lvl8pPr>
      <a:lvl9pPr marL="3116298" algn="l" defTabSz="779074" rtl="0" eaLnBrk="1" latinLnBrk="0" hangingPunct="1">
        <a:defRPr sz="15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098" name="Line 2"/>
          <p:cNvSpPr>
            <a:spLocks noChangeShapeType="1"/>
          </p:cNvSpPr>
          <p:nvPr/>
        </p:nvSpPr>
        <p:spPr bwMode="auto">
          <a:xfrm>
            <a:off x="-508488" y="1932385"/>
            <a:ext cx="9973409" cy="0"/>
          </a:xfrm>
          <a:prstGeom prst="line">
            <a:avLst/>
          </a:prstGeom>
          <a:noFill/>
          <a:ln w="3175">
            <a:solidFill>
              <a:schemeClr val="bg1"/>
            </a:solidFill>
            <a:round/>
            <a:headEnd/>
            <a:tailEnd/>
          </a:ln>
          <a:effectLst/>
        </p:spPr>
        <p:txBody>
          <a:bodyPr lIns="77916" tIns="38958" rIns="77916" bIns="38958"/>
          <a:lstStyle/>
          <a:p>
            <a:pPr defTabSz="914400" fontAlgn="base">
              <a:spcBef>
                <a:spcPct val="0"/>
              </a:spcBef>
              <a:spcAft>
                <a:spcPct val="0"/>
              </a:spcAft>
              <a:defRPr/>
            </a:pPr>
            <a:endParaRPr lang="en-US" sz="1500">
              <a:solidFill>
                <a:srgbClr val="000000"/>
              </a:solidFill>
              <a:ea typeface="Arial" charset="0"/>
            </a:endParaRPr>
          </a:p>
        </p:txBody>
      </p:sp>
      <p:sp>
        <p:nvSpPr>
          <p:cNvPr id="4099" name="Line 3"/>
          <p:cNvSpPr>
            <a:spLocks noChangeShapeType="1"/>
          </p:cNvSpPr>
          <p:nvPr/>
        </p:nvSpPr>
        <p:spPr bwMode="auto">
          <a:xfrm>
            <a:off x="1141535" y="-95250"/>
            <a:ext cx="0" cy="95250"/>
          </a:xfrm>
          <a:prstGeom prst="line">
            <a:avLst/>
          </a:prstGeom>
          <a:noFill/>
          <a:ln w="3175">
            <a:solidFill>
              <a:schemeClr val="bg1"/>
            </a:solidFill>
            <a:round/>
            <a:headEnd/>
            <a:tailEnd/>
          </a:ln>
          <a:effectLst/>
        </p:spPr>
        <p:txBody>
          <a:bodyPr lIns="77916" tIns="38958" rIns="77916" bIns="38958"/>
          <a:lstStyle/>
          <a:p>
            <a:pPr defTabSz="914400" fontAlgn="base">
              <a:spcBef>
                <a:spcPct val="0"/>
              </a:spcBef>
              <a:spcAft>
                <a:spcPct val="0"/>
              </a:spcAft>
              <a:defRPr/>
            </a:pPr>
            <a:endParaRPr lang="en-US" sz="1500">
              <a:solidFill>
                <a:srgbClr val="000000"/>
              </a:solidFill>
              <a:ea typeface="Arial" charset="0"/>
            </a:endParaRPr>
          </a:p>
        </p:txBody>
      </p:sp>
      <p:sp>
        <p:nvSpPr>
          <p:cNvPr id="4100" name="Line 4"/>
          <p:cNvSpPr>
            <a:spLocks noChangeShapeType="1"/>
          </p:cNvSpPr>
          <p:nvPr/>
        </p:nvSpPr>
        <p:spPr bwMode="auto">
          <a:xfrm>
            <a:off x="3427535" y="-95250"/>
            <a:ext cx="0" cy="95250"/>
          </a:xfrm>
          <a:prstGeom prst="line">
            <a:avLst/>
          </a:prstGeom>
          <a:noFill/>
          <a:ln w="3175">
            <a:solidFill>
              <a:schemeClr val="bg1"/>
            </a:solidFill>
            <a:round/>
            <a:headEnd/>
            <a:tailEnd/>
          </a:ln>
          <a:effectLst/>
        </p:spPr>
        <p:txBody>
          <a:bodyPr lIns="77916" tIns="38958" rIns="77916" bIns="38958"/>
          <a:lstStyle/>
          <a:p>
            <a:pPr defTabSz="914400" fontAlgn="base">
              <a:spcBef>
                <a:spcPct val="0"/>
              </a:spcBef>
              <a:spcAft>
                <a:spcPct val="0"/>
              </a:spcAft>
              <a:defRPr/>
            </a:pPr>
            <a:endParaRPr lang="en-US" sz="1500">
              <a:solidFill>
                <a:srgbClr val="000000"/>
              </a:solidFill>
              <a:ea typeface="Arial" charset="0"/>
            </a:endParaRPr>
          </a:p>
        </p:txBody>
      </p:sp>
      <p:sp>
        <p:nvSpPr>
          <p:cNvPr id="4101" name="Line 5"/>
          <p:cNvSpPr>
            <a:spLocks noChangeShapeType="1"/>
          </p:cNvSpPr>
          <p:nvPr/>
        </p:nvSpPr>
        <p:spPr bwMode="auto">
          <a:xfrm>
            <a:off x="5712069" y="-95250"/>
            <a:ext cx="0" cy="95250"/>
          </a:xfrm>
          <a:prstGeom prst="line">
            <a:avLst/>
          </a:prstGeom>
          <a:noFill/>
          <a:ln w="3175">
            <a:solidFill>
              <a:schemeClr val="bg1"/>
            </a:solidFill>
            <a:round/>
            <a:headEnd/>
            <a:tailEnd/>
          </a:ln>
          <a:effectLst/>
        </p:spPr>
        <p:txBody>
          <a:bodyPr lIns="77916" tIns="38958" rIns="77916" bIns="38958"/>
          <a:lstStyle/>
          <a:p>
            <a:pPr defTabSz="914400" fontAlgn="base">
              <a:spcBef>
                <a:spcPct val="0"/>
              </a:spcBef>
              <a:spcAft>
                <a:spcPct val="0"/>
              </a:spcAft>
              <a:defRPr/>
            </a:pPr>
            <a:endParaRPr lang="en-US" sz="1500">
              <a:solidFill>
                <a:srgbClr val="000000"/>
              </a:solidFill>
              <a:ea typeface="Arial" charset="0"/>
            </a:endParaRPr>
          </a:p>
        </p:txBody>
      </p:sp>
      <p:sp>
        <p:nvSpPr>
          <p:cNvPr id="4102" name="Line 6"/>
          <p:cNvSpPr>
            <a:spLocks noChangeShapeType="1"/>
          </p:cNvSpPr>
          <p:nvPr/>
        </p:nvSpPr>
        <p:spPr bwMode="auto">
          <a:xfrm>
            <a:off x="7998069" y="-95250"/>
            <a:ext cx="0" cy="95250"/>
          </a:xfrm>
          <a:prstGeom prst="line">
            <a:avLst/>
          </a:prstGeom>
          <a:noFill/>
          <a:ln w="3175">
            <a:solidFill>
              <a:schemeClr val="bg1"/>
            </a:solidFill>
            <a:round/>
            <a:headEnd/>
            <a:tailEnd/>
          </a:ln>
          <a:effectLst/>
        </p:spPr>
        <p:txBody>
          <a:bodyPr lIns="77916" tIns="38958" rIns="77916" bIns="38958"/>
          <a:lstStyle/>
          <a:p>
            <a:pPr defTabSz="914400" fontAlgn="base">
              <a:spcBef>
                <a:spcPct val="0"/>
              </a:spcBef>
              <a:spcAft>
                <a:spcPct val="0"/>
              </a:spcAft>
              <a:defRPr/>
            </a:pPr>
            <a:endParaRPr lang="en-US" sz="1500">
              <a:solidFill>
                <a:srgbClr val="000000"/>
              </a:solidFill>
              <a:ea typeface="Arial" charset="0"/>
            </a:endParaRPr>
          </a:p>
        </p:txBody>
      </p:sp>
      <p:sp>
        <p:nvSpPr>
          <p:cNvPr id="4103" name="Line 7"/>
          <p:cNvSpPr>
            <a:spLocks noChangeShapeType="1"/>
          </p:cNvSpPr>
          <p:nvPr/>
        </p:nvSpPr>
        <p:spPr bwMode="auto">
          <a:xfrm>
            <a:off x="-508487" y="1077516"/>
            <a:ext cx="10191750" cy="0"/>
          </a:xfrm>
          <a:prstGeom prst="line">
            <a:avLst/>
          </a:prstGeom>
          <a:noFill/>
          <a:ln w="3175">
            <a:solidFill>
              <a:schemeClr val="bg1"/>
            </a:solidFill>
            <a:round/>
            <a:headEnd/>
            <a:tailEnd/>
          </a:ln>
          <a:effectLst/>
        </p:spPr>
        <p:txBody>
          <a:bodyPr lIns="77916" tIns="38958" rIns="77916" bIns="38958"/>
          <a:lstStyle/>
          <a:p>
            <a:pPr defTabSz="914400" fontAlgn="base">
              <a:spcBef>
                <a:spcPct val="0"/>
              </a:spcBef>
              <a:spcAft>
                <a:spcPct val="0"/>
              </a:spcAft>
              <a:defRPr/>
            </a:pPr>
            <a:endParaRPr lang="en-US" sz="1500">
              <a:solidFill>
                <a:srgbClr val="000000"/>
              </a:solidFill>
              <a:ea typeface="Arial" charset="0"/>
            </a:endParaRPr>
          </a:p>
        </p:txBody>
      </p:sp>
      <p:sp>
        <p:nvSpPr>
          <p:cNvPr id="4104" name="Line 8"/>
          <p:cNvSpPr>
            <a:spLocks noChangeShapeType="1"/>
          </p:cNvSpPr>
          <p:nvPr/>
        </p:nvSpPr>
        <p:spPr bwMode="auto">
          <a:xfrm>
            <a:off x="-508487" y="2794397"/>
            <a:ext cx="10191750" cy="0"/>
          </a:xfrm>
          <a:prstGeom prst="line">
            <a:avLst/>
          </a:prstGeom>
          <a:noFill/>
          <a:ln w="3175">
            <a:solidFill>
              <a:schemeClr val="bg1"/>
            </a:solidFill>
            <a:round/>
            <a:headEnd/>
            <a:tailEnd/>
          </a:ln>
          <a:effectLst/>
        </p:spPr>
        <p:txBody>
          <a:bodyPr lIns="77916" tIns="38958" rIns="77916" bIns="38958"/>
          <a:lstStyle/>
          <a:p>
            <a:pPr defTabSz="914400" fontAlgn="base">
              <a:spcBef>
                <a:spcPct val="0"/>
              </a:spcBef>
              <a:spcAft>
                <a:spcPct val="0"/>
              </a:spcAft>
              <a:defRPr/>
            </a:pPr>
            <a:endParaRPr lang="en-US" sz="1500">
              <a:solidFill>
                <a:srgbClr val="000000"/>
              </a:solidFill>
              <a:ea typeface="Arial" charset="0"/>
            </a:endParaRPr>
          </a:p>
        </p:txBody>
      </p:sp>
      <p:sp>
        <p:nvSpPr>
          <p:cNvPr id="4105" name="Line 9"/>
          <p:cNvSpPr>
            <a:spLocks noChangeShapeType="1"/>
          </p:cNvSpPr>
          <p:nvPr/>
        </p:nvSpPr>
        <p:spPr bwMode="auto">
          <a:xfrm>
            <a:off x="-508487" y="4507706"/>
            <a:ext cx="10191750" cy="0"/>
          </a:xfrm>
          <a:prstGeom prst="line">
            <a:avLst/>
          </a:prstGeom>
          <a:noFill/>
          <a:ln w="3175">
            <a:solidFill>
              <a:schemeClr val="bg1"/>
            </a:solidFill>
            <a:round/>
            <a:headEnd/>
            <a:tailEnd/>
          </a:ln>
          <a:effectLst/>
        </p:spPr>
        <p:txBody>
          <a:bodyPr lIns="77916" tIns="38958" rIns="77916" bIns="38958"/>
          <a:lstStyle/>
          <a:p>
            <a:pPr defTabSz="914400" fontAlgn="base">
              <a:spcBef>
                <a:spcPct val="0"/>
              </a:spcBef>
              <a:spcAft>
                <a:spcPct val="0"/>
              </a:spcAft>
              <a:defRPr/>
            </a:pPr>
            <a:endParaRPr lang="en-US" sz="1500">
              <a:solidFill>
                <a:srgbClr val="000000"/>
              </a:solidFill>
              <a:ea typeface="Arial" charset="0"/>
            </a:endParaRPr>
          </a:p>
        </p:txBody>
      </p:sp>
      <p:sp>
        <p:nvSpPr>
          <p:cNvPr id="4106" name="Line 10"/>
          <p:cNvSpPr>
            <a:spLocks noChangeShapeType="1"/>
          </p:cNvSpPr>
          <p:nvPr/>
        </p:nvSpPr>
        <p:spPr bwMode="auto">
          <a:xfrm>
            <a:off x="2284535" y="-95250"/>
            <a:ext cx="0" cy="95250"/>
          </a:xfrm>
          <a:prstGeom prst="line">
            <a:avLst/>
          </a:prstGeom>
          <a:noFill/>
          <a:ln w="3175">
            <a:solidFill>
              <a:schemeClr val="bg1"/>
            </a:solidFill>
            <a:round/>
            <a:headEnd/>
            <a:tailEnd/>
          </a:ln>
          <a:effectLst/>
        </p:spPr>
        <p:txBody>
          <a:bodyPr lIns="77916" tIns="38958" rIns="77916" bIns="38958"/>
          <a:lstStyle/>
          <a:p>
            <a:pPr defTabSz="914400" fontAlgn="base">
              <a:spcBef>
                <a:spcPct val="0"/>
              </a:spcBef>
              <a:spcAft>
                <a:spcPct val="0"/>
              </a:spcAft>
              <a:defRPr/>
            </a:pPr>
            <a:endParaRPr lang="en-US" sz="1500">
              <a:solidFill>
                <a:srgbClr val="000000"/>
              </a:solidFill>
              <a:ea typeface="Arial" charset="0"/>
            </a:endParaRPr>
          </a:p>
        </p:txBody>
      </p:sp>
      <p:sp>
        <p:nvSpPr>
          <p:cNvPr id="4107" name="Line 11"/>
          <p:cNvSpPr>
            <a:spLocks noChangeShapeType="1"/>
          </p:cNvSpPr>
          <p:nvPr/>
        </p:nvSpPr>
        <p:spPr bwMode="auto">
          <a:xfrm>
            <a:off x="4570535" y="-95250"/>
            <a:ext cx="0" cy="95250"/>
          </a:xfrm>
          <a:prstGeom prst="line">
            <a:avLst/>
          </a:prstGeom>
          <a:noFill/>
          <a:ln w="3175">
            <a:solidFill>
              <a:schemeClr val="bg1"/>
            </a:solidFill>
            <a:round/>
            <a:headEnd/>
            <a:tailEnd/>
          </a:ln>
          <a:effectLst/>
        </p:spPr>
        <p:txBody>
          <a:bodyPr lIns="77916" tIns="38958" rIns="77916" bIns="38958"/>
          <a:lstStyle/>
          <a:p>
            <a:pPr defTabSz="914400" fontAlgn="base">
              <a:spcBef>
                <a:spcPct val="0"/>
              </a:spcBef>
              <a:spcAft>
                <a:spcPct val="0"/>
              </a:spcAft>
              <a:defRPr/>
            </a:pPr>
            <a:endParaRPr lang="en-US" sz="1500">
              <a:solidFill>
                <a:srgbClr val="000000"/>
              </a:solidFill>
              <a:ea typeface="Arial" charset="0"/>
            </a:endParaRPr>
          </a:p>
        </p:txBody>
      </p:sp>
      <p:sp>
        <p:nvSpPr>
          <p:cNvPr id="4108" name="Line 12"/>
          <p:cNvSpPr>
            <a:spLocks noChangeShapeType="1"/>
          </p:cNvSpPr>
          <p:nvPr/>
        </p:nvSpPr>
        <p:spPr bwMode="auto">
          <a:xfrm>
            <a:off x="6855069" y="-95250"/>
            <a:ext cx="0" cy="95250"/>
          </a:xfrm>
          <a:prstGeom prst="line">
            <a:avLst/>
          </a:prstGeom>
          <a:noFill/>
          <a:ln w="3175">
            <a:solidFill>
              <a:schemeClr val="bg1"/>
            </a:solidFill>
            <a:round/>
            <a:headEnd/>
            <a:tailEnd/>
          </a:ln>
          <a:effectLst/>
        </p:spPr>
        <p:txBody>
          <a:bodyPr lIns="77916" tIns="38958" rIns="77916" bIns="38958"/>
          <a:lstStyle/>
          <a:p>
            <a:pPr defTabSz="914400" fontAlgn="base">
              <a:spcBef>
                <a:spcPct val="0"/>
              </a:spcBef>
              <a:spcAft>
                <a:spcPct val="0"/>
              </a:spcAft>
              <a:defRPr/>
            </a:pPr>
            <a:endParaRPr lang="en-US" sz="1500">
              <a:solidFill>
                <a:srgbClr val="000000"/>
              </a:solidFill>
              <a:ea typeface="Arial" charset="0"/>
            </a:endParaRPr>
          </a:p>
        </p:txBody>
      </p:sp>
      <p:sp>
        <p:nvSpPr>
          <p:cNvPr id="4109" name="Text Box 13"/>
          <p:cNvSpPr txBox="1">
            <a:spLocks noChangeArrowheads="1"/>
          </p:cNvSpPr>
          <p:nvPr/>
        </p:nvSpPr>
        <p:spPr bwMode="auto">
          <a:xfrm>
            <a:off x="-509954" y="947546"/>
            <a:ext cx="216406" cy="138499"/>
          </a:xfrm>
          <a:prstGeom prst="rect">
            <a:avLst/>
          </a:prstGeom>
          <a:noFill/>
          <a:ln w="9525">
            <a:noFill/>
            <a:miter lim="800000"/>
            <a:headEnd/>
            <a:tailEnd/>
          </a:ln>
          <a:effectLst/>
        </p:spPr>
        <p:txBody>
          <a:bodyPr wrap="none" lIns="0" tIns="0" rIns="0" bIns="0" anchor="ctr">
            <a:spAutoFit/>
          </a:bodyPr>
          <a:lstStyle/>
          <a:p>
            <a:pPr defTabSz="914400" fontAlgn="base">
              <a:spcBef>
                <a:spcPct val="50000"/>
              </a:spcBef>
              <a:spcAft>
                <a:spcPct val="0"/>
              </a:spcAft>
              <a:defRPr/>
            </a:pPr>
            <a:r>
              <a:rPr lang="sv-SE" sz="900">
                <a:solidFill>
                  <a:srgbClr val="FFFFFF"/>
                </a:solidFill>
                <a:ea typeface="Arial" charset="0"/>
              </a:rPr>
              <a:t>Grid</a:t>
            </a:r>
          </a:p>
        </p:txBody>
      </p:sp>
      <p:sp>
        <p:nvSpPr>
          <p:cNvPr id="4110" name="Text Box 14"/>
          <p:cNvSpPr txBox="1">
            <a:spLocks noChangeArrowheads="1"/>
          </p:cNvSpPr>
          <p:nvPr/>
        </p:nvSpPr>
        <p:spPr bwMode="auto">
          <a:xfrm>
            <a:off x="9463454" y="947546"/>
            <a:ext cx="216406" cy="138499"/>
          </a:xfrm>
          <a:prstGeom prst="rect">
            <a:avLst/>
          </a:prstGeom>
          <a:noFill/>
          <a:ln w="9525">
            <a:noFill/>
            <a:miter lim="800000"/>
            <a:headEnd/>
            <a:tailEnd/>
          </a:ln>
          <a:effectLst/>
        </p:spPr>
        <p:txBody>
          <a:bodyPr wrap="none" lIns="0" tIns="0" rIns="0" bIns="0" anchor="ctr">
            <a:spAutoFit/>
          </a:bodyPr>
          <a:lstStyle/>
          <a:p>
            <a:pPr defTabSz="914400" fontAlgn="base">
              <a:spcBef>
                <a:spcPct val="50000"/>
              </a:spcBef>
              <a:spcAft>
                <a:spcPct val="0"/>
              </a:spcAft>
              <a:defRPr/>
            </a:pPr>
            <a:r>
              <a:rPr lang="sv-SE" sz="900">
                <a:solidFill>
                  <a:srgbClr val="FFFFFF"/>
                </a:solidFill>
                <a:ea typeface="Arial" charset="0"/>
              </a:rPr>
              <a:t>Grid</a:t>
            </a:r>
          </a:p>
        </p:txBody>
      </p:sp>
      <p:sp>
        <p:nvSpPr>
          <p:cNvPr id="4111" name="Line 15"/>
          <p:cNvSpPr>
            <a:spLocks noChangeShapeType="1"/>
          </p:cNvSpPr>
          <p:nvPr/>
        </p:nvSpPr>
        <p:spPr bwMode="auto">
          <a:xfrm>
            <a:off x="-508487" y="3646885"/>
            <a:ext cx="10191750" cy="0"/>
          </a:xfrm>
          <a:prstGeom prst="line">
            <a:avLst/>
          </a:prstGeom>
          <a:noFill/>
          <a:ln w="3175">
            <a:solidFill>
              <a:schemeClr val="bg1"/>
            </a:solidFill>
            <a:round/>
            <a:headEnd/>
            <a:tailEnd/>
          </a:ln>
          <a:effectLst/>
        </p:spPr>
        <p:txBody>
          <a:bodyPr lIns="77916" tIns="38958" rIns="77916" bIns="38958"/>
          <a:lstStyle/>
          <a:p>
            <a:pPr defTabSz="914400" fontAlgn="base">
              <a:spcBef>
                <a:spcPct val="0"/>
              </a:spcBef>
              <a:spcAft>
                <a:spcPct val="0"/>
              </a:spcAft>
              <a:defRPr/>
            </a:pPr>
            <a:endParaRPr lang="en-US" sz="1500">
              <a:solidFill>
                <a:srgbClr val="000000"/>
              </a:solidFill>
              <a:ea typeface="Arial" charset="0"/>
            </a:endParaRPr>
          </a:p>
        </p:txBody>
      </p:sp>
      <p:sp>
        <p:nvSpPr>
          <p:cNvPr id="4112" name="AutoShape 16"/>
          <p:cNvSpPr>
            <a:spLocks/>
          </p:cNvSpPr>
          <p:nvPr/>
        </p:nvSpPr>
        <p:spPr bwMode="auto">
          <a:xfrm flipH="1">
            <a:off x="-191966" y="1084661"/>
            <a:ext cx="89389" cy="848915"/>
          </a:xfrm>
          <a:prstGeom prst="rightBrace">
            <a:avLst>
              <a:gd name="adj1" fmla="val 106101"/>
              <a:gd name="adj2" fmla="val 50000"/>
            </a:avLst>
          </a:prstGeom>
          <a:noFill/>
          <a:ln w="9525">
            <a:solidFill>
              <a:schemeClr val="bg1"/>
            </a:solidFill>
            <a:round/>
            <a:headEnd/>
            <a:tailEnd/>
          </a:ln>
          <a:effectLst/>
        </p:spPr>
        <p:txBody>
          <a:bodyPr wrap="none" lIns="77916" tIns="38958" rIns="77916" bIns="38958" anchor="ctr"/>
          <a:lstStyle/>
          <a:p>
            <a:pPr defTabSz="914400" fontAlgn="base">
              <a:spcBef>
                <a:spcPct val="0"/>
              </a:spcBef>
              <a:spcAft>
                <a:spcPct val="0"/>
              </a:spcAft>
              <a:defRPr/>
            </a:pPr>
            <a:endParaRPr lang="en-US" sz="1500">
              <a:solidFill>
                <a:srgbClr val="000000"/>
              </a:solidFill>
              <a:ea typeface="Arial" charset="0"/>
            </a:endParaRPr>
          </a:p>
        </p:txBody>
      </p:sp>
      <p:sp>
        <p:nvSpPr>
          <p:cNvPr id="4113" name="Text Box 17"/>
          <p:cNvSpPr txBox="1">
            <a:spLocks noChangeArrowheads="1"/>
          </p:cNvSpPr>
          <p:nvPr/>
        </p:nvSpPr>
        <p:spPr bwMode="auto">
          <a:xfrm rot="16200000">
            <a:off x="-621700" y="1435106"/>
            <a:ext cx="469680" cy="138499"/>
          </a:xfrm>
          <a:prstGeom prst="rect">
            <a:avLst/>
          </a:prstGeom>
          <a:noFill/>
          <a:ln w="9525">
            <a:noFill/>
            <a:miter lim="800000"/>
            <a:headEnd/>
            <a:tailEnd/>
          </a:ln>
          <a:effectLst/>
        </p:spPr>
        <p:txBody>
          <a:bodyPr wrap="none" lIns="0" tIns="0" rIns="0" bIns="0" anchor="ctr">
            <a:spAutoFit/>
          </a:bodyPr>
          <a:lstStyle/>
          <a:p>
            <a:pPr algn="ctr" defTabSz="914400" fontAlgn="base">
              <a:spcBef>
                <a:spcPct val="50000"/>
              </a:spcBef>
              <a:spcAft>
                <a:spcPct val="0"/>
              </a:spcAft>
              <a:defRPr/>
            </a:pPr>
            <a:r>
              <a:rPr lang="sv-SE" sz="900">
                <a:solidFill>
                  <a:srgbClr val="FFFFFF"/>
                </a:solidFill>
                <a:ea typeface="Arial" charset="0"/>
              </a:rPr>
              <a:t>Size 3,175</a:t>
            </a:r>
          </a:p>
        </p:txBody>
      </p:sp>
      <p:sp>
        <p:nvSpPr>
          <p:cNvPr id="4114" name="AutoShape 18"/>
          <p:cNvSpPr>
            <a:spLocks/>
          </p:cNvSpPr>
          <p:nvPr/>
        </p:nvSpPr>
        <p:spPr bwMode="auto">
          <a:xfrm>
            <a:off x="9296401" y="1084660"/>
            <a:ext cx="42497" cy="1709738"/>
          </a:xfrm>
          <a:prstGeom prst="rightBrace">
            <a:avLst>
              <a:gd name="adj1" fmla="val 443205"/>
              <a:gd name="adj2" fmla="val 50000"/>
            </a:avLst>
          </a:prstGeom>
          <a:noFill/>
          <a:ln w="9525">
            <a:solidFill>
              <a:schemeClr val="bg1"/>
            </a:solidFill>
            <a:round/>
            <a:headEnd/>
            <a:tailEnd/>
          </a:ln>
          <a:effectLst/>
        </p:spPr>
        <p:txBody>
          <a:bodyPr wrap="none" lIns="77916" tIns="38958" rIns="77916" bIns="38958" anchor="ctr"/>
          <a:lstStyle/>
          <a:p>
            <a:pPr defTabSz="914400" fontAlgn="base">
              <a:spcBef>
                <a:spcPct val="0"/>
              </a:spcBef>
              <a:spcAft>
                <a:spcPct val="0"/>
              </a:spcAft>
              <a:defRPr/>
            </a:pPr>
            <a:endParaRPr lang="en-US" sz="1500">
              <a:solidFill>
                <a:srgbClr val="000000"/>
              </a:solidFill>
              <a:ea typeface="Arial" charset="0"/>
            </a:endParaRPr>
          </a:p>
        </p:txBody>
      </p:sp>
      <p:sp>
        <p:nvSpPr>
          <p:cNvPr id="4115" name="Text Box 19"/>
          <p:cNvSpPr txBox="1">
            <a:spLocks noChangeArrowheads="1"/>
          </p:cNvSpPr>
          <p:nvPr/>
        </p:nvSpPr>
        <p:spPr bwMode="auto">
          <a:xfrm rot="5400000" flipH="1">
            <a:off x="9412799" y="1862541"/>
            <a:ext cx="411972" cy="138499"/>
          </a:xfrm>
          <a:prstGeom prst="rect">
            <a:avLst/>
          </a:prstGeom>
          <a:noFill/>
          <a:ln w="9525">
            <a:noFill/>
            <a:miter lim="800000"/>
            <a:headEnd/>
            <a:tailEnd/>
          </a:ln>
          <a:effectLst/>
        </p:spPr>
        <p:txBody>
          <a:bodyPr wrap="none" lIns="0" tIns="0" rIns="0" bIns="0" anchor="ctr">
            <a:spAutoFit/>
          </a:bodyPr>
          <a:lstStyle/>
          <a:p>
            <a:pPr algn="ctr" defTabSz="914400" fontAlgn="base">
              <a:spcBef>
                <a:spcPct val="50000"/>
              </a:spcBef>
              <a:spcAft>
                <a:spcPct val="0"/>
              </a:spcAft>
              <a:defRPr/>
            </a:pPr>
            <a:r>
              <a:rPr lang="sv-SE" sz="900">
                <a:solidFill>
                  <a:srgbClr val="FFFFFF"/>
                </a:solidFill>
                <a:ea typeface="Arial" charset="0"/>
              </a:rPr>
              <a:t>Size 6,35</a:t>
            </a:r>
          </a:p>
        </p:txBody>
      </p:sp>
      <p:sp>
        <p:nvSpPr>
          <p:cNvPr id="435220" name="Rectangle 20"/>
          <p:cNvSpPr>
            <a:spLocks noGrp="1" noChangeArrowheads="1"/>
          </p:cNvSpPr>
          <p:nvPr>
            <p:ph type="title"/>
          </p:nvPr>
        </p:nvSpPr>
        <p:spPr bwMode="auto">
          <a:xfrm>
            <a:off x="424962" y="363142"/>
            <a:ext cx="8277958" cy="728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Klicka här för att ändra format</a:t>
            </a:r>
          </a:p>
        </p:txBody>
      </p:sp>
      <p:sp>
        <p:nvSpPr>
          <p:cNvPr id="4117" name="Rectangle 21"/>
          <p:cNvSpPr>
            <a:spLocks noGrp="1" noChangeArrowheads="1"/>
          </p:cNvSpPr>
          <p:nvPr>
            <p:ph type="sldNum" sz="quarter" idx="4"/>
          </p:nvPr>
        </p:nvSpPr>
        <p:spPr bwMode="auto">
          <a:xfrm>
            <a:off x="221275" y="4814889"/>
            <a:ext cx="162657" cy="102394"/>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r" eaLnBrk="1" hangingPunct="1">
              <a:defRPr sz="800" b="1">
                <a:solidFill>
                  <a:schemeClr val="tx1"/>
                </a:solidFill>
                <a:latin typeface="+mn-lt"/>
                <a:ea typeface="Arial" charset="0"/>
                <a:cs typeface="+mn-cs"/>
              </a:defRPr>
            </a:lvl1pPr>
          </a:lstStyle>
          <a:p>
            <a:pPr defTabSz="914400" fontAlgn="base">
              <a:spcBef>
                <a:spcPct val="0"/>
              </a:spcBef>
              <a:spcAft>
                <a:spcPct val="0"/>
              </a:spcAft>
              <a:defRPr/>
            </a:pPr>
            <a:fld id="{A2FFC142-F466-45F1-B75A-F2DDD1FB9E10}" type="slidenum">
              <a:rPr lang="sv-SE">
                <a:solidFill>
                  <a:srgbClr val="000000"/>
                </a:solidFill>
              </a:rPr>
              <a:pPr defTabSz="914400" fontAlgn="base">
                <a:spcBef>
                  <a:spcPct val="0"/>
                </a:spcBef>
                <a:spcAft>
                  <a:spcPct val="0"/>
                </a:spcAft>
                <a:defRPr/>
              </a:pPr>
              <a:t>‹#›</a:t>
            </a:fld>
            <a:endParaRPr lang="sv-SE">
              <a:solidFill>
                <a:srgbClr val="000000"/>
              </a:solidFill>
            </a:endParaRPr>
          </a:p>
        </p:txBody>
      </p:sp>
      <p:pic>
        <p:nvPicPr>
          <p:cNvPr id="435222" name="Picture 22" descr="Sandvik-logo"/>
          <p:cNvPicPr>
            <a:picLocks noChangeAspect="1" noChangeArrowheads="1"/>
          </p:cNvPicPr>
          <p:nvPr/>
        </p:nvPicPr>
        <p:blipFill>
          <a:blip r:embed="rId13" cstate="print">
            <a:extLst>
              <a:ext uri="{28A0092B-C50C-407E-A947-70E740481C1C}">
                <a14:useLocalDpi xmlns:a14="http://schemas.microsoft.com/office/drawing/2010/main"/>
              </a:ext>
            </a:extLst>
          </a:blip>
          <a:srcRect/>
          <a:stretch>
            <a:fillRect/>
          </a:stretch>
        </p:blipFill>
        <p:spPr bwMode="auto">
          <a:xfrm>
            <a:off x="8017121" y="4731545"/>
            <a:ext cx="934915" cy="2559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19" name="Line 23"/>
          <p:cNvSpPr>
            <a:spLocks noChangeShapeType="1"/>
          </p:cNvSpPr>
          <p:nvPr/>
        </p:nvSpPr>
        <p:spPr bwMode="auto">
          <a:xfrm>
            <a:off x="2568821" y="4875610"/>
            <a:ext cx="5240215" cy="0"/>
          </a:xfrm>
          <a:prstGeom prst="line">
            <a:avLst/>
          </a:prstGeom>
          <a:noFill/>
          <a:ln w="12700">
            <a:solidFill>
              <a:schemeClr val="accent1"/>
            </a:solidFill>
            <a:round/>
            <a:headEnd/>
            <a:tailEnd/>
          </a:ln>
          <a:effectLst/>
        </p:spPr>
        <p:txBody>
          <a:bodyPr lIns="77916" tIns="38958" rIns="77916" bIns="38958"/>
          <a:lstStyle/>
          <a:p>
            <a:pPr defTabSz="914400" fontAlgn="base">
              <a:spcBef>
                <a:spcPct val="0"/>
              </a:spcBef>
              <a:spcAft>
                <a:spcPct val="0"/>
              </a:spcAft>
              <a:defRPr/>
            </a:pPr>
            <a:endParaRPr lang="en-US" sz="1500">
              <a:solidFill>
                <a:srgbClr val="000000"/>
              </a:solidFill>
              <a:ea typeface="Arial" charset="0"/>
            </a:endParaRPr>
          </a:p>
        </p:txBody>
      </p:sp>
      <p:sp>
        <p:nvSpPr>
          <p:cNvPr id="4120" name="Rectangle 24"/>
          <p:cNvSpPr>
            <a:spLocks noChangeArrowheads="1"/>
          </p:cNvSpPr>
          <p:nvPr/>
        </p:nvSpPr>
        <p:spPr bwMode="auto">
          <a:xfrm>
            <a:off x="0" y="1078707"/>
            <a:ext cx="9144000" cy="3427810"/>
          </a:xfrm>
          <a:prstGeom prst="rect">
            <a:avLst/>
          </a:prstGeom>
          <a:solidFill>
            <a:srgbClr val="EAEAEA"/>
          </a:solidFill>
          <a:ln w="9525">
            <a:noFill/>
            <a:miter lim="800000"/>
            <a:headEnd/>
            <a:tailEnd/>
          </a:ln>
          <a:effectLst/>
        </p:spPr>
        <p:txBody>
          <a:bodyPr wrap="none" lIns="77916" tIns="38958" rIns="77916" bIns="38958" anchor="ctr"/>
          <a:lstStyle/>
          <a:p>
            <a:pPr defTabSz="914400" fontAlgn="base">
              <a:spcBef>
                <a:spcPct val="0"/>
              </a:spcBef>
              <a:spcAft>
                <a:spcPct val="0"/>
              </a:spcAft>
              <a:defRPr/>
            </a:pPr>
            <a:endParaRPr lang="en-US" sz="1500">
              <a:solidFill>
                <a:srgbClr val="000000"/>
              </a:solidFill>
              <a:ea typeface="Arial" charset="0"/>
            </a:endParaRPr>
          </a:p>
        </p:txBody>
      </p:sp>
      <p:sp>
        <p:nvSpPr>
          <p:cNvPr id="435225" name="Rectangle 25"/>
          <p:cNvSpPr>
            <a:spLocks noGrp="1" noChangeArrowheads="1"/>
          </p:cNvSpPr>
          <p:nvPr>
            <p:ph type="body" idx="1"/>
          </p:nvPr>
        </p:nvSpPr>
        <p:spPr bwMode="auto">
          <a:xfrm>
            <a:off x="404446" y="1579961"/>
            <a:ext cx="8307266" cy="29313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Klicka här för att ändra format på bakgrundstexten</a:t>
            </a:r>
          </a:p>
          <a:p>
            <a:pPr lvl="1"/>
            <a:r>
              <a:rPr lang="en-US"/>
              <a:t>Nivå två</a:t>
            </a:r>
          </a:p>
          <a:p>
            <a:pPr lvl="2"/>
            <a:r>
              <a:rPr lang="en-US"/>
              <a:t>Nivå tre</a:t>
            </a:r>
          </a:p>
          <a:p>
            <a:pPr lvl="3"/>
            <a:r>
              <a:rPr lang="en-US"/>
              <a:t>Nivå fyra</a:t>
            </a:r>
          </a:p>
          <a:p>
            <a:pPr lvl="4"/>
            <a:r>
              <a:rPr lang="en-US"/>
              <a:t>Nivå fem</a:t>
            </a:r>
          </a:p>
        </p:txBody>
      </p:sp>
      <p:sp>
        <p:nvSpPr>
          <p:cNvPr id="4122" name="Line 26"/>
          <p:cNvSpPr>
            <a:spLocks noChangeShapeType="1"/>
          </p:cNvSpPr>
          <p:nvPr/>
        </p:nvSpPr>
        <p:spPr bwMode="auto">
          <a:xfrm>
            <a:off x="565638" y="4801792"/>
            <a:ext cx="0" cy="128588"/>
          </a:xfrm>
          <a:prstGeom prst="line">
            <a:avLst/>
          </a:prstGeom>
          <a:noFill/>
          <a:ln w="6350">
            <a:solidFill>
              <a:schemeClr val="tx1"/>
            </a:solidFill>
            <a:round/>
            <a:headEnd/>
            <a:tailEnd/>
          </a:ln>
          <a:effectLst/>
        </p:spPr>
        <p:txBody>
          <a:bodyPr lIns="77916" tIns="38958" rIns="77916" bIns="38958"/>
          <a:lstStyle/>
          <a:p>
            <a:pPr defTabSz="914400" fontAlgn="base">
              <a:spcBef>
                <a:spcPct val="0"/>
              </a:spcBef>
              <a:spcAft>
                <a:spcPct val="0"/>
              </a:spcAft>
              <a:defRPr/>
            </a:pPr>
            <a:endParaRPr lang="en-US" sz="1500">
              <a:solidFill>
                <a:srgbClr val="000000"/>
              </a:solidFill>
              <a:ea typeface="Arial" charset="0"/>
            </a:endParaRPr>
          </a:p>
        </p:txBody>
      </p:sp>
      <p:sp>
        <p:nvSpPr>
          <p:cNvPr id="4123" name="Text Box 27"/>
          <p:cNvSpPr txBox="1">
            <a:spLocks noChangeArrowheads="1"/>
          </p:cNvSpPr>
          <p:nvPr/>
        </p:nvSpPr>
        <p:spPr bwMode="auto">
          <a:xfrm>
            <a:off x="679939" y="4814889"/>
            <a:ext cx="1771650" cy="102394"/>
          </a:xfrm>
          <a:prstGeom prst="rect">
            <a:avLst/>
          </a:prstGeom>
          <a:noFill/>
          <a:ln w="9525">
            <a:noFill/>
            <a:miter lim="800000"/>
            <a:headEnd/>
            <a:tailEnd/>
          </a:ln>
          <a:effectLst/>
        </p:spPr>
        <p:txBody>
          <a:bodyPr wrap="none" lIns="0" tIns="0" rIns="0" bIns="0" anchor="ctr"/>
          <a:lstStyle/>
          <a:p>
            <a:pPr defTabSz="914400" fontAlgn="base">
              <a:spcBef>
                <a:spcPct val="50000"/>
              </a:spcBef>
              <a:spcAft>
                <a:spcPct val="0"/>
              </a:spcAft>
              <a:defRPr/>
            </a:pPr>
            <a:r>
              <a:rPr lang="sv-SE" sz="800" b="1">
                <a:solidFill>
                  <a:srgbClr val="000000"/>
                </a:solidFill>
                <a:ea typeface="Arial" charset="0"/>
              </a:rPr>
              <a:t>Sandvik Mining and Construction</a:t>
            </a:r>
          </a:p>
        </p:txBody>
      </p:sp>
      <p:sp>
        <p:nvSpPr>
          <p:cNvPr id="4131" name="Line 35"/>
          <p:cNvSpPr>
            <a:spLocks noChangeShapeType="1"/>
          </p:cNvSpPr>
          <p:nvPr/>
        </p:nvSpPr>
        <p:spPr bwMode="auto">
          <a:xfrm>
            <a:off x="1140069" y="5143500"/>
            <a:ext cx="0" cy="95250"/>
          </a:xfrm>
          <a:prstGeom prst="line">
            <a:avLst/>
          </a:prstGeom>
          <a:noFill/>
          <a:ln w="3175">
            <a:solidFill>
              <a:schemeClr val="bg1"/>
            </a:solidFill>
            <a:round/>
            <a:headEnd/>
            <a:tailEnd/>
          </a:ln>
          <a:effectLst/>
        </p:spPr>
        <p:txBody>
          <a:bodyPr lIns="77916" tIns="38958" rIns="77916" bIns="38958"/>
          <a:lstStyle/>
          <a:p>
            <a:pPr defTabSz="914400" fontAlgn="base">
              <a:spcBef>
                <a:spcPct val="0"/>
              </a:spcBef>
              <a:spcAft>
                <a:spcPct val="0"/>
              </a:spcAft>
              <a:defRPr/>
            </a:pPr>
            <a:endParaRPr lang="en-US" sz="1500">
              <a:solidFill>
                <a:srgbClr val="000000"/>
              </a:solidFill>
              <a:ea typeface="Arial" charset="0"/>
            </a:endParaRPr>
          </a:p>
        </p:txBody>
      </p:sp>
      <p:sp>
        <p:nvSpPr>
          <p:cNvPr id="4132" name="Line 36"/>
          <p:cNvSpPr>
            <a:spLocks noChangeShapeType="1"/>
          </p:cNvSpPr>
          <p:nvPr/>
        </p:nvSpPr>
        <p:spPr bwMode="auto">
          <a:xfrm>
            <a:off x="3430466" y="5143500"/>
            <a:ext cx="0" cy="95250"/>
          </a:xfrm>
          <a:prstGeom prst="line">
            <a:avLst/>
          </a:prstGeom>
          <a:noFill/>
          <a:ln w="3175">
            <a:solidFill>
              <a:schemeClr val="bg1"/>
            </a:solidFill>
            <a:round/>
            <a:headEnd/>
            <a:tailEnd/>
          </a:ln>
          <a:effectLst/>
        </p:spPr>
        <p:txBody>
          <a:bodyPr lIns="77916" tIns="38958" rIns="77916" bIns="38958"/>
          <a:lstStyle/>
          <a:p>
            <a:pPr defTabSz="914400" fontAlgn="base">
              <a:spcBef>
                <a:spcPct val="0"/>
              </a:spcBef>
              <a:spcAft>
                <a:spcPct val="0"/>
              </a:spcAft>
              <a:defRPr/>
            </a:pPr>
            <a:endParaRPr lang="en-US" sz="1500">
              <a:solidFill>
                <a:srgbClr val="000000"/>
              </a:solidFill>
              <a:ea typeface="Arial" charset="0"/>
            </a:endParaRPr>
          </a:p>
        </p:txBody>
      </p:sp>
      <p:sp>
        <p:nvSpPr>
          <p:cNvPr id="4133" name="Line 37"/>
          <p:cNvSpPr>
            <a:spLocks noChangeShapeType="1"/>
          </p:cNvSpPr>
          <p:nvPr/>
        </p:nvSpPr>
        <p:spPr bwMode="auto">
          <a:xfrm>
            <a:off x="5715000" y="5143500"/>
            <a:ext cx="0" cy="95250"/>
          </a:xfrm>
          <a:prstGeom prst="line">
            <a:avLst/>
          </a:prstGeom>
          <a:noFill/>
          <a:ln w="3175">
            <a:solidFill>
              <a:schemeClr val="bg1"/>
            </a:solidFill>
            <a:round/>
            <a:headEnd/>
            <a:tailEnd/>
          </a:ln>
          <a:effectLst/>
        </p:spPr>
        <p:txBody>
          <a:bodyPr lIns="77916" tIns="38958" rIns="77916" bIns="38958"/>
          <a:lstStyle/>
          <a:p>
            <a:pPr defTabSz="914400" fontAlgn="base">
              <a:spcBef>
                <a:spcPct val="0"/>
              </a:spcBef>
              <a:spcAft>
                <a:spcPct val="0"/>
              </a:spcAft>
              <a:defRPr/>
            </a:pPr>
            <a:endParaRPr lang="en-US" sz="1500">
              <a:solidFill>
                <a:srgbClr val="000000"/>
              </a:solidFill>
              <a:ea typeface="Arial" charset="0"/>
            </a:endParaRPr>
          </a:p>
        </p:txBody>
      </p:sp>
      <p:sp>
        <p:nvSpPr>
          <p:cNvPr id="4134" name="Line 38"/>
          <p:cNvSpPr>
            <a:spLocks noChangeShapeType="1"/>
          </p:cNvSpPr>
          <p:nvPr/>
        </p:nvSpPr>
        <p:spPr bwMode="auto">
          <a:xfrm>
            <a:off x="8001000" y="5143500"/>
            <a:ext cx="0" cy="95250"/>
          </a:xfrm>
          <a:prstGeom prst="line">
            <a:avLst/>
          </a:prstGeom>
          <a:noFill/>
          <a:ln w="3175">
            <a:solidFill>
              <a:schemeClr val="bg1"/>
            </a:solidFill>
            <a:round/>
            <a:headEnd/>
            <a:tailEnd/>
          </a:ln>
          <a:effectLst/>
        </p:spPr>
        <p:txBody>
          <a:bodyPr lIns="77916" tIns="38958" rIns="77916" bIns="38958"/>
          <a:lstStyle/>
          <a:p>
            <a:pPr defTabSz="914400" fontAlgn="base">
              <a:spcBef>
                <a:spcPct val="0"/>
              </a:spcBef>
              <a:spcAft>
                <a:spcPct val="0"/>
              </a:spcAft>
              <a:defRPr/>
            </a:pPr>
            <a:endParaRPr lang="en-US" sz="1500">
              <a:solidFill>
                <a:srgbClr val="000000"/>
              </a:solidFill>
              <a:ea typeface="Arial" charset="0"/>
            </a:endParaRPr>
          </a:p>
        </p:txBody>
      </p:sp>
      <p:sp>
        <p:nvSpPr>
          <p:cNvPr id="4135" name="Line 39"/>
          <p:cNvSpPr>
            <a:spLocks noChangeShapeType="1"/>
          </p:cNvSpPr>
          <p:nvPr/>
        </p:nvSpPr>
        <p:spPr bwMode="auto">
          <a:xfrm>
            <a:off x="2287466" y="5143500"/>
            <a:ext cx="0" cy="95250"/>
          </a:xfrm>
          <a:prstGeom prst="line">
            <a:avLst/>
          </a:prstGeom>
          <a:noFill/>
          <a:ln w="3175">
            <a:solidFill>
              <a:schemeClr val="bg1"/>
            </a:solidFill>
            <a:round/>
            <a:headEnd/>
            <a:tailEnd/>
          </a:ln>
          <a:effectLst/>
        </p:spPr>
        <p:txBody>
          <a:bodyPr lIns="77916" tIns="38958" rIns="77916" bIns="38958"/>
          <a:lstStyle/>
          <a:p>
            <a:pPr defTabSz="914400" fontAlgn="base">
              <a:spcBef>
                <a:spcPct val="0"/>
              </a:spcBef>
              <a:spcAft>
                <a:spcPct val="0"/>
              </a:spcAft>
              <a:defRPr/>
            </a:pPr>
            <a:endParaRPr lang="en-US" sz="1500">
              <a:solidFill>
                <a:srgbClr val="000000"/>
              </a:solidFill>
              <a:ea typeface="Arial" charset="0"/>
            </a:endParaRPr>
          </a:p>
        </p:txBody>
      </p:sp>
      <p:sp>
        <p:nvSpPr>
          <p:cNvPr id="4136" name="Line 40"/>
          <p:cNvSpPr>
            <a:spLocks noChangeShapeType="1"/>
          </p:cNvSpPr>
          <p:nvPr/>
        </p:nvSpPr>
        <p:spPr bwMode="auto">
          <a:xfrm>
            <a:off x="4573466" y="5143500"/>
            <a:ext cx="0" cy="95250"/>
          </a:xfrm>
          <a:prstGeom prst="line">
            <a:avLst/>
          </a:prstGeom>
          <a:noFill/>
          <a:ln w="3175">
            <a:solidFill>
              <a:schemeClr val="bg1"/>
            </a:solidFill>
            <a:round/>
            <a:headEnd/>
            <a:tailEnd/>
          </a:ln>
          <a:effectLst/>
        </p:spPr>
        <p:txBody>
          <a:bodyPr lIns="77916" tIns="38958" rIns="77916" bIns="38958"/>
          <a:lstStyle/>
          <a:p>
            <a:pPr defTabSz="914400" fontAlgn="base">
              <a:spcBef>
                <a:spcPct val="0"/>
              </a:spcBef>
              <a:spcAft>
                <a:spcPct val="0"/>
              </a:spcAft>
              <a:defRPr/>
            </a:pPr>
            <a:endParaRPr lang="en-US" sz="1500">
              <a:solidFill>
                <a:srgbClr val="000000"/>
              </a:solidFill>
              <a:ea typeface="Arial" charset="0"/>
            </a:endParaRPr>
          </a:p>
        </p:txBody>
      </p:sp>
      <p:sp>
        <p:nvSpPr>
          <p:cNvPr id="4137" name="Line 41"/>
          <p:cNvSpPr>
            <a:spLocks noChangeShapeType="1"/>
          </p:cNvSpPr>
          <p:nvPr/>
        </p:nvSpPr>
        <p:spPr bwMode="auto">
          <a:xfrm>
            <a:off x="6858000" y="5143500"/>
            <a:ext cx="0" cy="95250"/>
          </a:xfrm>
          <a:prstGeom prst="line">
            <a:avLst/>
          </a:prstGeom>
          <a:noFill/>
          <a:ln w="3175">
            <a:solidFill>
              <a:schemeClr val="bg1"/>
            </a:solidFill>
            <a:round/>
            <a:headEnd/>
            <a:tailEnd/>
          </a:ln>
          <a:effectLst/>
        </p:spPr>
        <p:txBody>
          <a:bodyPr lIns="77916" tIns="38958" rIns="77916" bIns="38958"/>
          <a:lstStyle/>
          <a:p>
            <a:pPr defTabSz="914400" fontAlgn="base">
              <a:spcBef>
                <a:spcPct val="0"/>
              </a:spcBef>
              <a:spcAft>
                <a:spcPct val="0"/>
              </a:spcAft>
              <a:defRPr/>
            </a:pPr>
            <a:endParaRPr lang="en-US" sz="1500">
              <a:solidFill>
                <a:srgbClr val="000000"/>
              </a:solidFill>
              <a:ea typeface="Arial" charset="0"/>
            </a:endParaRPr>
          </a:p>
        </p:txBody>
      </p:sp>
    </p:spTree>
    <p:extLst>
      <p:ext uri="{BB962C8B-B14F-4D97-AF65-F5344CB8AC3E}">
        <p14:creationId xmlns:p14="http://schemas.microsoft.com/office/powerpoint/2010/main" val="3781635596"/>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marL="612780" indent="-612780" algn="l" rtl="0" fontAlgn="base">
        <a:lnSpc>
          <a:spcPts val="2216"/>
        </a:lnSpc>
        <a:spcBef>
          <a:spcPct val="0"/>
        </a:spcBef>
        <a:spcAft>
          <a:spcPct val="0"/>
        </a:spcAft>
        <a:tabLst>
          <a:tab pos="608720" algn="l"/>
        </a:tabLst>
        <a:defRPr sz="2400" b="1">
          <a:solidFill>
            <a:schemeClr val="accent1"/>
          </a:solidFill>
          <a:latin typeface="+mj-lt"/>
          <a:ea typeface="+mj-ea"/>
          <a:cs typeface="+mj-cs"/>
        </a:defRPr>
      </a:lvl1pPr>
      <a:lvl2pPr marL="612780" indent="-612780" algn="l" rtl="0" fontAlgn="base">
        <a:lnSpc>
          <a:spcPts val="2216"/>
        </a:lnSpc>
        <a:spcBef>
          <a:spcPct val="0"/>
        </a:spcBef>
        <a:spcAft>
          <a:spcPct val="0"/>
        </a:spcAft>
        <a:tabLst>
          <a:tab pos="608720" algn="l"/>
        </a:tabLst>
        <a:defRPr sz="2400" b="1">
          <a:solidFill>
            <a:schemeClr val="accent1"/>
          </a:solidFill>
          <a:latin typeface="Gill Sans MT" pitchFamily="34" charset="0"/>
          <a:cs typeface="Arial" charset="0"/>
        </a:defRPr>
      </a:lvl2pPr>
      <a:lvl3pPr marL="612780" indent="-612780" algn="l" rtl="0" fontAlgn="base">
        <a:lnSpc>
          <a:spcPts val="2216"/>
        </a:lnSpc>
        <a:spcBef>
          <a:spcPct val="0"/>
        </a:spcBef>
        <a:spcAft>
          <a:spcPct val="0"/>
        </a:spcAft>
        <a:tabLst>
          <a:tab pos="608720" algn="l"/>
        </a:tabLst>
        <a:defRPr sz="2400" b="1">
          <a:solidFill>
            <a:schemeClr val="accent1"/>
          </a:solidFill>
          <a:latin typeface="Gill Sans MT" pitchFamily="34" charset="0"/>
          <a:cs typeface="Arial" charset="0"/>
        </a:defRPr>
      </a:lvl3pPr>
      <a:lvl4pPr marL="612780" indent="-612780" algn="l" rtl="0" fontAlgn="base">
        <a:lnSpc>
          <a:spcPts val="2216"/>
        </a:lnSpc>
        <a:spcBef>
          <a:spcPct val="0"/>
        </a:spcBef>
        <a:spcAft>
          <a:spcPct val="0"/>
        </a:spcAft>
        <a:tabLst>
          <a:tab pos="608720" algn="l"/>
        </a:tabLst>
        <a:defRPr sz="2400" b="1">
          <a:solidFill>
            <a:schemeClr val="accent1"/>
          </a:solidFill>
          <a:latin typeface="Gill Sans MT" pitchFamily="34" charset="0"/>
          <a:cs typeface="Arial" charset="0"/>
        </a:defRPr>
      </a:lvl4pPr>
      <a:lvl5pPr marL="612780" indent="-612780" algn="l" rtl="0" fontAlgn="base">
        <a:lnSpc>
          <a:spcPts val="2216"/>
        </a:lnSpc>
        <a:spcBef>
          <a:spcPct val="0"/>
        </a:spcBef>
        <a:spcAft>
          <a:spcPct val="0"/>
        </a:spcAft>
        <a:tabLst>
          <a:tab pos="608720" algn="l"/>
        </a:tabLst>
        <a:defRPr sz="2400" b="1">
          <a:solidFill>
            <a:schemeClr val="accent1"/>
          </a:solidFill>
          <a:latin typeface="Gill Sans MT" pitchFamily="34" charset="0"/>
          <a:cs typeface="Arial" charset="0"/>
        </a:defRPr>
      </a:lvl5pPr>
      <a:lvl6pPr marL="1002361" indent="-612780" algn="l" rtl="0" fontAlgn="base">
        <a:lnSpc>
          <a:spcPts val="2216"/>
        </a:lnSpc>
        <a:spcBef>
          <a:spcPct val="0"/>
        </a:spcBef>
        <a:spcAft>
          <a:spcPct val="0"/>
        </a:spcAft>
        <a:tabLst>
          <a:tab pos="608720" algn="l"/>
        </a:tabLst>
        <a:defRPr sz="2400" b="1">
          <a:solidFill>
            <a:schemeClr val="accent1"/>
          </a:solidFill>
          <a:latin typeface="Gill Sans MT" pitchFamily="34" charset="0"/>
          <a:cs typeface="Arial" charset="0"/>
        </a:defRPr>
      </a:lvl6pPr>
      <a:lvl7pPr marL="1391943" indent="-612780" algn="l" rtl="0" fontAlgn="base">
        <a:lnSpc>
          <a:spcPts val="2216"/>
        </a:lnSpc>
        <a:spcBef>
          <a:spcPct val="0"/>
        </a:spcBef>
        <a:spcAft>
          <a:spcPct val="0"/>
        </a:spcAft>
        <a:tabLst>
          <a:tab pos="608720" algn="l"/>
        </a:tabLst>
        <a:defRPr sz="2400" b="1">
          <a:solidFill>
            <a:schemeClr val="accent1"/>
          </a:solidFill>
          <a:latin typeface="Gill Sans MT" pitchFamily="34" charset="0"/>
          <a:cs typeface="Arial" charset="0"/>
        </a:defRPr>
      </a:lvl7pPr>
      <a:lvl8pPr marL="1781524" indent="-612780" algn="l" rtl="0" fontAlgn="base">
        <a:lnSpc>
          <a:spcPts val="2216"/>
        </a:lnSpc>
        <a:spcBef>
          <a:spcPct val="0"/>
        </a:spcBef>
        <a:spcAft>
          <a:spcPct val="0"/>
        </a:spcAft>
        <a:tabLst>
          <a:tab pos="608720" algn="l"/>
        </a:tabLst>
        <a:defRPr sz="2400" b="1">
          <a:solidFill>
            <a:schemeClr val="accent1"/>
          </a:solidFill>
          <a:latin typeface="Gill Sans MT" pitchFamily="34" charset="0"/>
          <a:cs typeface="Arial" charset="0"/>
        </a:defRPr>
      </a:lvl8pPr>
      <a:lvl9pPr marL="2171106" indent="-612780" algn="l" rtl="0" fontAlgn="base">
        <a:lnSpc>
          <a:spcPts val="2216"/>
        </a:lnSpc>
        <a:spcBef>
          <a:spcPct val="0"/>
        </a:spcBef>
        <a:spcAft>
          <a:spcPct val="0"/>
        </a:spcAft>
        <a:tabLst>
          <a:tab pos="608720" algn="l"/>
        </a:tabLst>
        <a:defRPr sz="2400" b="1">
          <a:solidFill>
            <a:schemeClr val="accent1"/>
          </a:solidFill>
          <a:latin typeface="Gill Sans MT" pitchFamily="34" charset="0"/>
          <a:cs typeface="Arial" charset="0"/>
        </a:defRPr>
      </a:lvl9pPr>
    </p:titleStyle>
    <p:bodyStyle>
      <a:lvl1pPr marL="252959" indent="-252959" algn="l" rtl="0" fontAlgn="base">
        <a:lnSpc>
          <a:spcPts val="2044"/>
        </a:lnSpc>
        <a:spcBef>
          <a:spcPct val="0"/>
        </a:spcBef>
        <a:spcAft>
          <a:spcPct val="0"/>
        </a:spcAft>
        <a:buClr>
          <a:schemeClr val="tx2"/>
        </a:buClr>
        <a:buSzPct val="70000"/>
        <a:buFont typeface="Wingdings 2" pitchFamily="18" charset="2"/>
        <a:buChar char="¢"/>
        <a:defRPr sz="1700">
          <a:solidFill>
            <a:schemeClr val="tx1"/>
          </a:solidFill>
          <a:latin typeface="+mn-lt"/>
          <a:ea typeface="+mn-ea"/>
          <a:cs typeface="+mn-cs"/>
        </a:defRPr>
      </a:lvl1pPr>
      <a:lvl2pPr marL="462629" indent="-208319" algn="l" rtl="0" fontAlgn="base">
        <a:spcBef>
          <a:spcPct val="20000"/>
        </a:spcBef>
        <a:spcAft>
          <a:spcPct val="0"/>
        </a:spcAft>
        <a:buFont typeface="Arial" charset="0"/>
        <a:buChar char="−"/>
        <a:defRPr sz="2400">
          <a:solidFill>
            <a:schemeClr val="tx1"/>
          </a:solidFill>
          <a:latin typeface="+mn-lt"/>
          <a:ea typeface="MS PGothic" pitchFamily="34" charset="-128"/>
          <a:cs typeface="+mn-cs"/>
        </a:defRPr>
      </a:lvl2pPr>
      <a:lvl3pPr marL="689883" indent="-225903" algn="l" rtl="0" fontAlgn="base">
        <a:spcBef>
          <a:spcPct val="20000"/>
        </a:spcBef>
        <a:spcAft>
          <a:spcPct val="0"/>
        </a:spcAft>
        <a:buFont typeface="Arial" charset="0"/>
        <a:buChar char="−"/>
        <a:defRPr sz="1000">
          <a:solidFill>
            <a:schemeClr val="tx1"/>
          </a:solidFill>
          <a:latin typeface="+mn-lt"/>
          <a:ea typeface="MS PGothic" pitchFamily="34" charset="-128"/>
          <a:cs typeface="+mn-cs"/>
        </a:defRPr>
      </a:lvl3pPr>
      <a:lvl4pPr marL="900907" indent="-209671" algn="l" rtl="0" fontAlgn="base">
        <a:spcBef>
          <a:spcPct val="20000"/>
        </a:spcBef>
        <a:spcAft>
          <a:spcPct val="0"/>
        </a:spcAft>
        <a:buFont typeface="Arial" charset="0"/>
        <a:buChar char="−"/>
        <a:defRPr sz="1000">
          <a:solidFill>
            <a:schemeClr val="tx1"/>
          </a:solidFill>
          <a:latin typeface="+mn-lt"/>
          <a:ea typeface="MS PGothic" pitchFamily="34" charset="-128"/>
          <a:cs typeface="+mn-cs"/>
        </a:defRPr>
      </a:lvl4pPr>
      <a:lvl5pPr marL="1141690" indent="-239431" algn="l" rtl="0" fontAlgn="base">
        <a:spcBef>
          <a:spcPct val="20000"/>
        </a:spcBef>
        <a:spcAft>
          <a:spcPct val="0"/>
        </a:spcAft>
        <a:buFont typeface="Arial" charset="0"/>
        <a:buChar char="−"/>
        <a:defRPr sz="1000">
          <a:solidFill>
            <a:schemeClr val="tx1"/>
          </a:solidFill>
          <a:latin typeface="+mn-lt"/>
          <a:ea typeface="MS PGothic" pitchFamily="34" charset="-128"/>
          <a:cs typeface="+mn-cs"/>
        </a:defRPr>
      </a:lvl5pPr>
      <a:lvl6pPr marL="1531272" indent="-239431" algn="l" rtl="0" fontAlgn="base">
        <a:spcBef>
          <a:spcPct val="20000"/>
        </a:spcBef>
        <a:spcAft>
          <a:spcPct val="0"/>
        </a:spcAft>
        <a:buFont typeface="Arial" charset="0"/>
        <a:buChar char="−"/>
        <a:defRPr sz="1000">
          <a:solidFill>
            <a:schemeClr val="tx1"/>
          </a:solidFill>
          <a:latin typeface="+mn-lt"/>
          <a:ea typeface="MS PGothic" pitchFamily="34" charset="-128"/>
          <a:cs typeface="+mn-cs"/>
        </a:defRPr>
      </a:lvl6pPr>
      <a:lvl7pPr marL="1920854" indent="-239431" algn="l" rtl="0" fontAlgn="base">
        <a:spcBef>
          <a:spcPct val="20000"/>
        </a:spcBef>
        <a:spcAft>
          <a:spcPct val="0"/>
        </a:spcAft>
        <a:buFont typeface="Arial" charset="0"/>
        <a:buChar char="−"/>
        <a:defRPr sz="1000">
          <a:solidFill>
            <a:schemeClr val="tx1"/>
          </a:solidFill>
          <a:latin typeface="+mn-lt"/>
          <a:ea typeface="MS PGothic" pitchFamily="34" charset="-128"/>
          <a:cs typeface="+mn-cs"/>
        </a:defRPr>
      </a:lvl7pPr>
      <a:lvl8pPr marL="2310435" indent="-239431" algn="l" rtl="0" fontAlgn="base">
        <a:spcBef>
          <a:spcPct val="20000"/>
        </a:spcBef>
        <a:spcAft>
          <a:spcPct val="0"/>
        </a:spcAft>
        <a:buFont typeface="Arial" charset="0"/>
        <a:buChar char="−"/>
        <a:defRPr sz="1000">
          <a:solidFill>
            <a:schemeClr val="tx1"/>
          </a:solidFill>
          <a:latin typeface="+mn-lt"/>
          <a:ea typeface="MS PGothic" pitchFamily="34" charset="-128"/>
          <a:cs typeface="+mn-cs"/>
        </a:defRPr>
      </a:lvl8pPr>
      <a:lvl9pPr marL="2700017" indent="-239431" algn="l" rtl="0" fontAlgn="base">
        <a:spcBef>
          <a:spcPct val="20000"/>
        </a:spcBef>
        <a:spcAft>
          <a:spcPct val="0"/>
        </a:spcAft>
        <a:buFont typeface="Arial" charset="0"/>
        <a:buChar char="−"/>
        <a:defRPr sz="1000">
          <a:solidFill>
            <a:schemeClr val="tx1"/>
          </a:solidFill>
          <a:latin typeface="+mn-lt"/>
          <a:ea typeface="MS PGothic" pitchFamily="34" charset="-128"/>
          <a:cs typeface="+mn-cs"/>
        </a:defRPr>
      </a:lvl9pPr>
    </p:bodyStyle>
    <p:otherStyle>
      <a:defPPr>
        <a:defRPr lang="en-US"/>
      </a:defPPr>
      <a:lvl1pPr marL="0" algn="l" defTabSz="779163" rtl="0" eaLnBrk="1" latinLnBrk="0" hangingPunct="1">
        <a:defRPr sz="1500" kern="1200">
          <a:solidFill>
            <a:schemeClr val="tx1"/>
          </a:solidFill>
          <a:latin typeface="+mn-lt"/>
          <a:ea typeface="+mn-ea"/>
          <a:cs typeface="+mn-cs"/>
        </a:defRPr>
      </a:lvl1pPr>
      <a:lvl2pPr marL="389582" algn="l" defTabSz="779163" rtl="0" eaLnBrk="1" latinLnBrk="0" hangingPunct="1">
        <a:defRPr sz="1500" kern="1200">
          <a:solidFill>
            <a:schemeClr val="tx1"/>
          </a:solidFill>
          <a:latin typeface="+mn-lt"/>
          <a:ea typeface="+mn-ea"/>
          <a:cs typeface="+mn-cs"/>
        </a:defRPr>
      </a:lvl2pPr>
      <a:lvl3pPr marL="779163" algn="l" defTabSz="779163" rtl="0" eaLnBrk="1" latinLnBrk="0" hangingPunct="1">
        <a:defRPr sz="1500" kern="1200">
          <a:solidFill>
            <a:schemeClr val="tx1"/>
          </a:solidFill>
          <a:latin typeface="+mn-lt"/>
          <a:ea typeface="+mn-ea"/>
          <a:cs typeface="+mn-cs"/>
        </a:defRPr>
      </a:lvl3pPr>
      <a:lvl4pPr marL="1168745" algn="l" defTabSz="779163" rtl="0" eaLnBrk="1" latinLnBrk="0" hangingPunct="1">
        <a:defRPr sz="1500" kern="1200">
          <a:solidFill>
            <a:schemeClr val="tx1"/>
          </a:solidFill>
          <a:latin typeface="+mn-lt"/>
          <a:ea typeface="+mn-ea"/>
          <a:cs typeface="+mn-cs"/>
        </a:defRPr>
      </a:lvl4pPr>
      <a:lvl5pPr marL="1558326" algn="l" defTabSz="779163" rtl="0" eaLnBrk="1" latinLnBrk="0" hangingPunct="1">
        <a:defRPr sz="1500" kern="1200">
          <a:solidFill>
            <a:schemeClr val="tx1"/>
          </a:solidFill>
          <a:latin typeface="+mn-lt"/>
          <a:ea typeface="+mn-ea"/>
          <a:cs typeface="+mn-cs"/>
        </a:defRPr>
      </a:lvl5pPr>
      <a:lvl6pPr marL="1947908" algn="l" defTabSz="779163" rtl="0" eaLnBrk="1" latinLnBrk="0" hangingPunct="1">
        <a:defRPr sz="1500" kern="1200">
          <a:solidFill>
            <a:schemeClr val="tx1"/>
          </a:solidFill>
          <a:latin typeface="+mn-lt"/>
          <a:ea typeface="+mn-ea"/>
          <a:cs typeface="+mn-cs"/>
        </a:defRPr>
      </a:lvl6pPr>
      <a:lvl7pPr marL="2337489" algn="l" defTabSz="779163" rtl="0" eaLnBrk="1" latinLnBrk="0" hangingPunct="1">
        <a:defRPr sz="1500" kern="1200">
          <a:solidFill>
            <a:schemeClr val="tx1"/>
          </a:solidFill>
          <a:latin typeface="+mn-lt"/>
          <a:ea typeface="+mn-ea"/>
          <a:cs typeface="+mn-cs"/>
        </a:defRPr>
      </a:lvl7pPr>
      <a:lvl8pPr marL="2727071" algn="l" defTabSz="779163" rtl="0" eaLnBrk="1" latinLnBrk="0" hangingPunct="1">
        <a:defRPr sz="1500" kern="1200">
          <a:solidFill>
            <a:schemeClr val="tx1"/>
          </a:solidFill>
          <a:latin typeface="+mn-lt"/>
          <a:ea typeface="+mn-ea"/>
          <a:cs typeface="+mn-cs"/>
        </a:defRPr>
      </a:lvl8pPr>
      <a:lvl9pPr marL="3116652" algn="l" defTabSz="779163" rtl="0" eaLnBrk="1" latinLnBrk="0" hangingPunct="1">
        <a:defRPr sz="15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93186" name="Line 2"/>
          <p:cNvSpPr>
            <a:spLocks noChangeShapeType="1"/>
          </p:cNvSpPr>
          <p:nvPr/>
        </p:nvSpPr>
        <p:spPr bwMode="auto">
          <a:xfrm>
            <a:off x="-508000" y="1932385"/>
            <a:ext cx="9972675" cy="0"/>
          </a:xfrm>
          <a:prstGeom prst="line">
            <a:avLst/>
          </a:prstGeom>
          <a:noFill/>
          <a:ln w="317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AU">
              <a:solidFill>
                <a:srgbClr val="000000"/>
              </a:solidFill>
              <a:cs typeface="Arial" charset="0"/>
            </a:endParaRPr>
          </a:p>
        </p:txBody>
      </p:sp>
      <p:sp>
        <p:nvSpPr>
          <p:cNvPr id="93187" name="Line 3"/>
          <p:cNvSpPr>
            <a:spLocks noChangeShapeType="1"/>
          </p:cNvSpPr>
          <p:nvPr/>
        </p:nvSpPr>
        <p:spPr bwMode="auto">
          <a:xfrm>
            <a:off x="1141413" y="-95250"/>
            <a:ext cx="0" cy="95250"/>
          </a:xfrm>
          <a:prstGeom prst="line">
            <a:avLst/>
          </a:prstGeom>
          <a:noFill/>
          <a:ln w="317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AU">
              <a:solidFill>
                <a:srgbClr val="000000"/>
              </a:solidFill>
              <a:cs typeface="Arial" charset="0"/>
            </a:endParaRPr>
          </a:p>
        </p:txBody>
      </p:sp>
      <p:sp>
        <p:nvSpPr>
          <p:cNvPr id="93188" name="Line 4"/>
          <p:cNvSpPr>
            <a:spLocks noChangeShapeType="1"/>
          </p:cNvSpPr>
          <p:nvPr/>
        </p:nvSpPr>
        <p:spPr bwMode="auto">
          <a:xfrm>
            <a:off x="3427413" y="-95250"/>
            <a:ext cx="0" cy="95250"/>
          </a:xfrm>
          <a:prstGeom prst="line">
            <a:avLst/>
          </a:prstGeom>
          <a:noFill/>
          <a:ln w="317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AU">
              <a:solidFill>
                <a:srgbClr val="000000"/>
              </a:solidFill>
              <a:cs typeface="Arial" charset="0"/>
            </a:endParaRPr>
          </a:p>
        </p:txBody>
      </p:sp>
      <p:sp>
        <p:nvSpPr>
          <p:cNvPr id="93189" name="Line 5"/>
          <p:cNvSpPr>
            <a:spLocks noChangeShapeType="1"/>
          </p:cNvSpPr>
          <p:nvPr/>
        </p:nvSpPr>
        <p:spPr bwMode="auto">
          <a:xfrm>
            <a:off x="5711825" y="-95250"/>
            <a:ext cx="0" cy="95250"/>
          </a:xfrm>
          <a:prstGeom prst="line">
            <a:avLst/>
          </a:prstGeom>
          <a:noFill/>
          <a:ln w="317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AU">
              <a:solidFill>
                <a:srgbClr val="000000"/>
              </a:solidFill>
              <a:cs typeface="Arial" charset="0"/>
            </a:endParaRPr>
          </a:p>
        </p:txBody>
      </p:sp>
      <p:sp>
        <p:nvSpPr>
          <p:cNvPr id="93190" name="Line 6"/>
          <p:cNvSpPr>
            <a:spLocks noChangeShapeType="1"/>
          </p:cNvSpPr>
          <p:nvPr/>
        </p:nvSpPr>
        <p:spPr bwMode="auto">
          <a:xfrm>
            <a:off x="7997825" y="-95250"/>
            <a:ext cx="0" cy="95250"/>
          </a:xfrm>
          <a:prstGeom prst="line">
            <a:avLst/>
          </a:prstGeom>
          <a:noFill/>
          <a:ln w="317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AU">
              <a:solidFill>
                <a:srgbClr val="000000"/>
              </a:solidFill>
              <a:cs typeface="Arial" charset="0"/>
            </a:endParaRPr>
          </a:p>
        </p:txBody>
      </p:sp>
      <p:sp>
        <p:nvSpPr>
          <p:cNvPr id="93191" name="Line 7"/>
          <p:cNvSpPr>
            <a:spLocks noChangeShapeType="1"/>
          </p:cNvSpPr>
          <p:nvPr/>
        </p:nvSpPr>
        <p:spPr bwMode="auto">
          <a:xfrm>
            <a:off x="-508000" y="1077516"/>
            <a:ext cx="10191750" cy="0"/>
          </a:xfrm>
          <a:prstGeom prst="line">
            <a:avLst/>
          </a:prstGeom>
          <a:noFill/>
          <a:ln w="317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AU">
              <a:solidFill>
                <a:srgbClr val="000000"/>
              </a:solidFill>
              <a:cs typeface="Arial" charset="0"/>
            </a:endParaRPr>
          </a:p>
        </p:txBody>
      </p:sp>
      <p:sp>
        <p:nvSpPr>
          <p:cNvPr id="93192" name="Line 8"/>
          <p:cNvSpPr>
            <a:spLocks noChangeShapeType="1"/>
          </p:cNvSpPr>
          <p:nvPr/>
        </p:nvSpPr>
        <p:spPr bwMode="auto">
          <a:xfrm>
            <a:off x="-508000" y="2794397"/>
            <a:ext cx="10191750" cy="0"/>
          </a:xfrm>
          <a:prstGeom prst="line">
            <a:avLst/>
          </a:prstGeom>
          <a:noFill/>
          <a:ln w="317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AU">
              <a:solidFill>
                <a:srgbClr val="000000"/>
              </a:solidFill>
              <a:cs typeface="Arial" charset="0"/>
            </a:endParaRPr>
          </a:p>
        </p:txBody>
      </p:sp>
      <p:sp>
        <p:nvSpPr>
          <p:cNvPr id="93193" name="Line 9"/>
          <p:cNvSpPr>
            <a:spLocks noChangeShapeType="1"/>
          </p:cNvSpPr>
          <p:nvPr/>
        </p:nvSpPr>
        <p:spPr bwMode="auto">
          <a:xfrm>
            <a:off x="-508000" y="4507706"/>
            <a:ext cx="10191750" cy="0"/>
          </a:xfrm>
          <a:prstGeom prst="line">
            <a:avLst/>
          </a:prstGeom>
          <a:noFill/>
          <a:ln w="317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AU">
              <a:solidFill>
                <a:srgbClr val="000000"/>
              </a:solidFill>
              <a:cs typeface="Arial" charset="0"/>
            </a:endParaRPr>
          </a:p>
        </p:txBody>
      </p:sp>
      <p:sp>
        <p:nvSpPr>
          <p:cNvPr id="93194" name="Line 10"/>
          <p:cNvSpPr>
            <a:spLocks noChangeShapeType="1"/>
          </p:cNvSpPr>
          <p:nvPr/>
        </p:nvSpPr>
        <p:spPr bwMode="auto">
          <a:xfrm>
            <a:off x="2284413" y="-95250"/>
            <a:ext cx="0" cy="95250"/>
          </a:xfrm>
          <a:prstGeom prst="line">
            <a:avLst/>
          </a:prstGeom>
          <a:noFill/>
          <a:ln w="317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AU">
              <a:solidFill>
                <a:srgbClr val="000000"/>
              </a:solidFill>
              <a:cs typeface="Arial" charset="0"/>
            </a:endParaRPr>
          </a:p>
        </p:txBody>
      </p:sp>
      <p:sp>
        <p:nvSpPr>
          <p:cNvPr id="93195" name="Line 11"/>
          <p:cNvSpPr>
            <a:spLocks noChangeShapeType="1"/>
          </p:cNvSpPr>
          <p:nvPr/>
        </p:nvSpPr>
        <p:spPr bwMode="auto">
          <a:xfrm>
            <a:off x="4570413" y="-95250"/>
            <a:ext cx="0" cy="95250"/>
          </a:xfrm>
          <a:prstGeom prst="line">
            <a:avLst/>
          </a:prstGeom>
          <a:noFill/>
          <a:ln w="317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AU">
              <a:solidFill>
                <a:srgbClr val="000000"/>
              </a:solidFill>
              <a:cs typeface="Arial" charset="0"/>
            </a:endParaRPr>
          </a:p>
        </p:txBody>
      </p:sp>
      <p:sp>
        <p:nvSpPr>
          <p:cNvPr id="93196" name="Line 12"/>
          <p:cNvSpPr>
            <a:spLocks noChangeShapeType="1"/>
          </p:cNvSpPr>
          <p:nvPr/>
        </p:nvSpPr>
        <p:spPr bwMode="auto">
          <a:xfrm>
            <a:off x="6854825" y="-95250"/>
            <a:ext cx="0" cy="95250"/>
          </a:xfrm>
          <a:prstGeom prst="line">
            <a:avLst/>
          </a:prstGeom>
          <a:noFill/>
          <a:ln w="317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AU">
              <a:solidFill>
                <a:srgbClr val="000000"/>
              </a:solidFill>
              <a:cs typeface="Arial" charset="0"/>
            </a:endParaRPr>
          </a:p>
        </p:txBody>
      </p:sp>
      <p:sp>
        <p:nvSpPr>
          <p:cNvPr id="93197" name="Text Box 13"/>
          <p:cNvSpPr txBox="1">
            <a:spLocks noChangeArrowheads="1"/>
          </p:cNvSpPr>
          <p:nvPr/>
        </p:nvSpPr>
        <p:spPr bwMode="auto">
          <a:xfrm>
            <a:off x="-509588" y="939850"/>
            <a:ext cx="240450"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defTabSz="914400" fontAlgn="base">
              <a:spcBef>
                <a:spcPct val="50000"/>
              </a:spcBef>
              <a:spcAft>
                <a:spcPct val="0"/>
              </a:spcAft>
            </a:pPr>
            <a:r>
              <a:rPr lang="sv-SE" sz="1000">
                <a:solidFill>
                  <a:srgbClr val="FFFFFF"/>
                </a:solidFill>
                <a:cs typeface="Arial" charset="0"/>
              </a:rPr>
              <a:t>Grid</a:t>
            </a:r>
          </a:p>
        </p:txBody>
      </p:sp>
      <p:sp>
        <p:nvSpPr>
          <p:cNvPr id="93198" name="Text Box 14"/>
          <p:cNvSpPr txBox="1">
            <a:spLocks noChangeArrowheads="1"/>
          </p:cNvSpPr>
          <p:nvPr/>
        </p:nvSpPr>
        <p:spPr bwMode="auto">
          <a:xfrm>
            <a:off x="9463089" y="939850"/>
            <a:ext cx="240450"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defTabSz="914400" fontAlgn="base">
              <a:spcBef>
                <a:spcPct val="50000"/>
              </a:spcBef>
              <a:spcAft>
                <a:spcPct val="0"/>
              </a:spcAft>
            </a:pPr>
            <a:r>
              <a:rPr lang="sv-SE" sz="1000">
                <a:solidFill>
                  <a:srgbClr val="FFFFFF"/>
                </a:solidFill>
                <a:cs typeface="Arial" charset="0"/>
              </a:rPr>
              <a:t>Grid</a:t>
            </a:r>
          </a:p>
        </p:txBody>
      </p:sp>
      <p:sp>
        <p:nvSpPr>
          <p:cNvPr id="93199" name="Line 15"/>
          <p:cNvSpPr>
            <a:spLocks noChangeShapeType="1"/>
          </p:cNvSpPr>
          <p:nvPr/>
        </p:nvSpPr>
        <p:spPr bwMode="auto">
          <a:xfrm>
            <a:off x="-508000" y="3646885"/>
            <a:ext cx="10191750" cy="0"/>
          </a:xfrm>
          <a:prstGeom prst="line">
            <a:avLst/>
          </a:prstGeom>
          <a:noFill/>
          <a:ln w="317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AU">
              <a:solidFill>
                <a:srgbClr val="000000"/>
              </a:solidFill>
              <a:cs typeface="Arial" charset="0"/>
            </a:endParaRPr>
          </a:p>
        </p:txBody>
      </p:sp>
      <p:sp>
        <p:nvSpPr>
          <p:cNvPr id="93200" name="AutoShape 16"/>
          <p:cNvSpPr>
            <a:spLocks/>
          </p:cNvSpPr>
          <p:nvPr/>
        </p:nvSpPr>
        <p:spPr bwMode="auto">
          <a:xfrm flipH="1">
            <a:off x="-192088" y="1084660"/>
            <a:ext cx="88900" cy="848915"/>
          </a:xfrm>
          <a:prstGeom prst="rightBrace">
            <a:avLst>
              <a:gd name="adj1" fmla="val 106101"/>
              <a:gd name="adj2" fmla="val 50000"/>
            </a:avLst>
          </a:prstGeom>
          <a:noFill/>
          <a:ln w="9525">
            <a:solidFill>
              <a:schemeClr val="bg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AU">
              <a:solidFill>
                <a:srgbClr val="000000"/>
              </a:solidFill>
              <a:cs typeface="Arial" charset="0"/>
            </a:endParaRPr>
          </a:p>
        </p:txBody>
      </p:sp>
      <p:sp>
        <p:nvSpPr>
          <p:cNvPr id="93201" name="Text Box 17"/>
          <p:cNvSpPr txBox="1">
            <a:spLocks noChangeArrowheads="1"/>
          </p:cNvSpPr>
          <p:nvPr/>
        </p:nvSpPr>
        <p:spPr bwMode="auto">
          <a:xfrm rot="16200000">
            <a:off x="-650228" y="1428007"/>
            <a:ext cx="522580"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ctr" defTabSz="914400" fontAlgn="base">
              <a:spcBef>
                <a:spcPct val="50000"/>
              </a:spcBef>
              <a:spcAft>
                <a:spcPct val="0"/>
              </a:spcAft>
            </a:pPr>
            <a:r>
              <a:rPr lang="sv-SE" sz="1000">
                <a:solidFill>
                  <a:srgbClr val="FFFFFF"/>
                </a:solidFill>
                <a:cs typeface="Arial" charset="0"/>
              </a:rPr>
              <a:t>Size 3,175</a:t>
            </a:r>
          </a:p>
        </p:txBody>
      </p:sp>
      <p:sp>
        <p:nvSpPr>
          <p:cNvPr id="93202" name="AutoShape 18"/>
          <p:cNvSpPr>
            <a:spLocks/>
          </p:cNvSpPr>
          <p:nvPr/>
        </p:nvSpPr>
        <p:spPr bwMode="auto">
          <a:xfrm>
            <a:off x="9296401" y="1084660"/>
            <a:ext cx="42863" cy="1709738"/>
          </a:xfrm>
          <a:prstGeom prst="rightBrace">
            <a:avLst>
              <a:gd name="adj1" fmla="val 443205"/>
              <a:gd name="adj2" fmla="val 50000"/>
            </a:avLst>
          </a:prstGeom>
          <a:noFill/>
          <a:ln w="9525">
            <a:solidFill>
              <a:schemeClr val="bg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AU">
              <a:solidFill>
                <a:srgbClr val="000000"/>
              </a:solidFill>
              <a:cs typeface="Arial" charset="0"/>
            </a:endParaRPr>
          </a:p>
        </p:txBody>
      </p:sp>
      <p:sp>
        <p:nvSpPr>
          <p:cNvPr id="93203" name="Text Box 19"/>
          <p:cNvSpPr txBox="1">
            <a:spLocks noChangeArrowheads="1"/>
          </p:cNvSpPr>
          <p:nvPr/>
        </p:nvSpPr>
        <p:spPr bwMode="auto">
          <a:xfrm rot="5400000" flipH="1">
            <a:off x="9389434" y="1855441"/>
            <a:ext cx="458459"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ctr" defTabSz="914400" fontAlgn="base">
              <a:spcBef>
                <a:spcPct val="50000"/>
              </a:spcBef>
              <a:spcAft>
                <a:spcPct val="0"/>
              </a:spcAft>
            </a:pPr>
            <a:r>
              <a:rPr lang="sv-SE" sz="1000">
                <a:solidFill>
                  <a:srgbClr val="FFFFFF"/>
                </a:solidFill>
                <a:cs typeface="Arial" charset="0"/>
              </a:rPr>
              <a:t>Size 6,35</a:t>
            </a:r>
          </a:p>
        </p:txBody>
      </p:sp>
      <p:sp>
        <p:nvSpPr>
          <p:cNvPr id="93204" name="Rectangle 20"/>
          <p:cNvSpPr>
            <a:spLocks noGrp="1" noChangeArrowheads="1"/>
          </p:cNvSpPr>
          <p:nvPr>
            <p:ph type="title"/>
          </p:nvPr>
        </p:nvSpPr>
        <p:spPr bwMode="auto">
          <a:xfrm>
            <a:off x="425451" y="363141"/>
            <a:ext cx="8277225" cy="728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a:t>Klicka här för att ändra format</a:t>
            </a:r>
          </a:p>
        </p:txBody>
      </p:sp>
      <p:sp>
        <p:nvSpPr>
          <p:cNvPr id="93205" name="Rectangle 21"/>
          <p:cNvSpPr>
            <a:spLocks noGrp="1" noChangeArrowheads="1"/>
          </p:cNvSpPr>
          <p:nvPr>
            <p:ph type="sldNum" sz="quarter" idx="4"/>
          </p:nvPr>
        </p:nvSpPr>
        <p:spPr bwMode="auto">
          <a:xfrm>
            <a:off x="220663" y="4814888"/>
            <a:ext cx="163512" cy="1023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r">
              <a:defRPr sz="900" b="1"/>
            </a:lvl1pPr>
          </a:lstStyle>
          <a:p>
            <a:pPr defTabSz="914400" fontAlgn="base">
              <a:spcBef>
                <a:spcPct val="0"/>
              </a:spcBef>
              <a:spcAft>
                <a:spcPct val="0"/>
              </a:spcAft>
            </a:pPr>
            <a:fld id="{F771B5E2-A2AF-48D0-B7A4-C1C0DC486907}" type="slidenum">
              <a:rPr lang="sv-SE" smtClean="0">
                <a:solidFill>
                  <a:srgbClr val="000000"/>
                </a:solidFill>
                <a:cs typeface="Arial" charset="0"/>
              </a:rPr>
              <a:pPr defTabSz="914400" fontAlgn="base">
                <a:spcBef>
                  <a:spcPct val="0"/>
                </a:spcBef>
                <a:spcAft>
                  <a:spcPct val="0"/>
                </a:spcAft>
              </a:pPr>
              <a:t>‹#›</a:t>
            </a:fld>
            <a:endParaRPr lang="sv-SE">
              <a:solidFill>
                <a:srgbClr val="000000"/>
              </a:solidFill>
              <a:cs typeface="Arial" charset="0"/>
            </a:endParaRPr>
          </a:p>
        </p:txBody>
      </p:sp>
      <p:pic>
        <p:nvPicPr>
          <p:cNvPr id="93206" name="Picture 22" descr="Sandvik-logo"/>
          <p:cNvPicPr>
            <a:picLocks noChangeAspect="1" noChangeArrowheads="1"/>
          </p:cNvPicPr>
          <p:nvPr/>
        </p:nvPicPr>
        <p:blipFill>
          <a:blip r:embed="rId13" cstate="print">
            <a:extLst>
              <a:ext uri="{28A0092B-C50C-407E-A947-70E740481C1C}">
                <a14:useLocalDpi xmlns:a14="http://schemas.microsoft.com/office/drawing/2010/main"/>
              </a:ext>
            </a:extLst>
          </a:blip>
          <a:srcRect/>
          <a:stretch>
            <a:fillRect/>
          </a:stretch>
        </p:blipFill>
        <p:spPr bwMode="auto">
          <a:xfrm>
            <a:off x="8016875" y="4731544"/>
            <a:ext cx="935038" cy="255985"/>
          </a:xfrm>
          <a:prstGeom prst="rect">
            <a:avLst/>
          </a:prstGeom>
          <a:noFill/>
          <a:extLst>
            <a:ext uri="{909E8E84-426E-40DD-AFC4-6F175D3DCCD1}">
              <a14:hiddenFill xmlns:a14="http://schemas.microsoft.com/office/drawing/2010/main">
                <a:solidFill>
                  <a:srgbClr val="FFFFFF"/>
                </a:solidFill>
              </a14:hiddenFill>
            </a:ext>
          </a:extLst>
        </p:spPr>
      </p:pic>
      <p:sp>
        <p:nvSpPr>
          <p:cNvPr id="93207" name="Line 23"/>
          <p:cNvSpPr>
            <a:spLocks noChangeShapeType="1"/>
          </p:cNvSpPr>
          <p:nvPr/>
        </p:nvSpPr>
        <p:spPr bwMode="auto">
          <a:xfrm>
            <a:off x="2568575" y="4875610"/>
            <a:ext cx="5240338" cy="0"/>
          </a:xfrm>
          <a:prstGeom prst="line">
            <a:avLst/>
          </a:prstGeom>
          <a:noFill/>
          <a:ln w="12700">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AU">
              <a:solidFill>
                <a:srgbClr val="000000"/>
              </a:solidFill>
              <a:cs typeface="Arial" charset="0"/>
            </a:endParaRPr>
          </a:p>
        </p:txBody>
      </p:sp>
      <p:sp>
        <p:nvSpPr>
          <p:cNvPr id="93208" name="Rectangle 24"/>
          <p:cNvSpPr>
            <a:spLocks noChangeArrowheads="1"/>
          </p:cNvSpPr>
          <p:nvPr/>
        </p:nvSpPr>
        <p:spPr bwMode="auto">
          <a:xfrm>
            <a:off x="0" y="1078707"/>
            <a:ext cx="9144000" cy="3427810"/>
          </a:xfrm>
          <a:prstGeom prst="rect">
            <a:avLst/>
          </a:prstGeom>
          <a:solidFill>
            <a:srgbClr val="EAEAE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AU">
              <a:solidFill>
                <a:srgbClr val="000000"/>
              </a:solidFill>
              <a:cs typeface="Arial" charset="0"/>
            </a:endParaRPr>
          </a:p>
        </p:txBody>
      </p:sp>
      <p:sp>
        <p:nvSpPr>
          <p:cNvPr id="93209" name="Rectangle 25"/>
          <p:cNvSpPr>
            <a:spLocks noGrp="1" noChangeArrowheads="1"/>
          </p:cNvSpPr>
          <p:nvPr>
            <p:ph type="body" idx="1"/>
          </p:nvPr>
        </p:nvSpPr>
        <p:spPr bwMode="auto">
          <a:xfrm>
            <a:off x="404814" y="1579960"/>
            <a:ext cx="8307387" cy="29313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a:t>Klicka här för att ändra format på bakgrundstexten</a:t>
            </a:r>
          </a:p>
          <a:p>
            <a:pPr lvl="1"/>
            <a:r>
              <a:rPr lang="en-US"/>
              <a:t>Nivå två</a:t>
            </a:r>
          </a:p>
          <a:p>
            <a:pPr lvl="2"/>
            <a:r>
              <a:rPr lang="en-US"/>
              <a:t>Nivå tre</a:t>
            </a:r>
          </a:p>
          <a:p>
            <a:pPr lvl="3"/>
            <a:r>
              <a:rPr lang="en-US"/>
              <a:t>Nivå fyra</a:t>
            </a:r>
          </a:p>
          <a:p>
            <a:pPr lvl="4"/>
            <a:r>
              <a:rPr lang="en-US"/>
              <a:t>Nivå fem</a:t>
            </a:r>
          </a:p>
        </p:txBody>
      </p:sp>
      <p:sp>
        <p:nvSpPr>
          <p:cNvPr id="93210" name="Line 26"/>
          <p:cNvSpPr>
            <a:spLocks noChangeShapeType="1"/>
          </p:cNvSpPr>
          <p:nvPr/>
        </p:nvSpPr>
        <p:spPr bwMode="auto">
          <a:xfrm>
            <a:off x="565150" y="4801791"/>
            <a:ext cx="0" cy="128588"/>
          </a:xfrm>
          <a:prstGeom prst="line">
            <a:avLst/>
          </a:prstGeom>
          <a:noFill/>
          <a:ln w="63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AU">
              <a:solidFill>
                <a:srgbClr val="000000"/>
              </a:solidFill>
              <a:cs typeface="Arial" charset="0"/>
            </a:endParaRPr>
          </a:p>
        </p:txBody>
      </p:sp>
      <p:sp>
        <p:nvSpPr>
          <p:cNvPr id="93211" name="Text Box 27"/>
          <p:cNvSpPr txBox="1">
            <a:spLocks noChangeArrowheads="1"/>
          </p:cNvSpPr>
          <p:nvPr/>
        </p:nvSpPr>
        <p:spPr bwMode="auto">
          <a:xfrm>
            <a:off x="679450" y="4814888"/>
            <a:ext cx="1771650" cy="1023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defTabSz="914400" fontAlgn="base">
              <a:spcBef>
                <a:spcPct val="50000"/>
              </a:spcBef>
              <a:spcAft>
                <a:spcPct val="0"/>
              </a:spcAft>
            </a:pPr>
            <a:r>
              <a:rPr lang="sv-SE" sz="900" b="1">
                <a:solidFill>
                  <a:srgbClr val="000000"/>
                </a:solidFill>
                <a:cs typeface="Arial" charset="0"/>
              </a:rPr>
              <a:t>Sandvik Mining and Construction</a:t>
            </a:r>
          </a:p>
        </p:txBody>
      </p:sp>
      <p:sp>
        <p:nvSpPr>
          <p:cNvPr id="93212" name="Line 28"/>
          <p:cNvSpPr>
            <a:spLocks noChangeShapeType="1"/>
          </p:cNvSpPr>
          <p:nvPr/>
        </p:nvSpPr>
        <p:spPr bwMode="auto">
          <a:xfrm>
            <a:off x="1139825" y="5143500"/>
            <a:ext cx="0" cy="95250"/>
          </a:xfrm>
          <a:prstGeom prst="line">
            <a:avLst/>
          </a:prstGeom>
          <a:noFill/>
          <a:ln w="317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AU">
              <a:solidFill>
                <a:srgbClr val="000000"/>
              </a:solidFill>
              <a:cs typeface="Arial" charset="0"/>
            </a:endParaRPr>
          </a:p>
        </p:txBody>
      </p:sp>
      <p:sp>
        <p:nvSpPr>
          <p:cNvPr id="93213" name="Line 29"/>
          <p:cNvSpPr>
            <a:spLocks noChangeShapeType="1"/>
          </p:cNvSpPr>
          <p:nvPr/>
        </p:nvSpPr>
        <p:spPr bwMode="auto">
          <a:xfrm>
            <a:off x="3430588" y="5143500"/>
            <a:ext cx="0" cy="95250"/>
          </a:xfrm>
          <a:prstGeom prst="line">
            <a:avLst/>
          </a:prstGeom>
          <a:noFill/>
          <a:ln w="317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AU">
              <a:solidFill>
                <a:srgbClr val="000000"/>
              </a:solidFill>
              <a:cs typeface="Arial" charset="0"/>
            </a:endParaRPr>
          </a:p>
        </p:txBody>
      </p:sp>
      <p:sp>
        <p:nvSpPr>
          <p:cNvPr id="93214" name="Line 30"/>
          <p:cNvSpPr>
            <a:spLocks noChangeShapeType="1"/>
          </p:cNvSpPr>
          <p:nvPr/>
        </p:nvSpPr>
        <p:spPr bwMode="auto">
          <a:xfrm>
            <a:off x="5715000" y="5143500"/>
            <a:ext cx="0" cy="95250"/>
          </a:xfrm>
          <a:prstGeom prst="line">
            <a:avLst/>
          </a:prstGeom>
          <a:noFill/>
          <a:ln w="317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AU">
              <a:solidFill>
                <a:srgbClr val="000000"/>
              </a:solidFill>
              <a:cs typeface="Arial" charset="0"/>
            </a:endParaRPr>
          </a:p>
        </p:txBody>
      </p:sp>
      <p:sp>
        <p:nvSpPr>
          <p:cNvPr id="93215" name="Line 31"/>
          <p:cNvSpPr>
            <a:spLocks noChangeShapeType="1"/>
          </p:cNvSpPr>
          <p:nvPr/>
        </p:nvSpPr>
        <p:spPr bwMode="auto">
          <a:xfrm>
            <a:off x="8001000" y="5143500"/>
            <a:ext cx="0" cy="95250"/>
          </a:xfrm>
          <a:prstGeom prst="line">
            <a:avLst/>
          </a:prstGeom>
          <a:noFill/>
          <a:ln w="317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AU">
              <a:solidFill>
                <a:srgbClr val="000000"/>
              </a:solidFill>
              <a:cs typeface="Arial" charset="0"/>
            </a:endParaRPr>
          </a:p>
        </p:txBody>
      </p:sp>
      <p:sp>
        <p:nvSpPr>
          <p:cNvPr id="93216" name="Line 32"/>
          <p:cNvSpPr>
            <a:spLocks noChangeShapeType="1"/>
          </p:cNvSpPr>
          <p:nvPr/>
        </p:nvSpPr>
        <p:spPr bwMode="auto">
          <a:xfrm>
            <a:off x="2287588" y="5143500"/>
            <a:ext cx="0" cy="95250"/>
          </a:xfrm>
          <a:prstGeom prst="line">
            <a:avLst/>
          </a:prstGeom>
          <a:noFill/>
          <a:ln w="317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AU">
              <a:solidFill>
                <a:srgbClr val="000000"/>
              </a:solidFill>
              <a:cs typeface="Arial" charset="0"/>
            </a:endParaRPr>
          </a:p>
        </p:txBody>
      </p:sp>
      <p:sp>
        <p:nvSpPr>
          <p:cNvPr id="93217" name="Line 33"/>
          <p:cNvSpPr>
            <a:spLocks noChangeShapeType="1"/>
          </p:cNvSpPr>
          <p:nvPr/>
        </p:nvSpPr>
        <p:spPr bwMode="auto">
          <a:xfrm>
            <a:off x="4573588" y="5143500"/>
            <a:ext cx="0" cy="95250"/>
          </a:xfrm>
          <a:prstGeom prst="line">
            <a:avLst/>
          </a:prstGeom>
          <a:noFill/>
          <a:ln w="317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AU">
              <a:solidFill>
                <a:srgbClr val="000000"/>
              </a:solidFill>
              <a:cs typeface="Arial" charset="0"/>
            </a:endParaRPr>
          </a:p>
        </p:txBody>
      </p:sp>
      <p:sp>
        <p:nvSpPr>
          <p:cNvPr id="93218" name="Line 34"/>
          <p:cNvSpPr>
            <a:spLocks noChangeShapeType="1"/>
          </p:cNvSpPr>
          <p:nvPr/>
        </p:nvSpPr>
        <p:spPr bwMode="auto">
          <a:xfrm>
            <a:off x="6858000" y="5143500"/>
            <a:ext cx="0" cy="95250"/>
          </a:xfrm>
          <a:prstGeom prst="line">
            <a:avLst/>
          </a:prstGeom>
          <a:noFill/>
          <a:ln w="317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AU">
              <a:solidFill>
                <a:srgbClr val="000000"/>
              </a:solidFill>
              <a:cs typeface="Arial" charset="0"/>
            </a:endParaRPr>
          </a:p>
        </p:txBody>
      </p:sp>
    </p:spTree>
    <p:extLst>
      <p:ext uri="{BB962C8B-B14F-4D97-AF65-F5344CB8AC3E}">
        <p14:creationId xmlns:p14="http://schemas.microsoft.com/office/powerpoint/2010/main" val="2495296895"/>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 id="2147483737" r:id="rId8"/>
    <p:sldLayoutId id="2147483738" r:id="rId9"/>
    <p:sldLayoutId id="2147483739" r:id="rId10"/>
    <p:sldLayoutId id="2147483740"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marL="719138" indent="-719138" algn="l" rtl="0" fontAlgn="base">
        <a:lnSpc>
          <a:spcPts val="2600"/>
        </a:lnSpc>
        <a:spcBef>
          <a:spcPct val="0"/>
        </a:spcBef>
        <a:spcAft>
          <a:spcPct val="0"/>
        </a:spcAft>
        <a:tabLst>
          <a:tab pos="714375" algn="l"/>
        </a:tabLst>
        <a:defRPr sz="2800" b="1">
          <a:solidFill>
            <a:schemeClr val="accent1"/>
          </a:solidFill>
          <a:latin typeface="+mj-lt"/>
          <a:ea typeface="+mj-ea"/>
          <a:cs typeface="+mj-cs"/>
        </a:defRPr>
      </a:lvl1pPr>
      <a:lvl2pPr marL="719138" indent="-719138" algn="l" rtl="0" fontAlgn="base">
        <a:lnSpc>
          <a:spcPts val="2600"/>
        </a:lnSpc>
        <a:spcBef>
          <a:spcPct val="0"/>
        </a:spcBef>
        <a:spcAft>
          <a:spcPct val="0"/>
        </a:spcAft>
        <a:tabLst>
          <a:tab pos="714375" algn="l"/>
        </a:tabLst>
        <a:defRPr sz="2800" b="1">
          <a:solidFill>
            <a:schemeClr val="accent1"/>
          </a:solidFill>
          <a:latin typeface="Gill Sans MT" pitchFamily="34" charset="0"/>
        </a:defRPr>
      </a:lvl2pPr>
      <a:lvl3pPr marL="719138" indent="-719138" algn="l" rtl="0" fontAlgn="base">
        <a:lnSpc>
          <a:spcPts val="2600"/>
        </a:lnSpc>
        <a:spcBef>
          <a:spcPct val="0"/>
        </a:spcBef>
        <a:spcAft>
          <a:spcPct val="0"/>
        </a:spcAft>
        <a:tabLst>
          <a:tab pos="714375" algn="l"/>
        </a:tabLst>
        <a:defRPr sz="2800" b="1">
          <a:solidFill>
            <a:schemeClr val="accent1"/>
          </a:solidFill>
          <a:latin typeface="Gill Sans MT" pitchFamily="34" charset="0"/>
        </a:defRPr>
      </a:lvl3pPr>
      <a:lvl4pPr marL="719138" indent="-719138" algn="l" rtl="0" fontAlgn="base">
        <a:lnSpc>
          <a:spcPts val="2600"/>
        </a:lnSpc>
        <a:spcBef>
          <a:spcPct val="0"/>
        </a:spcBef>
        <a:spcAft>
          <a:spcPct val="0"/>
        </a:spcAft>
        <a:tabLst>
          <a:tab pos="714375" algn="l"/>
        </a:tabLst>
        <a:defRPr sz="2800" b="1">
          <a:solidFill>
            <a:schemeClr val="accent1"/>
          </a:solidFill>
          <a:latin typeface="Gill Sans MT" pitchFamily="34" charset="0"/>
        </a:defRPr>
      </a:lvl4pPr>
      <a:lvl5pPr marL="719138" indent="-719138" algn="l" rtl="0" fontAlgn="base">
        <a:lnSpc>
          <a:spcPts val="2600"/>
        </a:lnSpc>
        <a:spcBef>
          <a:spcPct val="0"/>
        </a:spcBef>
        <a:spcAft>
          <a:spcPct val="0"/>
        </a:spcAft>
        <a:tabLst>
          <a:tab pos="714375" algn="l"/>
        </a:tabLst>
        <a:defRPr sz="2800" b="1">
          <a:solidFill>
            <a:schemeClr val="accent1"/>
          </a:solidFill>
          <a:latin typeface="Gill Sans MT" pitchFamily="34" charset="0"/>
        </a:defRPr>
      </a:lvl5pPr>
      <a:lvl6pPr marL="1176338" indent="-719138" algn="l" rtl="0" fontAlgn="base">
        <a:lnSpc>
          <a:spcPts val="2600"/>
        </a:lnSpc>
        <a:spcBef>
          <a:spcPct val="0"/>
        </a:spcBef>
        <a:spcAft>
          <a:spcPct val="0"/>
        </a:spcAft>
        <a:tabLst>
          <a:tab pos="714375" algn="l"/>
        </a:tabLst>
        <a:defRPr sz="2800" b="1">
          <a:solidFill>
            <a:schemeClr val="accent1"/>
          </a:solidFill>
          <a:latin typeface="Gill Sans MT" pitchFamily="34" charset="0"/>
        </a:defRPr>
      </a:lvl6pPr>
      <a:lvl7pPr marL="1633538" indent="-719138" algn="l" rtl="0" fontAlgn="base">
        <a:lnSpc>
          <a:spcPts val="2600"/>
        </a:lnSpc>
        <a:spcBef>
          <a:spcPct val="0"/>
        </a:spcBef>
        <a:spcAft>
          <a:spcPct val="0"/>
        </a:spcAft>
        <a:tabLst>
          <a:tab pos="714375" algn="l"/>
        </a:tabLst>
        <a:defRPr sz="2800" b="1">
          <a:solidFill>
            <a:schemeClr val="accent1"/>
          </a:solidFill>
          <a:latin typeface="Gill Sans MT" pitchFamily="34" charset="0"/>
        </a:defRPr>
      </a:lvl7pPr>
      <a:lvl8pPr marL="2090738" indent="-719138" algn="l" rtl="0" fontAlgn="base">
        <a:lnSpc>
          <a:spcPts val="2600"/>
        </a:lnSpc>
        <a:spcBef>
          <a:spcPct val="0"/>
        </a:spcBef>
        <a:spcAft>
          <a:spcPct val="0"/>
        </a:spcAft>
        <a:tabLst>
          <a:tab pos="714375" algn="l"/>
        </a:tabLst>
        <a:defRPr sz="2800" b="1">
          <a:solidFill>
            <a:schemeClr val="accent1"/>
          </a:solidFill>
          <a:latin typeface="Gill Sans MT" pitchFamily="34" charset="0"/>
        </a:defRPr>
      </a:lvl8pPr>
      <a:lvl9pPr marL="2547938" indent="-719138" algn="l" rtl="0" fontAlgn="base">
        <a:lnSpc>
          <a:spcPts val="2600"/>
        </a:lnSpc>
        <a:spcBef>
          <a:spcPct val="0"/>
        </a:spcBef>
        <a:spcAft>
          <a:spcPct val="0"/>
        </a:spcAft>
        <a:tabLst>
          <a:tab pos="714375" algn="l"/>
        </a:tabLst>
        <a:defRPr sz="2800" b="1">
          <a:solidFill>
            <a:schemeClr val="accent1"/>
          </a:solidFill>
          <a:latin typeface="Gill Sans MT" pitchFamily="34" charset="0"/>
        </a:defRPr>
      </a:lvl9pPr>
    </p:titleStyle>
    <p:bodyStyle>
      <a:lvl1pPr marL="296863" indent="-296863" algn="l" rtl="0" fontAlgn="base">
        <a:lnSpc>
          <a:spcPts val="2400"/>
        </a:lnSpc>
        <a:spcBef>
          <a:spcPct val="0"/>
        </a:spcBef>
        <a:spcAft>
          <a:spcPct val="0"/>
        </a:spcAft>
        <a:buClr>
          <a:schemeClr val="tx2"/>
        </a:buClr>
        <a:buSzPct val="70000"/>
        <a:buFont typeface="Wingdings 2" pitchFamily="18" charset="2"/>
        <a:buChar char="¢"/>
        <a:defRPr sz="2000">
          <a:solidFill>
            <a:schemeClr val="tx1"/>
          </a:solidFill>
          <a:latin typeface="+mn-lt"/>
          <a:ea typeface="+mn-ea"/>
          <a:cs typeface="+mn-cs"/>
        </a:defRPr>
      </a:lvl1pPr>
      <a:lvl2pPr marL="542925" indent="-244475" algn="l" rtl="0" fontAlgn="base">
        <a:spcBef>
          <a:spcPct val="20000"/>
        </a:spcBef>
        <a:spcAft>
          <a:spcPct val="0"/>
        </a:spcAft>
        <a:buFont typeface="Arial" charset="0"/>
        <a:buChar char="−"/>
        <a:defRPr>
          <a:solidFill>
            <a:schemeClr val="tx1"/>
          </a:solidFill>
          <a:latin typeface="+mn-lt"/>
        </a:defRPr>
      </a:lvl2pPr>
      <a:lvl3pPr marL="809625" indent="-265113" algn="l" rtl="0" fontAlgn="base">
        <a:spcBef>
          <a:spcPct val="20000"/>
        </a:spcBef>
        <a:spcAft>
          <a:spcPct val="0"/>
        </a:spcAft>
        <a:buFont typeface="Arial" charset="0"/>
        <a:buChar char="−"/>
        <a:defRPr sz="1200">
          <a:solidFill>
            <a:schemeClr val="tx1"/>
          </a:solidFill>
          <a:latin typeface="+mn-lt"/>
        </a:defRPr>
      </a:lvl3pPr>
      <a:lvl4pPr marL="1057275" indent="-246063" algn="l" rtl="0" fontAlgn="base">
        <a:spcBef>
          <a:spcPct val="20000"/>
        </a:spcBef>
        <a:spcAft>
          <a:spcPct val="0"/>
        </a:spcAft>
        <a:buFont typeface="Arial" charset="0"/>
        <a:buChar char="−"/>
        <a:defRPr sz="1200">
          <a:solidFill>
            <a:schemeClr val="tx1"/>
          </a:solidFill>
          <a:latin typeface="+mn-lt"/>
        </a:defRPr>
      </a:lvl4pPr>
      <a:lvl5pPr marL="1339850" indent="-280988" algn="l" rtl="0" fontAlgn="base">
        <a:spcBef>
          <a:spcPct val="20000"/>
        </a:spcBef>
        <a:spcAft>
          <a:spcPct val="0"/>
        </a:spcAft>
        <a:buFont typeface="Arial" charset="0"/>
        <a:buChar char="−"/>
        <a:defRPr sz="1200">
          <a:solidFill>
            <a:schemeClr val="tx1"/>
          </a:solidFill>
          <a:latin typeface="+mn-lt"/>
        </a:defRPr>
      </a:lvl5pPr>
      <a:lvl6pPr marL="1797050" indent="-280988" algn="l" rtl="0" fontAlgn="base">
        <a:spcBef>
          <a:spcPct val="20000"/>
        </a:spcBef>
        <a:spcAft>
          <a:spcPct val="0"/>
        </a:spcAft>
        <a:buFont typeface="Arial" charset="0"/>
        <a:buChar char="−"/>
        <a:defRPr sz="1200">
          <a:solidFill>
            <a:schemeClr val="tx1"/>
          </a:solidFill>
          <a:latin typeface="+mn-lt"/>
        </a:defRPr>
      </a:lvl6pPr>
      <a:lvl7pPr marL="2254250" indent="-280988" algn="l" rtl="0" fontAlgn="base">
        <a:spcBef>
          <a:spcPct val="20000"/>
        </a:spcBef>
        <a:spcAft>
          <a:spcPct val="0"/>
        </a:spcAft>
        <a:buFont typeface="Arial" charset="0"/>
        <a:buChar char="−"/>
        <a:defRPr sz="1200">
          <a:solidFill>
            <a:schemeClr val="tx1"/>
          </a:solidFill>
          <a:latin typeface="+mn-lt"/>
        </a:defRPr>
      </a:lvl7pPr>
      <a:lvl8pPr marL="2711450" indent="-280988" algn="l" rtl="0" fontAlgn="base">
        <a:spcBef>
          <a:spcPct val="20000"/>
        </a:spcBef>
        <a:spcAft>
          <a:spcPct val="0"/>
        </a:spcAft>
        <a:buFont typeface="Arial" charset="0"/>
        <a:buChar char="−"/>
        <a:defRPr sz="1200">
          <a:solidFill>
            <a:schemeClr val="tx1"/>
          </a:solidFill>
          <a:latin typeface="+mn-lt"/>
        </a:defRPr>
      </a:lvl8pPr>
      <a:lvl9pPr marL="3168650" indent="-280988" algn="l" rtl="0" fontAlgn="base">
        <a:spcBef>
          <a:spcPct val="20000"/>
        </a:spcBef>
        <a:spcAft>
          <a:spcPct val="0"/>
        </a:spcAft>
        <a:buFont typeface="Arial" charset="0"/>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360000" y="414000"/>
            <a:ext cx="8424000" cy="360000"/>
          </a:xfrm>
          <a:prstGeom prst="rect">
            <a:avLst/>
          </a:prstGeom>
        </p:spPr>
        <p:txBody>
          <a:bodyPr vert="horz" lIns="0" tIns="0" rIns="0" bIns="0" rtlCol="0" anchor="t">
            <a:noAutofit/>
          </a:bodyPr>
          <a:lstStyle/>
          <a:p>
            <a:r>
              <a:rPr lang="en-US" noProof="0" dirty="0" err="1"/>
              <a:t>Klicka</a:t>
            </a:r>
            <a:r>
              <a:rPr lang="en-US" noProof="0" dirty="0"/>
              <a:t> </a:t>
            </a:r>
            <a:r>
              <a:rPr lang="en-US" noProof="0" dirty="0" err="1"/>
              <a:t>här</a:t>
            </a:r>
            <a:r>
              <a:rPr lang="en-US" noProof="0" dirty="0"/>
              <a:t> </a:t>
            </a:r>
            <a:r>
              <a:rPr lang="en-US" noProof="0" dirty="0" err="1"/>
              <a:t>för</a:t>
            </a:r>
            <a:r>
              <a:rPr lang="en-US" noProof="0" dirty="0"/>
              <a:t> </a:t>
            </a:r>
            <a:r>
              <a:rPr lang="en-US" noProof="0" dirty="0" err="1"/>
              <a:t>att</a:t>
            </a:r>
            <a:r>
              <a:rPr lang="en-US" noProof="0" dirty="0"/>
              <a:t> </a:t>
            </a:r>
            <a:r>
              <a:rPr lang="en-US" noProof="0" dirty="0" err="1"/>
              <a:t>ändra</a:t>
            </a:r>
            <a:r>
              <a:rPr lang="en-US" noProof="0" dirty="0"/>
              <a:t> format</a:t>
            </a:r>
          </a:p>
        </p:txBody>
      </p:sp>
      <p:sp>
        <p:nvSpPr>
          <p:cNvPr id="3" name="Platshållare för text 2"/>
          <p:cNvSpPr>
            <a:spLocks noGrp="1"/>
          </p:cNvSpPr>
          <p:nvPr>
            <p:ph type="body" idx="1"/>
          </p:nvPr>
        </p:nvSpPr>
        <p:spPr>
          <a:xfrm>
            <a:off x="360000" y="1134000"/>
            <a:ext cx="8424000" cy="3240000"/>
          </a:xfrm>
          <a:prstGeom prst="rect">
            <a:avLst/>
          </a:prstGeom>
        </p:spPr>
        <p:txBody>
          <a:bodyPr vert="horz" lIns="0" tIns="0" rIns="0" bIns="0" rtlCol="0">
            <a:noAutofit/>
          </a:bodyPr>
          <a:lstStyle/>
          <a:p>
            <a:pPr lvl="0"/>
            <a:r>
              <a:rPr lang="en-US" noProof="0" dirty="0" err="1"/>
              <a:t>Klicka</a:t>
            </a:r>
            <a:r>
              <a:rPr lang="en-US" noProof="0" dirty="0"/>
              <a:t> </a:t>
            </a:r>
            <a:r>
              <a:rPr lang="en-US" noProof="0" dirty="0" err="1"/>
              <a:t>här</a:t>
            </a:r>
            <a:r>
              <a:rPr lang="en-US" noProof="0" dirty="0"/>
              <a:t> </a:t>
            </a:r>
            <a:r>
              <a:rPr lang="en-US" noProof="0" dirty="0" err="1"/>
              <a:t>för</a:t>
            </a:r>
            <a:r>
              <a:rPr lang="en-US" noProof="0" dirty="0"/>
              <a:t> </a:t>
            </a:r>
            <a:r>
              <a:rPr lang="en-US" noProof="0" dirty="0" err="1"/>
              <a:t>att</a:t>
            </a:r>
            <a:r>
              <a:rPr lang="en-US" noProof="0" dirty="0"/>
              <a:t> </a:t>
            </a:r>
            <a:r>
              <a:rPr lang="en-US" noProof="0" dirty="0" err="1"/>
              <a:t>ändra</a:t>
            </a:r>
            <a:r>
              <a:rPr lang="en-US" noProof="0" dirty="0"/>
              <a:t> format </a:t>
            </a:r>
            <a:r>
              <a:rPr lang="en-US" noProof="0" dirty="0" err="1"/>
              <a:t>på</a:t>
            </a:r>
            <a:r>
              <a:rPr lang="en-US" noProof="0" dirty="0"/>
              <a:t> </a:t>
            </a:r>
            <a:r>
              <a:rPr lang="en-US" noProof="0" dirty="0" err="1"/>
              <a:t>bakgrundstexten</a:t>
            </a:r>
            <a:endParaRPr lang="en-US" noProof="0" dirty="0"/>
          </a:p>
          <a:p>
            <a:pPr lvl="1"/>
            <a:r>
              <a:rPr lang="en-US" noProof="0" dirty="0" err="1"/>
              <a:t>Nivå</a:t>
            </a:r>
            <a:r>
              <a:rPr lang="en-US" noProof="0" dirty="0"/>
              <a:t> </a:t>
            </a:r>
            <a:r>
              <a:rPr lang="en-US" noProof="0" dirty="0" err="1"/>
              <a:t>två</a:t>
            </a:r>
            <a:endParaRPr lang="en-US" noProof="0" dirty="0"/>
          </a:p>
          <a:p>
            <a:pPr lvl="2"/>
            <a:r>
              <a:rPr lang="en-US" noProof="0" dirty="0" err="1"/>
              <a:t>Nivå</a:t>
            </a:r>
            <a:r>
              <a:rPr lang="en-US" noProof="0" dirty="0"/>
              <a:t> </a:t>
            </a:r>
            <a:r>
              <a:rPr lang="en-US" noProof="0" dirty="0" err="1"/>
              <a:t>tre</a:t>
            </a:r>
            <a:endParaRPr lang="en-US" noProof="0" dirty="0"/>
          </a:p>
          <a:p>
            <a:pPr lvl="3"/>
            <a:r>
              <a:rPr lang="en-US" noProof="0" dirty="0" err="1"/>
              <a:t>Nivå</a:t>
            </a:r>
            <a:r>
              <a:rPr lang="en-US" noProof="0" dirty="0"/>
              <a:t> </a:t>
            </a:r>
            <a:r>
              <a:rPr lang="en-US" noProof="0" dirty="0" err="1"/>
              <a:t>fyra</a:t>
            </a:r>
            <a:endParaRPr lang="en-US" noProof="0" dirty="0"/>
          </a:p>
          <a:p>
            <a:pPr lvl="4"/>
            <a:r>
              <a:rPr lang="en-US" noProof="0" dirty="0" err="1"/>
              <a:t>Nivå</a:t>
            </a:r>
            <a:r>
              <a:rPr lang="en-US" noProof="0" dirty="0"/>
              <a:t> fem</a:t>
            </a:r>
          </a:p>
        </p:txBody>
      </p:sp>
      <p:sp>
        <p:nvSpPr>
          <p:cNvPr id="4" name="Platshållare för datum 3"/>
          <p:cNvSpPr>
            <a:spLocks noGrp="1"/>
          </p:cNvSpPr>
          <p:nvPr>
            <p:ph type="dt" sz="half" idx="2"/>
          </p:nvPr>
        </p:nvSpPr>
        <p:spPr>
          <a:xfrm>
            <a:off x="6891372" y="4674791"/>
            <a:ext cx="900000" cy="180000"/>
          </a:xfrm>
          <a:prstGeom prst="rect">
            <a:avLst/>
          </a:prstGeom>
        </p:spPr>
        <p:txBody>
          <a:bodyPr vert="horz" lIns="0" tIns="0" rIns="0" bIns="0" rtlCol="0" anchor="b" anchorCtr="0"/>
          <a:lstStyle>
            <a:lvl1pPr algn="ctr">
              <a:defRPr sz="700">
                <a:solidFill>
                  <a:schemeClr val="bg2"/>
                </a:solidFill>
              </a:defRPr>
            </a:lvl1pPr>
          </a:lstStyle>
          <a:p>
            <a:pPr defTabSz="914400"/>
            <a:fld id="{519B61F5-90DB-401B-A64C-D2E08EE0A242}" type="datetime1">
              <a:rPr lang="en-US" smtClean="0">
                <a:solidFill>
                  <a:srgbClr val="7F7F7F"/>
                </a:solidFill>
              </a:rPr>
              <a:pPr defTabSz="914400"/>
              <a:t>9/10/2018</a:t>
            </a:fld>
            <a:endParaRPr lang="en-US" dirty="0">
              <a:solidFill>
                <a:srgbClr val="7F7F7F"/>
              </a:solidFill>
            </a:endParaRPr>
          </a:p>
        </p:txBody>
      </p:sp>
      <p:sp>
        <p:nvSpPr>
          <p:cNvPr id="5" name="Platshållare för sidfot 4"/>
          <p:cNvSpPr>
            <a:spLocks noGrp="1"/>
          </p:cNvSpPr>
          <p:nvPr>
            <p:ph type="ftr" sz="quarter" idx="3"/>
          </p:nvPr>
        </p:nvSpPr>
        <p:spPr>
          <a:xfrm>
            <a:off x="3123613" y="4680104"/>
            <a:ext cx="2895600" cy="180000"/>
          </a:xfrm>
          <a:prstGeom prst="rect">
            <a:avLst/>
          </a:prstGeom>
        </p:spPr>
        <p:txBody>
          <a:bodyPr vert="horz" lIns="0" tIns="0" rIns="0" bIns="0" rtlCol="0" anchor="b" anchorCtr="0"/>
          <a:lstStyle>
            <a:lvl1pPr algn="ctr">
              <a:defRPr sz="700">
                <a:solidFill>
                  <a:schemeClr val="bg2"/>
                </a:solidFill>
              </a:defRPr>
            </a:lvl1pPr>
          </a:lstStyle>
          <a:p>
            <a:pPr defTabSz="914400"/>
            <a:r>
              <a:rPr lang="en-US" dirty="0">
                <a:solidFill>
                  <a:srgbClr val="7F7F7F"/>
                </a:solidFill>
              </a:rPr>
              <a:t>SANDVIK: Title of presentation</a:t>
            </a:r>
          </a:p>
        </p:txBody>
      </p:sp>
      <p:sp>
        <p:nvSpPr>
          <p:cNvPr id="6" name="Platshållare för bildnummer 5"/>
          <p:cNvSpPr>
            <a:spLocks noGrp="1"/>
          </p:cNvSpPr>
          <p:nvPr>
            <p:ph type="sldNum" sz="quarter" idx="4"/>
          </p:nvPr>
        </p:nvSpPr>
        <p:spPr>
          <a:xfrm>
            <a:off x="354946" y="4679655"/>
            <a:ext cx="1440000" cy="180000"/>
          </a:xfrm>
          <a:prstGeom prst="rect">
            <a:avLst/>
          </a:prstGeom>
        </p:spPr>
        <p:txBody>
          <a:bodyPr vert="horz" lIns="0" tIns="0" rIns="0" bIns="0" rtlCol="0" anchor="b" anchorCtr="0"/>
          <a:lstStyle>
            <a:lvl1pPr algn="l">
              <a:defRPr sz="700">
                <a:solidFill>
                  <a:schemeClr val="bg2"/>
                </a:solidFill>
              </a:defRPr>
            </a:lvl1pPr>
          </a:lstStyle>
          <a:p>
            <a:pPr defTabSz="914400"/>
            <a:fld id="{469B62F1-B431-48B6-8270-02431A1685B7}" type="slidenum">
              <a:rPr lang="en-US" smtClean="0">
                <a:solidFill>
                  <a:srgbClr val="7F7F7F"/>
                </a:solidFill>
              </a:rPr>
              <a:pPr defTabSz="914400"/>
              <a:t>‹#›</a:t>
            </a:fld>
            <a:endParaRPr lang="en-US" dirty="0">
              <a:solidFill>
                <a:srgbClr val="7F7F7F"/>
              </a:solidFill>
            </a:endParaRPr>
          </a:p>
        </p:txBody>
      </p:sp>
      <p:pic>
        <p:nvPicPr>
          <p:cNvPr id="13" name="Bildobjekt 12" descr="SAV_Logo_cyan_RGB300.png"/>
          <p:cNvPicPr>
            <a:picLocks noChangeAspect="1"/>
          </p:cNvPicPr>
          <p:nvPr/>
        </p:nvPicPr>
        <p:blipFill>
          <a:blip r:embed="rId32" cstate="screen">
            <a:extLst>
              <a:ext uri="{28A0092B-C50C-407E-A947-70E740481C1C}">
                <a14:useLocalDpi xmlns:a14="http://schemas.microsoft.com/office/drawing/2010/main"/>
              </a:ext>
            </a:extLst>
          </a:blip>
          <a:stretch>
            <a:fillRect/>
          </a:stretch>
        </p:blipFill>
        <p:spPr>
          <a:xfrm>
            <a:off x="7891267" y="4538521"/>
            <a:ext cx="889868" cy="324000"/>
          </a:xfrm>
          <a:prstGeom prst="rect">
            <a:avLst/>
          </a:prstGeom>
        </p:spPr>
      </p:pic>
    </p:spTree>
    <p:extLst>
      <p:ext uri="{BB962C8B-B14F-4D97-AF65-F5344CB8AC3E}">
        <p14:creationId xmlns:p14="http://schemas.microsoft.com/office/powerpoint/2010/main" val="2133136934"/>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44" r:id="rId3"/>
    <p:sldLayoutId id="2147483745" r:id="rId4"/>
    <p:sldLayoutId id="2147483746" r:id="rId5"/>
    <p:sldLayoutId id="2147483747" r:id="rId6"/>
    <p:sldLayoutId id="2147483748" r:id="rId7"/>
    <p:sldLayoutId id="2147483749" r:id="rId8"/>
    <p:sldLayoutId id="2147483750" r:id="rId9"/>
    <p:sldLayoutId id="2147483751" r:id="rId10"/>
    <p:sldLayoutId id="2147483752" r:id="rId11"/>
    <p:sldLayoutId id="2147483753" r:id="rId12"/>
    <p:sldLayoutId id="2147483754" r:id="rId13"/>
    <p:sldLayoutId id="2147483755" r:id="rId14"/>
    <p:sldLayoutId id="2147483756" r:id="rId15"/>
    <p:sldLayoutId id="2147483757" r:id="rId16"/>
    <p:sldLayoutId id="2147483758" r:id="rId17"/>
    <p:sldLayoutId id="2147483759" r:id="rId18"/>
    <p:sldLayoutId id="2147483760" r:id="rId19"/>
    <p:sldLayoutId id="2147483761" r:id="rId20"/>
    <p:sldLayoutId id="2147483762" r:id="rId21"/>
    <p:sldLayoutId id="2147483763" r:id="rId22"/>
    <p:sldLayoutId id="2147483764" r:id="rId23"/>
    <p:sldLayoutId id="2147483765" r:id="rId24"/>
    <p:sldLayoutId id="2147483766" r:id="rId25"/>
    <p:sldLayoutId id="2147483767" r:id="rId26"/>
    <p:sldLayoutId id="2147483768" r:id="rId27"/>
    <p:sldLayoutId id="2147483769" r:id="rId28"/>
    <p:sldLayoutId id="2147483770" r:id="rId29"/>
    <p:sldLayoutId id="2147483771" r:id="rId3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100000"/>
        </a:lnSpc>
        <a:spcBef>
          <a:spcPct val="0"/>
        </a:spcBef>
        <a:buNone/>
        <a:defRPr sz="2800" kern="1200" cap="all" baseline="0">
          <a:solidFill>
            <a:schemeClr val="tx2"/>
          </a:solidFill>
          <a:latin typeface="+mj-lt"/>
          <a:ea typeface="+mj-ea"/>
          <a:cs typeface="+mj-cs"/>
        </a:defRPr>
      </a:lvl1pPr>
    </p:titleStyle>
    <p:bodyStyle>
      <a:lvl1pPr marL="162000" indent="-162000" algn="l" defTabSz="914400" rtl="0" eaLnBrk="1" latinLnBrk="0" hangingPunct="1">
        <a:lnSpc>
          <a:spcPct val="100000"/>
        </a:lnSpc>
        <a:spcBef>
          <a:spcPts val="0"/>
        </a:spcBef>
        <a:spcAft>
          <a:spcPts val="700"/>
        </a:spcAft>
        <a:buClr>
          <a:schemeClr val="tx1"/>
        </a:buClr>
        <a:buFont typeface="Arial" panose="020B0604020202020204" pitchFamily="34" charset="0"/>
        <a:buChar char="•"/>
        <a:defRPr sz="1800" kern="1200">
          <a:solidFill>
            <a:schemeClr val="tx1"/>
          </a:solidFill>
          <a:latin typeface="+mn-lt"/>
          <a:ea typeface="+mn-ea"/>
          <a:cs typeface="+mn-cs"/>
        </a:defRPr>
      </a:lvl1pPr>
      <a:lvl2pPr marL="540000" indent="-162000" algn="l" defTabSz="914400" rtl="0" eaLnBrk="1" latinLnBrk="0" hangingPunct="1">
        <a:lnSpc>
          <a:spcPct val="100000"/>
        </a:lnSpc>
        <a:spcBef>
          <a:spcPts val="0"/>
        </a:spcBef>
        <a:spcAft>
          <a:spcPts val="400"/>
        </a:spcAft>
        <a:buClr>
          <a:schemeClr val="tx1"/>
        </a:buClr>
        <a:buFont typeface="Arial" panose="020B0604020202020204" pitchFamily="34" charset="0"/>
        <a:buChar char="•"/>
        <a:defRPr sz="1600" kern="1200">
          <a:solidFill>
            <a:schemeClr val="tx1"/>
          </a:solidFill>
          <a:latin typeface="+mn-lt"/>
          <a:ea typeface="+mn-ea"/>
          <a:cs typeface="+mn-cs"/>
        </a:defRPr>
      </a:lvl2pPr>
      <a:lvl3pPr marL="900000" indent="-162000"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400" kern="1200">
          <a:solidFill>
            <a:schemeClr val="tx1"/>
          </a:solidFill>
          <a:latin typeface="+mn-lt"/>
          <a:ea typeface="+mn-ea"/>
          <a:cs typeface="+mn-cs"/>
        </a:defRPr>
      </a:lvl3pPr>
      <a:lvl4pPr marL="1260000" indent="-162000"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4pPr>
      <a:lvl5pPr marL="1627200" indent="-158400" algn="l" defTabSz="914400" rtl="0" eaLnBrk="1" latinLnBrk="0" hangingPunct="1">
        <a:lnSpc>
          <a:spcPct val="100000"/>
        </a:lnSpc>
        <a:spcBef>
          <a:spcPts val="0"/>
        </a:spcBef>
        <a:spcAft>
          <a:spcPts val="240"/>
        </a:spcAft>
        <a:buClr>
          <a:schemeClr val="tx1"/>
        </a:buClr>
        <a:buFont typeface="Arial" panose="020B0604020202020204" pitchFamily="34" charset="0"/>
        <a:buChar char="»"/>
        <a:defRPr sz="105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userDrawn="1">
          <p15:clr>
            <a:srgbClr val="F26B43"/>
          </p15:clr>
        </p15:guide>
        <p15:guide id="2" pos="2880" userDrawn="1">
          <p15:clr>
            <a:srgbClr val="F26B43"/>
          </p15:clr>
        </p15:guide>
        <p15:guide id="4" orient="horz" pos="2788" userDrawn="1">
          <p15:clr>
            <a:srgbClr val="F26B43"/>
          </p15:clr>
        </p15:guide>
        <p15:guide id="5" orient="horz" pos="894" userDrawn="1">
          <p15:clr>
            <a:srgbClr val="F26B43"/>
          </p15:clr>
        </p15:guide>
        <p15:guide id="6" pos="226" userDrawn="1">
          <p15:clr>
            <a:srgbClr val="F26B43"/>
          </p15:clr>
        </p15:guide>
        <p15:guide id="7" pos="5534" userDrawn="1">
          <p15:clr>
            <a:srgbClr val="F26B43"/>
          </p15:clr>
        </p15:guide>
        <p15:guide id="8" orient="horz" pos="3014" userDrawn="1">
          <p15:clr>
            <a:srgbClr val="F26B43"/>
          </p15:clr>
        </p15:guide>
        <p15:guide id="9" orient="horz" pos="226" userDrawn="1">
          <p15:clr>
            <a:srgbClr val="F26B43"/>
          </p15:clr>
        </p15:guide>
        <p15:guide id="10" orient="horz" pos="35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1.xml"/><Relationship Id="rId1" Type="http://schemas.openxmlformats.org/officeDocument/2006/relationships/tags" Target="../tags/tag1.xml"/><Relationship Id="rId5" Type="http://schemas.openxmlformats.org/officeDocument/2006/relationships/image" Target="../media/image51.jpeg"/><Relationship Id="rId4" Type="http://schemas.openxmlformats.org/officeDocument/2006/relationships/chart" Target="../charts/chart1.xml"/></Relationships>
</file>

<file path=ppt/slides/_rels/slide11.xml.rels><?xml version="1.0" encoding="UTF-8" standalone="yes"?>
<Relationships xmlns="http://schemas.openxmlformats.org/package/2006/relationships"><Relationship Id="rId8" Type="http://schemas.openxmlformats.org/officeDocument/2006/relationships/image" Target="../media/image57.png"/><Relationship Id="rId13" Type="http://schemas.openxmlformats.org/officeDocument/2006/relationships/image" Target="../media/image62.png"/><Relationship Id="rId18" Type="http://schemas.openxmlformats.org/officeDocument/2006/relationships/image" Target="../media/image67.png"/><Relationship Id="rId26" Type="http://schemas.openxmlformats.org/officeDocument/2006/relationships/image" Target="../media/image75.png"/><Relationship Id="rId3" Type="http://schemas.openxmlformats.org/officeDocument/2006/relationships/image" Target="../media/image52.png"/><Relationship Id="rId21" Type="http://schemas.openxmlformats.org/officeDocument/2006/relationships/image" Target="../media/image70.png"/><Relationship Id="rId7" Type="http://schemas.openxmlformats.org/officeDocument/2006/relationships/image" Target="../media/image56.png"/><Relationship Id="rId12" Type="http://schemas.openxmlformats.org/officeDocument/2006/relationships/image" Target="../media/image61.png"/><Relationship Id="rId17" Type="http://schemas.openxmlformats.org/officeDocument/2006/relationships/image" Target="../media/image66.png"/><Relationship Id="rId25" Type="http://schemas.openxmlformats.org/officeDocument/2006/relationships/image" Target="../media/image74.png"/><Relationship Id="rId2" Type="http://schemas.openxmlformats.org/officeDocument/2006/relationships/notesSlide" Target="../notesSlides/notesSlide11.xml"/><Relationship Id="rId16" Type="http://schemas.openxmlformats.org/officeDocument/2006/relationships/image" Target="../media/image65.png"/><Relationship Id="rId20" Type="http://schemas.openxmlformats.org/officeDocument/2006/relationships/image" Target="../media/image69.png"/><Relationship Id="rId1" Type="http://schemas.openxmlformats.org/officeDocument/2006/relationships/slideLayout" Target="../slideLayouts/slideLayout19.xml"/><Relationship Id="rId6" Type="http://schemas.openxmlformats.org/officeDocument/2006/relationships/image" Target="../media/image55.jpg"/><Relationship Id="rId11" Type="http://schemas.openxmlformats.org/officeDocument/2006/relationships/image" Target="../media/image60.png"/><Relationship Id="rId24" Type="http://schemas.openxmlformats.org/officeDocument/2006/relationships/image" Target="../media/image73.png"/><Relationship Id="rId5" Type="http://schemas.openxmlformats.org/officeDocument/2006/relationships/image" Target="../media/image54.png"/><Relationship Id="rId15" Type="http://schemas.openxmlformats.org/officeDocument/2006/relationships/image" Target="../media/image64.png"/><Relationship Id="rId23" Type="http://schemas.openxmlformats.org/officeDocument/2006/relationships/image" Target="../media/image72.png"/><Relationship Id="rId10" Type="http://schemas.openxmlformats.org/officeDocument/2006/relationships/image" Target="../media/image59.png"/><Relationship Id="rId19" Type="http://schemas.openxmlformats.org/officeDocument/2006/relationships/image" Target="../media/image68.png"/><Relationship Id="rId4" Type="http://schemas.openxmlformats.org/officeDocument/2006/relationships/image" Target="../media/image53.png"/><Relationship Id="rId9" Type="http://schemas.openxmlformats.org/officeDocument/2006/relationships/image" Target="../media/image58.png"/><Relationship Id="rId14" Type="http://schemas.openxmlformats.org/officeDocument/2006/relationships/image" Target="../media/image63.png"/><Relationship Id="rId22" Type="http://schemas.openxmlformats.org/officeDocument/2006/relationships/image" Target="../media/image71.png"/></Relationships>
</file>

<file path=ppt/slides/_rels/slide12.xml.rels><?xml version="1.0" encoding="UTF-8" standalone="yes"?>
<Relationships xmlns="http://schemas.openxmlformats.org/package/2006/relationships"><Relationship Id="rId8" Type="http://schemas.openxmlformats.org/officeDocument/2006/relationships/image" Target="../media/image29.jpeg"/><Relationship Id="rId3" Type="http://schemas.openxmlformats.org/officeDocument/2006/relationships/image" Target="../media/image35.png"/><Relationship Id="rId7" Type="http://schemas.openxmlformats.org/officeDocument/2006/relationships/image" Target="../media/image26.jpeg"/><Relationship Id="rId2" Type="http://schemas.openxmlformats.org/officeDocument/2006/relationships/notesSlide" Target="../notesSlides/notesSlide12.xml"/><Relationship Id="rId1" Type="http://schemas.openxmlformats.org/officeDocument/2006/relationships/slideLayout" Target="../slideLayouts/slideLayout11.xml"/><Relationship Id="rId6" Type="http://schemas.openxmlformats.org/officeDocument/2006/relationships/image" Target="../media/image47.png"/><Relationship Id="rId5" Type="http://schemas.openxmlformats.org/officeDocument/2006/relationships/image" Target="../media/image31.png"/><Relationship Id="rId4" Type="http://schemas.openxmlformats.org/officeDocument/2006/relationships/image" Target="../media/image36.png"/></Relationships>
</file>

<file path=ppt/slides/_rels/slide1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3.xml"/><Relationship Id="rId1" Type="http://schemas.openxmlformats.org/officeDocument/2006/relationships/slideLayout" Target="../slideLayouts/slideLayout11.xml"/><Relationship Id="rId4" Type="http://schemas.openxmlformats.org/officeDocument/2006/relationships/image" Target="../media/image36.png"/></Relationships>
</file>

<file path=ppt/slides/_rels/slide14.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14.xml"/><Relationship Id="rId1" Type="http://schemas.openxmlformats.org/officeDocument/2006/relationships/slideLayout" Target="../slideLayouts/slideLayout11.xml"/><Relationship Id="rId4" Type="http://schemas.openxmlformats.org/officeDocument/2006/relationships/image" Target="../media/image77.png"/></Relationships>
</file>

<file path=ppt/slides/_rels/slide15.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15.xml"/><Relationship Id="rId1" Type="http://schemas.openxmlformats.org/officeDocument/2006/relationships/slideLayout" Target="../slideLayouts/slideLayout11.xml"/><Relationship Id="rId6" Type="http://schemas.openxmlformats.org/officeDocument/2006/relationships/hyperlink" Target="Video-%20AutoMine%20Loading.m4v" TargetMode="External"/><Relationship Id="rId5" Type="http://schemas.openxmlformats.org/officeDocument/2006/relationships/image" Target="../media/image80.png"/><Relationship Id="rId4" Type="http://schemas.openxmlformats.org/officeDocument/2006/relationships/image" Target="../media/image79.jpe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18.xml"/><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3" Type="http://schemas.openxmlformats.org/officeDocument/2006/relationships/image" Target="../media/image83.jpeg"/><Relationship Id="rId2" Type="http://schemas.openxmlformats.org/officeDocument/2006/relationships/image" Target="../media/image82.png"/><Relationship Id="rId1" Type="http://schemas.openxmlformats.org/officeDocument/2006/relationships/slideLayout" Target="../slideLayouts/slideLayout20.xml"/><Relationship Id="rId6" Type="http://schemas.openxmlformats.org/officeDocument/2006/relationships/image" Target="../media/image86.jpeg"/><Relationship Id="rId5" Type="http://schemas.openxmlformats.org/officeDocument/2006/relationships/image" Target="../media/image85.jpeg"/><Relationship Id="rId4" Type="http://schemas.openxmlformats.org/officeDocument/2006/relationships/image" Target="../media/image84.jpe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0.xml"/></Relationships>
</file>

<file path=ppt/slides/_rels/slide20.xml.rels><?xml version="1.0" encoding="UTF-8" standalone="yes"?>
<Relationships xmlns="http://schemas.openxmlformats.org/package/2006/relationships"><Relationship Id="rId8" Type="http://schemas.openxmlformats.org/officeDocument/2006/relationships/image" Target="../media/image92.jpeg"/><Relationship Id="rId13" Type="http://schemas.openxmlformats.org/officeDocument/2006/relationships/hyperlink" Target="https://www.google.se/url?sa=i&amp;rct=j&amp;q=&amp;esrc=s&amp;source=images&amp;cd=&amp;cad=rja&amp;uact=8&amp;ved=0ahUKEwiX44CVlNTLAhXCKg8KHaBaD0YQjRwIBw&amp;url=https://en.wikipedia.org/wiki/File:IAMGOLD.svg&amp;psig=AFQjCNEmP3BVT0AGVV25SIdIyJt_9v3h5g&amp;ust=1458731326520649" TargetMode="External"/><Relationship Id="rId18" Type="http://schemas.openxmlformats.org/officeDocument/2006/relationships/image" Target="../media/image101.png"/><Relationship Id="rId26" Type="http://schemas.openxmlformats.org/officeDocument/2006/relationships/image" Target="../media/image108.jpeg"/><Relationship Id="rId3" Type="http://schemas.openxmlformats.org/officeDocument/2006/relationships/image" Target="../media/image87.png"/><Relationship Id="rId21" Type="http://schemas.openxmlformats.org/officeDocument/2006/relationships/image" Target="../media/image104.jpeg"/><Relationship Id="rId7" Type="http://schemas.openxmlformats.org/officeDocument/2006/relationships/image" Target="../media/image91.jpeg"/><Relationship Id="rId12" Type="http://schemas.openxmlformats.org/officeDocument/2006/relationships/image" Target="../media/image96.png"/><Relationship Id="rId17" Type="http://schemas.openxmlformats.org/officeDocument/2006/relationships/image" Target="../media/image100.png"/><Relationship Id="rId25" Type="http://schemas.openxmlformats.org/officeDocument/2006/relationships/image" Target="../media/image107.png"/><Relationship Id="rId2" Type="http://schemas.openxmlformats.org/officeDocument/2006/relationships/notesSlide" Target="../notesSlides/notesSlide19.xml"/><Relationship Id="rId16" Type="http://schemas.openxmlformats.org/officeDocument/2006/relationships/image" Target="../media/image99.png"/><Relationship Id="rId20" Type="http://schemas.openxmlformats.org/officeDocument/2006/relationships/image" Target="../media/image103.png"/><Relationship Id="rId1" Type="http://schemas.openxmlformats.org/officeDocument/2006/relationships/slideLayout" Target="../slideLayouts/slideLayout73.xml"/><Relationship Id="rId6" Type="http://schemas.openxmlformats.org/officeDocument/2006/relationships/image" Target="../media/image90.png"/><Relationship Id="rId11" Type="http://schemas.openxmlformats.org/officeDocument/2006/relationships/image" Target="../media/image95.png"/><Relationship Id="rId24" Type="http://schemas.openxmlformats.org/officeDocument/2006/relationships/image" Target="../media/image106.png"/><Relationship Id="rId5" Type="http://schemas.openxmlformats.org/officeDocument/2006/relationships/image" Target="../media/image89.png"/><Relationship Id="rId15" Type="http://schemas.openxmlformats.org/officeDocument/2006/relationships/image" Target="../media/image98.png"/><Relationship Id="rId23" Type="http://schemas.openxmlformats.org/officeDocument/2006/relationships/image" Target="../media/image105.png"/><Relationship Id="rId10" Type="http://schemas.openxmlformats.org/officeDocument/2006/relationships/image" Target="../media/image94.jpeg"/><Relationship Id="rId19" Type="http://schemas.openxmlformats.org/officeDocument/2006/relationships/image" Target="../media/image102.png"/><Relationship Id="rId4" Type="http://schemas.openxmlformats.org/officeDocument/2006/relationships/image" Target="../media/image88.png"/><Relationship Id="rId9" Type="http://schemas.openxmlformats.org/officeDocument/2006/relationships/image" Target="../media/image93.gif"/><Relationship Id="rId14" Type="http://schemas.openxmlformats.org/officeDocument/2006/relationships/image" Target="../media/image97.png"/><Relationship Id="rId22" Type="http://schemas.openxmlformats.org/officeDocument/2006/relationships/hyperlink" Target="http://www.hudbayminerals.com/English/Home/default.aspx" TargetMode="External"/></Relationships>
</file>

<file path=ppt/slides/_rels/slide21.xml.rels><?xml version="1.0" encoding="UTF-8" standalone="yes"?>
<Relationships xmlns="http://schemas.openxmlformats.org/package/2006/relationships"><Relationship Id="rId8" Type="http://schemas.openxmlformats.org/officeDocument/2006/relationships/image" Target="../media/image113.png"/><Relationship Id="rId13" Type="http://schemas.openxmlformats.org/officeDocument/2006/relationships/image" Target="../media/image118.png"/><Relationship Id="rId18" Type="http://schemas.openxmlformats.org/officeDocument/2006/relationships/image" Target="../media/image122.png"/><Relationship Id="rId26" Type="http://schemas.openxmlformats.org/officeDocument/2006/relationships/image" Target="../media/image128.jpeg"/><Relationship Id="rId3" Type="http://schemas.openxmlformats.org/officeDocument/2006/relationships/image" Target="../media/image90.png"/><Relationship Id="rId21" Type="http://schemas.openxmlformats.org/officeDocument/2006/relationships/image" Target="../media/image125.png"/><Relationship Id="rId7" Type="http://schemas.openxmlformats.org/officeDocument/2006/relationships/image" Target="../media/image112.png"/><Relationship Id="rId12" Type="http://schemas.openxmlformats.org/officeDocument/2006/relationships/image" Target="../media/image117.png"/><Relationship Id="rId17" Type="http://schemas.openxmlformats.org/officeDocument/2006/relationships/image" Target="../media/image121.png"/><Relationship Id="rId25" Type="http://schemas.openxmlformats.org/officeDocument/2006/relationships/image" Target="../media/image104.jpeg"/><Relationship Id="rId2" Type="http://schemas.openxmlformats.org/officeDocument/2006/relationships/notesSlide" Target="../notesSlides/notesSlide20.xml"/><Relationship Id="rId16" Type="http://schemas.openxmlformats.org/officeDocument/2006/relationships/image" Target="../media/image120.jpeg"/><Relationship Id="rId20" Type="http://schemas.openxmlformats.org/officeDocument/2006/relationships/image" Target="../media/image124.png"/><Relationship Id="rId1" Type="http://schemas.openxmlformats.org/officeDocument/2006/relationships/slideLayout" Target="../slideLayouts/slideLayout73.xml"/><Relationship Id="rId6" Type="http://schemas.openxmlformats.org/officeDocument/2006/relationships/image" Target="../media/image111.png"/><Relationship Id="rId11" Type="http://schemas.openxmlformats.org/officeDocument/2006/relationships/image" Target="../media/image116.png"/><Relationship Id="rId24" Type="http://schemas.openxmlformats.org/officeDocument/2006/relationships/image" Target="../media/image127.png"/><Relationship Id="rId5" Type="http://schemas.openxmlformats.org/officeDocument/2006/relationships/image" Target="../media/image110.png"/><Relationship Id="rId15" Type="http://schemas.openxmlformats.org/officeDocument/2006/relationships/image" Target="../media/image119.png"/><Relationship Id="rId23" Type="http://schemas.openxmlformats.org/officeDocument/2006/relationships/image" Target="../media/image126.png"/><Relationship Id="rId28" Type="http://schemas.openxmlformats.org/officeDocument/2006/relationships/image" Target="../media/image130.jpeg"/><Relationship Id="rId10" Type="http://schemas.openxmlformats.org/officeDocument/2006/relationships/image" Target="../media/image115.png"/><Relationship Id="rId19" Type="http://schemas.openxmlformats.org/officeDocument/2006/relationships/image" Target="../media/image123.gif"/><Relationship Id="rId4" Type="http://schemas.openxmlformats.org/officeDocument/2006/relationships/image" Target="../media/image109.png"/><Relationship Id="rId9" Type="http://schemas.openxmlformats.org/officeDocument/2006/relationships/image" Target="../media/image114.png"/><Relationship Id="rId14" Type="http://schemas.openxmlformats.org/officeDocument/2006/relationships/image" Target="../media/image107.png"/><Relationship Id="rId22" Type="http://schemas.openxmlformats.org/officeDocument/2006/relationships/image" Target="../media/image103.png"/><Relationship Id="rId27" Type="http://schemas.openxmlformats.org/officeDocument/2006/relationships/image" Target="../media/image129.png"/></Relationships>
</file>

<file path=ppt/slides/_rels/slide22.xml.rels><?xml version="1.0" encoding="UTF-8" standalone="yes"?>
<Relationships xmlns="http://schemas.openxmlformats.org/package/2006/relationships"><Relationship Id="rId8" Type="http://schemas.openxmlformats.org/officeDocument/2006/relationships/image" Target="../media/image136.jpeg"/><Relationship Id="rId3" Type="http://schemas.openxmlformats.org/officeDocument/2006/relationships/image" Target="../media/image131.jpeg"/><Relationship Id="rId7" Type="http://schemas.openxmlformats.org/officeDocument/2006/relationships/image" Target="../media/image135.jpeg"/><Relationship Id="rId2" Type="http://schemas.openxmlformats.org/officeDocument/2006/relationships/notesSlide" Target="../notesSlides/notesSlide21.xml"/><Relationship Id="rId1" Type="http://schemas.openxmlformats.org/officeDocument/2006/relationships/slideLayout" Target="../slideLayouts/slideLayout21.xml"/><Relationship Id="rId6" Type="http://schemas.openxmlformats.org/officeDocument/2006/relationships/image" Target="../media/image134.jpeg"/><Relationship Id="rId5" Type="http://schemas.openxmlformats.org/officeDocument/2006/relationships/image" Target="../media/image133.jpeg"/><Relationship Id="rId4" Type="http://schemas.openxmlformats.org/officeDocument/2006/relationships/image" Target="../media/image132.jpeg"/></Relationships>
</file>

<file path=ppt/slides/_rels/slide23.xml.rels><?xml version="1.0" encoding="UTF-8" standalone="yes"?>
<Relationships xmlns="http://schemas.openxmlformats.org/package/2006/relationships"><Relationship Id="rId3" Type="http://schemas.openxmlformats.org/officeDocument/2006/relationships/hyperlink" Target="mailto:brian.carroll@sandvik.com" TargetMode="External"/><Relationship Id="rId2" Type="http://schemas.openxmlformats.org/officeDocument/2006/relationships/image" Target="../media/image137.jpeg"/><Relationship Id="rId1" Type="http://schemas.openxmlformats.org/officeDocument/2006/relationships/slideLayout" Target="../slideLayouts/slideLayout21.xml"/></Relationships>
</file>

<file path=ppt/slides/_rels/slide3.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4.xml"/><Relationship Id="rId1" Type="http://schemas.openxmlformats.org/officeDocument/2006/relationships/slideLayout" Target="../slideLayouts/slideLayout20.xml"/><Relationship Id="rId4" Type="http://schemas.openxmlformats.org/officeDocument/2006/relationships/hyperlink" Target="Employee%20Stories.mp4" TargetMode="Externa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0.xml"/></Relationships>
</file>

<file path=ppt/slides/_rels/slide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6.xml"/><Relationship Id="rId1" Type="http://schemas.openxmlformats.org/officeDocument/2006/relationships/slideLayout" Target="../slideLayouts/slideLayout11.xml"/><Relationship Id="rId4" Type="http://schemas.openxmlformats.org/officeDocument/2006/relationships/image" Target="../media/image22.png"/></Relationships>
</file>

<file path=ppt/slides/_rels/slide7.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7.xml"/><Relationship Id="rId1" Type="http://schemas.openxmlformats.org/officeDocument/2006/relationships/slideLayout" Target="../slideLayouts/slideLayout11.xml"/><Relationship Id="rId4" Type="http://schemas.openxmlformats.org/officeDocument/2006/relationships/image" Target="../media/image24.jpeg"/></Relationships>
</file>

<file path=ppt/slides/_rels/slide8.xml.rels><?xml version="1.0" encoding="UTF-8" standalone="yes"?>
<Relationships xmlns="http://schemas.openxmlformats.org/package/2006/relationships"><Relationship Id="rId8" Type="http://schemas.openxmlformats.org/officeDocument/2006/relationships/image" Target="../media/image30.jpeg"/><Relationship Id="rId3" Type="http://schemas.openxmlformats.org/officeDocument/2006/relationships/image" Target="../media/image25.jpeg"/><Relationship Id="rId7" Type="http://schemas.openxmlformats.org/officeDocument/2006/relationships/image" Target="../media/image29.jpeg"/><Relationship Id="rId2" Type="http://schemas.openxmlformats.org/officeDocument/2006/relationships/notesSlide" Target="../notesSlides/notesSlide8.xml"/><Relationship Id="rId1" Type="http://schemas.openxmlformats.org/officeDocument/2006/relationships/slideLayout" Target="../slideLayouts/slideLayout10.xml"/><Relationship Id="rId6" Type="http://schemas.openxmlformats.org/officeDocument/2006/relationships/image" Target="../media/image28.jpeg"/><Relationship Id="rId5" Type="http://schemas.openxmlformats.org/officeDocument/2006/relationships/image" Target="../media/image27.png"/><Relationship Id="rId4" Type="http://schemas.openxmlformats.org/officeDocument/2006/relationships/image" Target="../media/image26.jpeg"/></Relationships>
</file>

<file path=ppt/slides/_rels/slide9.xml.rels><?xml version="1.0" encoding="UTF-8" standalone="yes"?>
<Relationships xmlns="http://schemas.openxmlformats.org/package/2006/relationships"><Relationship Id="rId8" Type="http://schemas.openxmlformats.org/officeDocument/2006/relationships/image" Target="../media/image36.png"/><Relationship Id="rId13" Type="http://schemas.openxmlformats.org/officeDocument/2006/relationships/image" Target="../media/image41.png"/><Relationship Id="rId18" Type="http://schemas.openxmlformats.org/officeDocument/2006/relationships/image" Target="../media/image46.png"/><Relationship Id="rId3" Type="http://schemas.openxmlformats.org/officeDocument/2006/relationships/image" Target="../media/image31.png"/><Relationship Id="rId21" Type="http://schemas.openxmlformats.org/officeDocument/2006/relationships/image" Target="../media/image49.png"/><Relationship Id="rId7" Type="http://schemas.openxmlformats.org/officeDocument/2006/relationships/image" Target="../media/image35.png"/><Relationship Id="rId12" Type="http://schemas.openxmlformats.org/officeDocument/2006/relationships/image" Target="../media/image40.png"/><Relationship Id="rId17" Type="http://schemas.openxmlformats.org/officeDocument/2006/relationships/image" Target="../media/image45.png"/><Relationship Id="rId2" Type="http://schemas.openxmlformats.org/officeDocument/2006/relationships/notesSlide" Target="../notesSlides/notesSlide9.xml"/><Relationship Id="rId16" Type="http://schemas.openxmlformats.org/officeDocument/2006/relationships/image" Target="../media/image44.png"/><Relationship Id="rId20" Type="http://schemas.openxmlformats.org/officeDocument/2006/relationships/image" Target="../media/image48.png"/><Relationship Id="rId1" Type="http://schemas.openxmlformats.org/officeDocument/2006/relationships/slideLayout" Target="../slideLayouts/slideLayout14.xml"/><Relationship Id="rId6" Type="http://schemas.openxmlformats.org/officeDocument/2006/relationships/image" Target="../media/image34.png"/><Relationship Id="rId11" Type="http://schemas.openxmlformats.org/officeDocument/2006/relationships/image" Target="../media/image39.png"/><Relationship Id="rId5" Type="http://schemas.openxmlformats.org/officeDocument/2006/relationships/image" Target="../media/image33.png"/><Relationship Id="rId15" Type="http://schemas.openxmlformats.org/officeDocument/2006/relationships/image" Target="../media/image43.png"/><Relationship Id="rId10" Type="http://schemas.openxmlformats.org/officeDocument/2006/relationships/image" Target="../media/image38.png"/><Relationship Id="rId19" Type="http://schemas.openxmlformats.org/officeDocument/2006/relationships/image" Target="../media/image47.png"/><Relationship Id="rId4" Type="http://schemas.openxmlformats.org/officeDocument/2006/relationships/image" Target="../media/image32.png"/><Relationship Id="rId9" Type="http://schemas.openxmlformats.org/officeDocument/2006/relationships/image" Target="../media/image37.png"/><Relationship Id="rId14" Type="http://schemas.openxmlformats.org/officeDocument/2006/relationships/image" Target="../media/image42.png"/><Relationship Id="rId22" Type="http://schemas.openxmlformats.org/officeDocument/2006/relationships/image" Target="../media/image5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2400" dirty="0"/>
              <a:t>AUTOMATION in mining</a:t>
            </a:r>
          </a:p>
        </p:txBody>
      </p:sp>
      <p:sp>
        <p:nvSpPr>
          <p:cNvPr id="3" name="Subtitle 2"/>
          <p:cNvSpPr>
            <a:spLocks noGrp="1"/>
          </p:cNvSpPr>
          <p:nvPr>
            <p:ph type="subTitle" idx="1"/>
          </p:nvPr>
        </p:nvSpPr>
        <p:spPr>
          <a:xfrm>
            <a:off x="360000" y="591570"/>
            <a:ext cx="8532480" cy="625850"/>
          </a:xfrm>
        </p:spPr>
        <p:txBody>
          <a:bodyPr/>
          <a:lstStyle/>
          <a:p>
            <a:r>
              <a:rPr lang="sv-SE" sz="1800" dirty="0"/>
              <a:t>SANDVIK Underground mining – </a:t>
            </a:r>
            <a:r>
              <a:rPr lang="sv-SE" sz="1600" dirty="0" err="1"/>
              <a:t>load</a:t>
            </a:r>
            <a:r>
              <a:rPr lang="sv-SE" sz="1600" dirty="0"/>
              <a:t>, </a:t>
            </a:r>
            <a:r>
              <a:rPr lang="sv-SE" sz="1600" dirty="0" err="1"/>
              <a:t>haul</a:t>
            </a:r>
            <a:r>
              <a:rPr lang="sv-SE" sz="1600" dirty="0"/>
              <a:t> &amp; Drill Automation</a:t>
            </a:r>
          </a:p>
          <a:p>
            <a:r>
              <a:rPr lang="sv-SE" sz="1600" dirty="0" err="1"/>
              <a:t>Safe</a:t>
            </a:r>
            <a:r>
              <a:rPr lang="sv-SE" sz="1600" dirty="0"/>
              <a:t> &amp; </a:t>
            </a:r>
            <a:r>
              <a:rPr lang="sv-SE" sz="1600" dirty="0" err="1"/>
              <a:t>cost</a:t>
            </a:r>
            <a:r>
              <a:rPr lang="sv-SE" sz="1600" dirty="0"/>
              <a:t> </a:t>
            </a:r>
            <a:r>
              <a:rPr lang="sv-SE" sz="1600" dirty="0" err="1"/>
              <a:t>effective</a:t>
            </a:r>
            <a:r>
              <a:rPr lang="sv-SE" sz="1600" dirty="0"/>
              <a:t> mining</a:t>
            </a:r>
            <a:endParaRPr lang="en-US" sz="1800" dirty="0"/>
          </a:p>
        </p:txBody>
      </p:sp>
      <p:sp>
        <p:nvSpPr>
          <p:cNvPr id="4" name="TextBox 3"/>
          <p:cNvSpPr txBox="1"/>
          <p:nvPr/>
        </p:nvSpPr>
        <p:spPr>
          <a:xfrm>
            <a:off x="6867255" y="4416955"/>
            <a:ext cx="2198038" cy="369332"/>
          </a:xfrm>
          <a:prstGeom prst="rect">
            <a:avLst/>
          </a:prstGeom>
          <a:noFill/>
        </p:spPr>
        <p:txBody>
          <a:bodyPr wrap="none" rtlCol="0">
            <a:spAutoFit/>
          </a:bodyPr>
          <a:lstStyle/>
          <a:p>
            <a:r>
              <a:rPr lang="sv-SE" b="1" dirty="0">
                <a:solidFill>
                  <a:schemeClr val="bg1"/>
                </a:solidFill>
              </a:rPr>
              <a:t>Andreas Simoncic</a:t>
            </a:r>
          </a:p>
        </p:txBody>
      </p:sp>
      <p:sp>
        <p:nvSpPr>
          <p:cNvPr id="6" name="TextBox 5"/>
          <p:cNvSpPr txBox="1"/>
          <p:nvPr/>
        </p:nvSpPr>
        <p:spPr>
          <a:xfrm>
            <a:off x="4977045" y="4725021"/>
            <a:ext cx="4106317" cy="276999"/>
          </a:xfrm>
          <a:prstGeom prst="rect">
            <a:avLst/>
          </a:prstGeom>
          <a:noFill/>
        </p:spPr>
        <p:txBody>
          <a:bodyPr wrap="none" rtlCol="0">
            <a:spAutoFit/>
          </a:bodyPr>
          <a:lstStyle/>
          <a:p>
            <a:r>
              <a:rPr lang="sv-SE" sz="1200" b="1" dirty="0">
                <a:solidFill>
                  <a:schemeClr val="bg1"/>
                </a:solidFill>
              </a:rPr>
              <a:t>Business Line Manager Automation, </a:t>
            </a:r>
            <a:r>
              <a:rPr lang="sv-SE" sz="1200" b="1" dirty="0" err="1">
                <a:solidFill>
                  <a:schemeClr val="bg1"/>
                </a:solidFill>
              </a:rPr>
              <a:t>Northern</a:t>
            </a:r>
            <a:r>
              <a:rPr lang="sv-SE" sz="1200" b="1" dirty="0">
                <a:solidFill>
                  <a:schemeClr val="bg1"/>
                </a:solidFill>
              </a:rPr>
              <a:t> </a:t>
            </a:r>
            <a:r>
              <a:rPr lang="sv-SE" sz="1200" b="1" dirty="0" err="1">
                <a:solidFill>
                  <a:schemeClr val="bg1"/>
                </a:solidFill>
              </a:rPr>
              <a:t>Europe</a:t>
            </a:r>
            <a:endParaRPr lang="sv-SE" sz="1200" b="1" dirty="0">
              <a:solidFill>
                <a:schemeClr val="bg1"/>
              </a:solidFill>
            </a:endParaRPr>
          </a:p>
        </p:txBody>
      </p:sp>
      <p:pic>
        <p:nvPicPr>
          <p:cNvPr id="10" name="Picture Placeholder 5">
            <a:extLst>
              <a:ext uri="{FF2B5EF4-FFF2-40B4-BE49-F238E27FC236}">
                <a16:creationId xmlns:a16="http://schemas.microsoft.com/office/drawing/2014/main" id="{4BA9C0C1-BF88-4DF2-B718-6D42BBD5C915}"/>
              </a:ext>
            </a:extLst>
          </p:cNvPr>
          <p:cNvPicPr>
            <a:picLocks noGrp="1" noChangeAspect="1"/>
          </p:cNvPicPr>
          <p:nvPr>
            <p:ph type="pic" sz="quarter" idx="13"/>
          </p:nvPr>
        </p:nvPicPr>
        <p:blipFill>
          <a:blip r:embed="rId3" cstate="print">
            <a:extLst>
              <a:ext uri="{28A0092B-C50C-407E-A947-70E740481C1C}">
                <a14:useLocalDpi xmlns:a14="http://schemas.microsoft.com/office/drawing/2010/main" val="0"/>
              </a:ext>
            </a:extLst>
          </a:blip>
          <a:srcRect t="18854" b="18854"/>
          <a:stretch>
            <a:fillRect/>
          </a:stretch>
        </p:blipFill>
        <p:spPr>
          <a:xfrm>
            <a:off x="0" y="1345763"/>
            <a:ext cx="9143999" cy="3797738"/>
          </a:xfrm>
        </p:spPr>
      </p:pic>
      <p:sp>
        <p:nvSpPr>
          <p:cNvPr id="11" name="TextBox 10">
            <a:extLst>
              <a:ext uri="{FF2B5EF4-FFF2-40B4-BE49-F238E27FC236}">
                <a16:creationId xmlns:a16="http://schemas.microsoft.com/office/drawing/2014/main" id="{4EC7352D-7B25-43BC-B04F-A2C98CEDF299}"/>
              </a:ext>
            </a:extLst>
          </p:cNvPr>
          <p:cNvSpPr txBox="1"/>
          <p:nvPr/>
        </p:nvSpPr>
        <p:spPr>
          <a:xfrm>
            <a:off x="296525" y="4282230"/>
            <a:ext cx="5760640" cy="800219"/>
          </a:xfrm>
          <a:prstGeom prst="rect">
            <a:avLst/>
          </a:prstGeom>
          <a:noFill/>
        </p:spPr>
        <p:txBody>
          <a:bodyPr wrap="square" rtlCol="0">
            <a:spAutoFit/>
          </a:bodyPr>
          <a:lstStyle/>
          <a:p>
            <a:r>
              <a:rPr lang="sv-SE" dirty="0">
                <a:solidFill>
                  <a:schemeClr val="accent2"/>
                </a:solidFill>
              </a:rPr>
              <a:t>Brian Carroll</a:t>
            </a:r>
          </a:p>
          <a:p>
            <a:r>
              <a:rPr lang="sv-SE" sz="1400" dirty="0">
                <a:solidFill>
                  <a:schemeClr val="accent2"/>
                </a:solidFill>
              </a:rPr>
              <a:t>Parts, Service &amp; </a:t>
            </a:r>
            <a:r>
              <a:rPr lang="sv-SE" sz="1400" dirty="0" err="1">
                <a:solidFill>
                  <a:schemeClr val="accent2"/>
                </a:solidFill>
              </a:rPr>
              <a:t>Warranty</a:t>
            </a:r>
            <a:r>
              <a:rPr lang="sv-SE" sz="1400" dirty="0">
                <a:solidFill>
                  <a:schemeClr val="accent2"/>
                </a:solidFill>
              </a:rPr>
              <a:t> </a:t>
            </a:r>
            <a:r>
              <a:rPr lang="sv-SE" sz="1400" dirty="0" err="1">
                <a:solidFill>
                  <a:schemeClr val="accent2"/>
                </a:solidFill>
              </a:rPr>
              <a:t>Lead</a:t>
            </a:r>
            <a:r>
              <a:rPr lang="sv-SE" sz="1400" dirty="0">
                <a:solidFill>
                  <a:schemeClr val="accent2"/>
                </a:solidFill>
              </a:rPr>
              <a:t> and Sales Manager Mining Ireland</a:t>
            </a:r>
          </a:p>
          <a:p>
            <a:r>
              <a:rPr lang="sv-SE" sz="1400" dirty="0">
                <a:solidFill>
                  <a:schemeClr val="accent2"/>
                </a:solidFill>
              </a:rPr>
              <a:t>Sandvik Mining and Rock </a:t>
            </a:r>
            <a:r>
              <a:rPr lang="sv-SE" sz="1400" dirty="0" err="1">
                <a:solidFill>
                  <a:schemeClr val="accent2"/>
                </a:solidFill>
              </a:rPr>
              <a:t>Technology</a:t>
            </a:r>
            <a:endParaRPr lang="sv-SE" dirty="0">
              <a:solidFill>
                <a:schemeClr val="accent2"/>
              </a:solidFill>
            </a:endParaRPr>
          </a:p>
        </p:txBody>
      </p:sp>
    </p:spTree>
    <p:extLst>
      <p:ext uri="{BB962C8B-B14F-4D97-AF65-F5344CB8AC3E}">
        <p14:creationId xmlns:p14="http://schemas.microsoft.com/office/powerpoint/2010/main" val="1066497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Platshållare för text 17"/>
          <p:cNvSpPr>
            <a:spLocks noGrp="1"/>
          </p:cNvSpPr>
          <p:nvPr>
            <p:ph type="body" sz="quarter" idx="13"/>
          </p:nvPr>
        </p:nvSpPr>
        <p:spPr>
          <a:xfrm>
            <a:off x="360000" y="696565"/>
            <a:ext cx="8424000" cy="270000"/>
          </a:xfrm>
        </p:spPr>
        <p:txBody>
          <a:bodyPr/>
          <a:lstStyle/>
          <a:p>
            <a:r>
              <a:rPr lang="sv-SE" dirty="0" err="1"/>
              <a:t>WhY</a:t>
            </a:r>
            <a:r>
              <a:rPr lang="sv-SE" dirty="0"/>
              <a:t> </a:t>
            </a:r>
            <a:r>
              <a:rPr lang="sv-SE" dirty="0" err="1"/>
              <a:t>automatE</a:t>
            </a:r>
            <a:r>
              <a:rPr lang="sv-SE" dirty="0"/>
              <a:t>?</a:t>
            </a:r>
          </a:p>
          <a:p>
            <a:endParaRPr lang="sv-SE" dirty="0"/>
          </a:p>
          <a:p>
            <a:endParaRPr lang="sv-SE" dirty="0"/>
          </a:p>
        </p:txBody>
      </p:sp>
      <p:sp>
        <p:nvSpPr>
          <p:cNvPr id="19" name="Rubrik 18"/>
          <p:cNvSpPr>
            <a:spLocks noGrp="1"/>
          </p:cNvSpPr>
          <p:nvPr>
            <p:ph type="title"/>
          </p:nvPr>
        </p:nvSpPr>
        <p:spPr>
          <a:xfrm>
            <a:off x="360000" y="207535"/>
            <a:ext cx="8424000" cy="360000"/>
          </a:xfrm>
        </p:spPr>
        <p:txBody>
          <a:bodyPr/>
          <a:lstStyle/>
          <a:p>
            <a:r>
              <a:rPr lang="sv-SE" dirty="0"/>
              <a:t>Automation in mining</a:t>
            </a:r>
          </a:p>
        </p:txBody>
      </p:sp>
      <p:grpSp>
        <p:nvGrpSpPr>
          <p:cNvPr id="4" name="Group 3">
            <a:extLst>
              <a:ext uri="{FF2B5EF4-FFF2-40B4-BE49-F238E27FC236}">
                <a16:creationId xmlns:a16="http://schemas.microsoft.com/office/drawing/2014/main" id="{168105DB-07A0-4422-9DA5-DEF72585259F}"/>
              </a:ext>
            </a:extLst>
          </p:cNvPr>
          <p:cNvGrpSpPr/>
          <p:nvPr/>
        </p:nvGrpSpPr>
        <p:grpSpPr>
          <a:xfrm>
            <a:off x="509354" y="1491630"/>
            <a:ext cx="5379179" cy="3385989"/>
            <a:chOff x="509354" y="1571026"/>
            <a:chExt cx="4678503" cy="2944940"/>
          </a:xfrm>
        </p:grpSpPr>
        <p:sp>
          <p:nvSpPr>
            <p:cNvPr id="5" name="TextBox 4">
              <a:extLst>
                <a:ext uri="{FF2B5EF4-FFF2-40B4-BE49-F238E27FC236}">
                  <a16:creationId xmlns:a16="http://schemas.microsoft.com/office/drawing/2014/main" id="{05F95E4C-A3DC-492F-B358-C203A18002BB}"/>
                </a:ext>
              </a:extLst>
            </p:cNvPr>
            <p:cNvSpPr txBox="1"/>
            <p:nvPr/>
          </p:nvSpPr>
          <p:spPr>
            <a:xfrm>
              <a:off x="2280960" y="4269745"/>
              <a:ext cx="490840" cy="246221"/>
            </a:xfrm>
            <a:prstGeom prst="rect">
              <a:avLst/>
            </a:prstGeom>
            <a:solidFill>
              <a:schemeClr val="bg1"/>
            </a:solid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AU" sz="1000" b="0" i="0" u="none" strike="noStrike" kern="0" cap="none" spc="0" normalizeH="0" baseline="0" noProof="0" dirty="0">
                  <a:ln>
                    <a:noFill/>
                  </a:ln>
                  <a:effectLst/>
                  <a:uLnTx/>
                  <a:uFillTx/>
                </a:rPr>
                <a:t>TIME</a:t>
              </a:r>
            </a:p>
          </p:txBody>
        </p:sp>
        <p:grpSp>
          <p:nvGrpSpPr>
            <p:cNvPr id="6" name="Group 5">
              <a:extLst>
                <a:ext uri="{FF2B5EF4-FFF2-40B4-BE49-F238E27FC236}">
                  <a16:creationId xmlns:a16="http://schemas.microsoft.com/office/drawing/2014/main" id="{83A6FDC3-498F-4A51-AD27-5A924BB5A56E}"/>
                </a:ext>
              </a:extLst>
            </p:cNvPr>
            <p:cNvGrpSpPr/>
            <p:nvPr/>
          </p:nvGrpSpPr>
          <p:grpSpPr>
            <a:xfrm>
              <a:off x="1066526" y="4017205"/>
              <a:ext cx="3127452" cy="246221"/>
              <a:chOff x="1066526" y="4017205"/>
              <a:chExt cx="3127452" cy="246221"/>
            </a:xfrm>
          </p:grpSpPr>
          <p:sp>
            <p:nvSpPr>
              <p:cNvPr id="15" name="TextBox 14">
                <a:extLst>
                  <a:ext uri="{FF2B5EF4-FFF2-40B4-BE49-F238E27FC236}">
                    <a16:creationId xmlns:a16="http://schemas.microsoft.com/office/drawing/2014/main" id="{D14D1F2D-7AB6-408A-9919-BF169F7E1060}"/>
                  </a:ext>
                </a:extLst>
              </p:cNvPr>
              <p:cNvSpPr txBox="1"/>
              <p:nvPr/>
            </p:nvSpPr>
            <p:spPr>
              <a:xfrm>
                <a:off x="3868248" y="4017205"/>
                <a:ext cx="325730" cy="246221"/>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AU" sz="1000" b="0" i="0" u="none" strike="noStrike" kern="0" cap="none" spc="0" normalizeH="0" baseline="0" noProof="0" dirty="0">
                    <a:ln>
                      <a:noFill/>
                    </a:ln>
                    <a:effectLst/>
                    <a:uLnTx/>
                    <a:uFillTx/>
                  </a:rPr>
                  <a:t>24</a:t>
                </a:r>
              </a:p>
            </p:txBody>
          </p:sp>
          <p:sp>
            <p:nvSpPr>
              <p:cNvPr id="16" name="TextBox 15">
                <a:extLst>
                  <a:ext uri="{FF2B5EF4-FFF2-40B4-BE49-F238E27FC236}">
                    <a16:creationId xmlns:a16="http://schemas.microsoft.com/office/drawing/2014/main" id="{BAE37E67-B65B-40D7-B48E-E661FADDDCEA}"/>
                  </a:ext>
                </a:extLst>
              </p:cNvPr>
              <p:cNvSpPr txBox="1"/>
              <p:nvPr/>
            </p:nvSpPr>
            <p:spPr>
              <a:xfrm>
                <a:off x="2371208" y="4017205"/>
                <a:ext cx="325730" cy="246221"/>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AU" sz="1000" b="0" i="0" u="none" strike="noStrike" kern="0" cap="none" spc="0" normalizeH="0" baseline="0" noProof="0" dirty="0">
                    <a:ln>
                      <a:noFill/>
                    </a:ln>
                    <a:effectLst/>
                    <a:uLnTx/>
                    <a:uFillTx/>
                  </a:rPr>
                  <a:t>12</a:t>
                </a:r>
              </a:p>
            </p:txBody>
          </p:sp>
          <p:sp>
            <p:nvSpPr>
              <p:cNvPr id="17" name="TextBox 16">
                <a:extLst>
                  <a:ext uri="{FF2B5EF4-FFF2-40B4-BE49-F238E27FC236}">
                    <a16:creationId xmlns:a16="http://schemas.microsoft.com/office/drawing/2014/main" id="{89C32894-CC97-44CD-B491-125BF3102098}"/>
                  </a:ext>
                </a:extLst>
              </p:cNvPr>
              <p:cNvSpPr txBox="1"/>
              <p:nvPr/>
            </p:nvSpPr>
            <p:spPr>
              <a:xfrm>
                <a:off x="1066526" y="4017205"/>
                <a:ext cx="255198" cy="246221"/>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AU" sz="1000" b="0" i="0" u="none" strike="noStrike" kern="0" cap="none" spc="0" normalizeH="0" baseline="0" noProof="0" dirty="0">
                    <a:ln>
                      <a:noFill/>
                    </a:ln>
                    <a:effectLst/>
                    <a:uLnTx/>
                    <a:uFillTx/>
                  </a:rPr>
                  <a:t>0</a:t>
                </a:r>
              </a:p>
            </p:txBody>
          </p:sp>
          <p:sp>
            <p:nvSpPr>
              <p:cNvPr id="20" name="TextBox 19">
                <a:extLst>
                  <a:ext uri="{FF2B5EF4-FFF2-40B4-BE49-F238E27FC236}">
                    <a16:creationId xmlns:a16="http://schemas.microsoft.com/office/drawing/2014/main" id="{F1CB0F5B-4300-4988-968D-041224E5E7CE}"/>
                  </a:ext>
                </a:extLst>
              </p:cNvPr>
              <p:cNvSpPr txBox="1"/>
              <p:nvPr/>
            </p:nvSpPr>
            <p:spPr>
              <a:xfrm>
                <a:off x="1936314" y="4017205"/>
                <a:ext cx="255198" cy="246221"/>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AU" sz="1000" b="0" i="0" u="none" strike="noStrike" kern="0" cap="none" spc="0" normalizeH="0" baseline="0" noProof="0" dirty="0">
                    <a:ln>
                      <a:noFill/>
                    </a:ln>
                    <a:effectLst/>
                    <a:uLnTx/>
                    <a:uFillTx/>
                  </a:rPr>
                  <a:t>8</a:t>
                </a:r>
              </a:p>
            </p:txBody>
          </p:sp>
          <p:sp>
            <p:nvSpPr>
              <p:cNvPr id="21" name="TextBox 20">
                <a:extLst>
                  <a:ext uri="{FF2B5EF4-FFF2-40B4-BE49-F238E27FC236}">
                    <a16:creationId xmlns:a16="http://schemas.microsoft.com/office/drawing/2014/main" id="{13AA624F-9B58-44EB-9FAA-873FFE7A6A24}"/>
                  </a:ext>
                </a:extLst>
              </p:cNvPr>
              <p:cNvSpPr txBox="1"/>
              <p:nvPr/>
            </p:nvSpPr>
            <p:spPr>
              <a:xfrm>
                <a:off x="1501420" y="4017205"/>
                <a:ext cx="255198" cy="246221"/>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AU" sz="1000" b="0" i="0" u="none" strike="noStrike" kern="0" cap="none" spc="0" normalizeH="0" baseline="0" noProof="0" dirty="0">
                    <a:ln>
                      <a:noFill/>
                    </a:ln>
                    <a:effectLst/>
                    <a:uLnTx/>
                    <a:uFillTx/>
                  </a:rPr>
                  <a:t>4</a:t>
                </a:r>
              </a:p>
            </p:txBody>
          </p:sp>
          <p:sp>
            <p:nvSpPr>
              <p:cNvPr id="22" name="TextBox 21">
                <a:extLst>
                  <a:ext uri="{FF2B5EF4-FFF2-40B4-BE49-F238E27FC236}">
                    <a16:creationId xmlns:a16="http://schemas.microsoft.com/office/drawing/2014/main" id="{FB90F71C-44DD-4889-8FD9-ADE320ACD700}"/>
                  </a:ext>
                </a:extLst>
              </p:cNvPr>
              <p:cNvSpPr txBox="1"/>
              <p:nvPr/>
            </p:nvSpPr>
            <p:spPr>
              <a:xfrm>
                <a:off x="2870222" y="4017205"/>
                <a:ext cx="325730" cy="246221"/>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AU" sz="1000" b="0" i="0" u="none" strike="noStrike" kern="0" cap="none" spc="0" normalizeH="0" baseline="0" noProof="0" dirty="0">
                    <a:ln>
                      <a:noFill/>
                    </a:ln>
                    <a:effectLst/>
                    <a:uLnTx/>
                    <a:uFillTx/>
                  </a:rPr>
                  <a:t>16</a:t>
                </a:r>
              </a:p>
            </p:txBody>
          </p:sp>
          <p:sp>
            <p:nvSpPr>
              <p:cNvPr id="23" name="TextBox 22">
                <a:extLst>
                  <a:ext uri="{FF2B5EF4-FFF2-40B4-BE49-F238E27FC236}">
                    <a16:creationId xmlns:a16="http://schemas.microsoft.com/office/drawing/2014/main" id="{E49E42B7-7363-4FE2-9929-E6305F4FECA5}"/>
                  </a:ext>
                </a:extLst>
              </p:cNvPr>
              <p:cNvSpPr txBox="1"/>
              <p:nvPr/>
            </p:nvSpPr>
            <p:spPr>
              <a:xfrm>
                <a:off x="3369236" y="4017205"/>
                <a:ext cx="325730" cy="246221"/>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AU" sz="1000" b="0" i="0" u="none" strike="noStrike" kern="0" cap="none" spc="0" normalizeH="0" baseline="0" noProof="0" dirty="0">
                    <a:ln>
                      <a:noFill/>
                    </a:ln>
                    <a:effectLst/>
                    <a:uLnTx/>
                    <a:uFillTx/>
                  </a:rPr>
                  <a:t>20</a:t>
                </a:r>
              </a:p>
            </p:txBody>
          </p:sp>
        </p:grpSp>
        <p:sp>
          <p:nvSpPr>
            <p:cNvPr id="7" name="TextBox 6">
              <a:extLst>
                <a:ext uri="{FF2B5EF4-FFF2-40B4-BE49-F238E27FC236}">
                  <a16:creationId xmlns:a16="http://schemas.microsoft.com/office/drawing/2014/main" id="{DA5FF182-336B-415C-8F32-2F43E870211F}"/>
                </a:ext>
              </a:extLst>
            </p:cNvPr>
            <p:cNvSpPr txBox="1"/>
            <p:nvPr/>
          </p:nvSpPr>
          <p:spPr>
            <a:xfrm rot="16200000">
              <a:off x="-79429" y="2736693"/>
              <a:ext cx="1423788" cy="246221"/>
            </a:xfrm>
            <a:prstGeom prst="rect">
              <a:avLst/>
            </a:prstGeom>
            <a:solidFill>
              <a:schemeClr val="bg1"/>
            </a:solid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AU" sz="1000" b="0" i="0" u="none" strike="noStrike" kern="0" cap="none" spc="0" normalizeH="0" baseline="0" noProof="0" dirty="0">
                  <a:ln>
                    <a:noFill/>
                  </a:ln>
                  <a:effectLst/>
                  <a:uLnTx/>
                  <a:uFillTx/>
                </a:rPr>
                <a:t>PRODUCTION RATE</a:t>
              </a:r>
            </a:p>
          </p:txBody>
        </p:sp>
        <p:graphicFrame>
          <p:nvGraphicFramePr>
            <p:cNvPr id="8" name="Object 23">
              <a:extLst>
                <a:ext uri="{FF2B5EF4-FFF2-40B4-BE49-F238E27FC236}">
                  <a16:creationId xmlns:a16="http://schemas.microsoft.com/office/drawing/2014/main" id="{769586E9-3342-47CA-9F53-64E2CF5847B9}"/>
                </a:ext>
              </a:extLst>
            </p:cNvPr>
            <p:cNvGraphicFramePr>
              <a:graphicFrameLocks/>
            </p:cNvGraphicFramePr>
            <p:nvPr>
              <p:custDataLst>
                <p:tags r:id="rId1"/>
              </p:custDataLst>
              <p:extLst>
                <p:ext uri="{D42A27DB-BD31-4B8C-83A1-F6EECF244321}">
                  <p14:modId xmlns:p14="http://schemas.microsoft.com/office/powerpoint/2010/main" val="2964342381"/>
                </p:ext>
              </p:extLst>
            </p:nvPr>
          </p:nvGraphicFramePr>
          <p:xfrm>
            <a:off x="828445" y="1571026"/>
            <a:ext cx="3232150" cy="2641600"/>
          </p:xfrm>
          <a:graphic>
            <a:graphicData uri="http://schemas.openxmlformats.org/drawingml/2006/chart">
              <c:chart xmlns:c="http://schemas.openxmlformats.org/drawingml/2006/chart" xmlns:r="http://schemas.openxmlformats.org/officeDocument/2006/relationships" r:id="rId4"/>
            </a:graphicData>
          </a:graphic>
        </p:graphicFrame>
        <p:sp>
          <p:nvSpPr>
            <p:cNvPr id="9" name="Oval 8">
              <a:extLst>
                <a:ext uri="{FF2B5EF4-FFF2-40B4-BE49-F238E27FC236}">
                  <a16:creationId xmlns:a16="http://schemas.microsoft.com/office/drawing/2014/main" id="{A2BF61CC-51F4-492B-88D0-E6251E3CDAF4}"/>
                </a:ext>
              </a:extLst>
            </p:cNvPr>
            <p:cNvSpPr/>
            <p:nvPr/>
          </p:nvSpPr>
          <p:spPr>
            <a:xfrm>
              <a:off x="3956026" y="2817390"/>
              <a:ext cx="141178" cy="141178"/>
            </a:xfrm>
            <a:prstGeom prst="ellipse">
              <a:avLst/>
            </a:prstGeom>
            <a:solidFill>
              <a:schemeClr val="tx2"/>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tx1"/>
                </a:solidFill>
                <a:effectLst/>
                <a:uLnTx/>
                <a:uFillTx/>
              </a:endParaRPr>
            </a:p>
          </p:txBody>
        </p:sp>
        <p:sp>
          <p:nvSpPr>
            <p:cNvPr id="10" name="Oval 9">
              <a:extLst>
                <a:ext uri="{FF2B5EF4-FFF2-40B4-BE49-F238E27FC236}">
                  <a16:creationId xmlns:a16="http://schemas.microsoft.com/office/drawing/2014/main" id="{9FB0B8B9-308F-450B-ACCF-0106578EA520}"/>
                </a:ext>
              </a:extLst>
            </p:cNvPr>
            <p:cNvSpPr/>
            <p:nvPr/>
          </p:nvSpPr>
          <p:spPr>
            <a:xfrm>
              <a:off x="3956026" y="3325422"/>
              <a:ext cx="141178" cy="141178"/>
            </a:xfrm>
            <a:prstGeom prst="ellipse">
              <a:avLst/>
            </a:prstGeom>
            <a:solidFill>
              <a:schemeClr val="accent2"/>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1"/>
                </a:solidFill>
                <a:effectLst/>
                <a:uLnTx/>
                <a:uFillTx/>
              </a:endParaRPr>
            </a:p>
          </p:txBody>
        </p:sp>
        <p:sp>
          <p:nvSpPr>
            <p:cNvPr id="11" name="Oval 10">
              <a:extLst>
                <a:ext uri="{FF2B5EF4-FFF2-40B4-BE49-F238E27FC236}">
                  <a16:creationId xmlns:a16="http://schemas.microsoft.com/office/drawing/2014/main" id="{621262FC-4FB0-45C6-BE9A-6FD1CA6794C2}"/>
                </a:ext>
              </a:extLst>
            </p:cNvPr>
            <p:cNvSpPr/>
            <p:nvPr/>
          </p:nvSpPr>
          <p:spPr>
            <a:xfrm>
              <a:off x="3956026" y="3596736"/>
              <a:ext cx="141178" cy="141178"/>
            </a:xfrm>
            <a:prstGeom prst="ellipse">
              <a:avLst/>
            </a:prstGeom>
            <a:solidFill>
              <a:schemeClr val="accent3"/>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1"/>
                </a:solidFill>
                <a:effectLst/>
                <a:uLnTx/>
                <a:uFillTx/>
              </a:endParaRPr>
            </a:p>
          </p:txBody>
        </p:sp>
        <p:sp>
          <p:nvSpPr>
            <p:cNvPr id="12" name="TextBox 11">
              <a:extLst>
                <a:ext uri="{FF2B5EF4-FFF2-40B4-BE49-F238E27FC236}">
                  <a16:creationId xmlns:a16="http://schemas.microsoft.com/office/drawing/2014/main" id="{D7355D72-0E5F-4671-BE9E-6F6F49F91318}"/>
                </a:ext>
              </a:extLst>
            </p:cNvPr>
            <p:cNvSpPr txBox="1"/>
            <p:nvPr/>
          </p:nvSpPr>
          <p:spPr>
            <a:xfrm>
              <a:off x="4097494" y="2711477"/>
              <a:ext cx="1090363" cy="307777"/>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effectLst/>
                  <a:uLnTx/>
                  <a:uFillTx/>
                </a:rPr>
                <a:t>Automation</a:t>
              </a:r>
            </a:p>
          </p:txBody>
        </p:sp>
        <p:sp>
          <p:nvSpPr>
            <p:cNvPr id="13" name="TextBox 12">
              <a:extLst>
                <a:ext uri="{FF2B5EF4-FFF2-40B4-BE49-F238E27FC236}">
                  <a16:creationId xmlns:a16="http://schemas.microsoft.com/office/drawing/2014/main" id="{9D2157B3-E8D6-4CF9-AB0A-AA4440F2FA13}"/>
                </a:ext>
              </a:extLst>
            </p:cNvPr>
            <p:cNvSpPr txBox="1"/>
            <p:nvPr/>
          </p:nvSpPr>
          <p:spPr>
            <a:xfrm>
              <a:off x="4097494" y="3238051"/>
              <a:ext cx="1079142" cy="307777"/>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effectLst/>
                  <a:uLnTx/>
                  <a:uFillTx/>
                </a:rPr>
                <a:t>Information</a:t>
              </a:r>
            </a:p>
          </p:txBody>
        </p:sp>
        <p:sp>
          <p:nvSpPr>
            <p:cNvPr id="14" name="TextBox 13">
              <a:extLst>
                <a:ext uri="{FF2B5EF4-FFF2-40B4-BE49-F238E27FC236}">
                  <a16:creationId xmlns:a16="http://schemas.microsoft.com/office/drawing/2014/main" id="{48AE26C9-90E2-4F9C-8631-F5D9DD4D405C}"/>
                </a:ext>
              </a:extLst>
            </p:cNvPr>
            <p:cNvSpPr txBox="1"/>
            <p:nvPr/>
          </p:nvSpPr>
          <p:spPr>
            <a:xfrm>
              <a:off x="4097494" y="3509487"/>
              <a:ext cx="681597" cy="307777"/>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effectLst/>
                  <a:uLnTx/>
                  <a:uFillTx/>
                </a:rPr>
                <a:t>Today</a:t>
              </a:r>
            </a:p>
          </p:txBody>
        </p:sp>
      </p:grpSp>
      <p:pic>
        <p:nvPicPr>
          <p:cNvPr id="24" name="Bildobjekt 1">
            <a:extLst>
              <a:ext uri="{FF2B5EF4-FFF2-40B4-BE49-F238E27FC236}">
                <a16:creationId xmlns:a16="http://schemas.microsoft.com/office/drawing/2014/main" id="{5DDC9F9E-EB4B-445D-9F27-81BC37967C59}"/>
              </a:ext>
            </a:extLst>
          </p:cNvPr>
          <p:cNvPicPr>
            <a:picLocks noChangeAspect="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flipH="1">
            <a:off x="6009060" y="1559858"/>
            <a:ext cx="2236779" cy="2796989"/>
          </a:xfrm>
          <a:prstGeom prst="rect">
            <a:avLst/>
          </a:prstGeom>
        </p:spPr>
      </p:pic>
      <p:sp>
        <p:nvSpPr>
          <p:cNvPr id="2" name="TextBox 1">
            <a:extLst>
              <a:ext uri="{FF2B5EF4-FFF2-40B4-BE49-F238E27FC236}">
                <a16:creationId xmlns:a16="http://schemas.microsoft.com/office/drawing/2014/main" id="{CE0BE6A7-EC1E-4092-AED1-3EAFEF76BFBF}"/>
              </a:ext>
            </a:extLst>
          </p:cNvPr>
          <p:cNvSpPr txBox="1"/>
          <p:nvPr/>
        </p:nvSpPr>
        <p:spPr>
          <a:xfrm>
            <a:off x="360000" y="1110505"/>
            <a:ext cx="7861847" cy="369332"/>
          </a:xfrm>
          <a:prstGeom prst="rect">
            <a:avLst/>
          </a:prstGeom>
          <a:noFill/>
        </p:spPr>
        <p:txBody>
          <a:bodyPr wrap="square" rtlCol="0">
            <a:spAutoFit/>
          </a:bodyPr>
          <a:lstStyle/>
          <a:p>
            <a:r>
              <a:rPr lang="sv-SE" dirty="0" err="1"/>
              <a:t>More</a:t>
            </a:r>
            <a:r>
              <a:rPr lang="sv-SE" dirty="0"/>
              <a:t> </a:t>
            </a:r>
            <a:r>
              <a:rPr lang="sv-SE" dirty="0" err="1"/>
              <a:t>lower</a:t>
            </a:r>
            <a:r>
              <a:rPr lang="sv-SE" dirty="0"/>
              <a:t> </a:t>
            </a:r>
            <a:r>
              <a:rPr lang="sv-SE" dirty="0" err="1"/>
              <a:t>cost</a:t>
            </a:r>
            <a:r>
              <a:rPr lang="sv-SE" dirty="0"/>
              <a:t> &amp; </a:t>
            </a:r>
            <a:r>
              <a:rPr lang="sv-SE" dirty="0" err="1"/>
              <a:t>safer</a:t>
            </a:r>
            <a:r>
              <a:rPr lang="sv-SE" dirty="0"/>
              <a:t> </a:t>
            </a:r>
            <a:r>
              <a:rPr lang="sv-SE" dirty="0" err="1"/>
              <a:t>tonnes</a:t>
            </a:r>
            <a:r>
              <a:rPr lang="sv-SE" dirty="0"/>
              <a:t> with information and AUTOMATION</a:t>
            </a:r>
          </a:p>
        </p:txBody>
      </p:sp>
    </p:spTree>
    <p:extLst>
      <p:ext uri="{BB962C8B-B14F-4D97-AF65-F5344CB8AC3E}">
        <p14:creationId xmlns:p14="http://schemas.microsoft.com/office/powerpoint/2010/main" val="3794775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10" presetClass="entr" presetSubtype="0" fill="hold" nodeType="withEffect">
                                  <p:stCondLst>
                                    <p:cond delay="0"/>
                                  </p:stCondLst>
                                  <p:childTnLst>
                                    <p:set>
                                      <p:cBhvr>
                                        <p:cTn id="14" dur="1" fill="hold">
                                          <p:stCondLst>
                                            <p:cond delay="0"/>
                                          </p:stCondLst>
                                        </p:cTn>
                                        <p:tgtEl>
                                          <p:spTgt spid="24"/>
                                        </p:tgtEl>
                                        <p:attrNameLst>
                                          <p:attrName>style.visibility</p:attrName>
                                        </p:attrNameLst>
                                      </p:cBhvr>
                                      <p:to>
                                        <p:strVal val="visible"/>
                                      </p:to>
                                    </p:set>
                                    <p:animEffect transition="in" filter="fade">
                                      <p:cBhvr>
                                        <p:cTn id="15"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object 5"/>
          <p:cNvSpPr/>
          <p:nvPr/>
        </p:nvSpPr>
        <p:spPr>
          <a:xfrm>
            <a:off x="5914107" y="3472002"/>
            <a:ext cx="425196" cy="411480"/>
          </a:xfrm>
          <a:prstGeom prst="rect">
            <a:avLst/>
          </a:prstGeom>
          <a:blipFill>
            <a:blip r:embed="rId3" cstate="print"/>
            <a:stretch>
              <a:fillRect/>
            </a:stretch>
          </a:blipFill>
        </p:spPr>
        <p:txBody>
          <a:bodyPr wrap="square" lIns="0" tIns="0" rIns="0" bIns="0" rtlCol="0"/>
          <a:lstStyle/>
          <a:p>
            <a:endParaRPr/>
          </a:p>
        </p:txBody>
      </p:sp>
      <p:sp>
        <p:nvSpPr>
          <p:cNvPr id="147" name="object 62"/>
          <p:cNvSpPr/>
          <p:nvPr/>
        </p:nvSpPr>
        <p:spPr>
          <a:xfrm>
            <a:off x="7582888" y="3485719"/>
            <a:ext cx="466344" cy="388620"/>
          </a:xfrm>
          <a:prstGeom prst="rect">
            <a:avLst/>
          </a:prstGeom>
          <a:blipFill>
            <a:blip r:embed="rId4" cstate="print"/>
            <a:stretch>
              <a:fillRect/>
            </a:stretch>
          </a:blipFill>
        </p:spPr>
        <p:txBody>
          <a:bodyPr wrap="square" lIns="0" tIns="0" rIns="0" bIns="0" rtlCol="0"/>
          <a:lstStyle/>
          <a:p>
            <a:endParaRPr/>
          </a:p>
        </p:txBody>
      </p:sp>
      <p:sp>
        <p:nvSpPr>
          <p:cNvPr id="151" name="object 67"/>
          <p:cNvSpPr/>
          <p:nvPr/>
        </p:nvSpPr>
        <p:spPr>
          <a:xfrm>
            <a:off x="385039" y="1113358"/>
            <a:ext cx="3611876" cy="3644900"/>
          </a:xfrm>
          <a:prstGeom prst="rect">
            <a:avLst/>
          </a:prstGeom>
          <a:blipFill>
            <a:blip r:embed="rId5" cstate="print"/>
            <a:stretch>
              <a:fillRect/>
            </a:stretch>
          </a:blipFill>
        </p:spPr>
        <p:txBody>
          <a:bodyPr wrap="square" lIns="0" tIns="0" rIns="0" bIns="0" rtlCol="0"/>
          <a:lstStyle/>
          <a:p>
            <a:endParaRPr/>
          </a:p>
        </p:txBody>
      </p:sp>
      <p:sp>
        <p:nvSpPr>
          <p:cNvPr id="152" name="object 68"/>
          <p:cNvSpPr/>
          <p:nvPr/>
        </p:nvSpPr>
        <p:spPr>
          <a:xfrm>
            <a:off x="1218664" y="1987627"/>
            <a:ext cx="1885314" cy="1885314"/>
          </a:xfrm>
          <a:custGeom>
            <a:avLst/>
            <a:gdLst/>
            <a:ahLst/>
            <a:cxnLst/>
            <a:rect l="l" t="t" r="r" b="b"/>
            <a:pathLst>
              <a:path w="1885314" h="1885314">
                <a:moveTo>
                  <a:pt x="1885188" y="941832"/>
                </a:moveTo>
                <a:lnTo>
                  <a:pt x="1883961" y="893407"/>
                </a:lnTo>
                <a:lnTo>
                  <a:pt x="1880319" y="845613"/>
                </a:lnTo>
                <a:lnTo>
                  <a:pt x="1874323" y="798510"/>
                </a:lnTo>
                <a:lnTo>
                  <a:pt x="1866030" y="752156"/>
                </a:lnTo>
                <a:lnTo>
                  <a:pt x="1855501" y="706612"/>
                </a:lnTo>
                <a:lnTo>
                  <a:pt x="1842794" y="661936"/>
                </a:lnTo>
                <a:lnTo>
                  <a:pt x="1827968" y="618189"/>
                </a:lnTo>
                <a:lnTo>
                  <a:pt x="1811083" y="575429"/>
                </a:lnTo>
                <a:lnTo>
                  <a:pt x="1792198" y="533716"/>
                </a:lnTo>
                <a:lnTo>
                  <a:pt x="1771371" y="493109"/>
                </a:lnTo>
                <a:lnTo>
                  <a:pt x="1748663" y="453669"/>
                </a:lnTo>
                <a:lnTo>
                  <a:pt x="1724132" y="415453"/>
                </a:lnTo>
                <a:lnTo>
                  <a:pt x="1697837" y="378523"/>
                </a:lnTo>
                <a:lnTo>
                  <a:pt x="1669838" y="342936"/>
                </a:lnTo>
                <a:lnTo>
                  <a:pt x="1640193" y="308754"/>
                </a:lnTo>
                <a:lnTo>
                  <a:pt x="1608963" y="276034"/>
                </a:lnTo>
                <a:lnTo>
                  <a:pt x="1576205" y="244837"/>
                </a:lnTo>
                <a:lnTo>
                  <a:pt x="1541979" y="215222"/>
                </a:lnTo>
                <a:lnTo>
                  <a:pt x="1506345" y="187248"/>
                </a:lnTo>
                <a:lnTo>
                  <a:pt x="1469362" y="160975"/>
                </a:lnTo>
                <a:lnTo>
                  <a:pt x="1431088" y="136462"/>
                </a:lnTo>
                <a:lnTo>
                  <a:pt x="1391583" y="113769"/>
                </a:lnTo>
                <a:lnTo>
                  <a:pt x="1350906" y="92955"/>
                </a:lnTo>
                <a:lnTo>
                  <a:pt x="1309116" y="74080"/>
                </a:lnTo>
                <a:lnTo>
                  <a:pt x="1266272" y="57203"/>
                </a:lnTo>
                <a:lnTo>
                  <a:pt x="1222434" y="42383"/>
                </a:lnTo>
                <a:lnTo>
                  <a:pt x="1177660" y="29680"/>
                </a:lnTo>
                <a:lnTo>
                  <a:pt x="1132010" y="19154"/>
                </a:lnTo>
                <a:lnTo>
                  <a:pt x="1085543" y="10863"/>
                </a:lnTo>
                <a:lnTo>
                  <a:pt x="1038318" y="4867"/>
                </a:lnTo>
                <a:lnTo>
                  <a:pt x="990395" y="1226"/>
                </a:lnTo>
                <a:lnTo>
                  <a:pt x="941832" y="0"/>
                </a:lnTo>
                <a:lnTo>
                  <a:pt x="893407" y="1226"/>
                </a:lnTo>
                <a:lnTo>
                  <a:pt x="845613" y="4867"/>
                </a:lnTo>
                <a:lnTo>
                  <a:pt x="798510" y="10863"/>
                </a:lnTo>
                <a:lnTo>
                  <a:pt x="752156" y="19154"/>
                </a:lnTo>
                <a:lnTo>
                  <a:pt x="706612" y="29680"/>
                </a:lnTo>
                <a:lnTo>
                  <a:pt x="661936" y="42383"/>
                </a:lnTo>
                <a:lnTo>
                  <a:pt x="618189" y="57203"/>
                </a:lnTo>
                <a:lnTo>
                  <a:pt x="575429" y="74080"/>
                </a:lnTo>
                <a:lnTo>
                  <a:pt x="533716" y="92955"/>
                </a:lnTo>
                <a:lnTo>
                  <a:pt x="493109" y="113769"/>
                </a:lnTo>
                <a:lnTo>
                  <a:pt x="453669" y="136462"/>
                </a:lnTo>
                <a:lnTo>
                  <a:pt x="415453" y="160975"/>
                </a:lnTo>
                <a:lnTo>
                  <a:pt x="378523" y="187248"/>
                </a:lnTo>
                <a:lnTo>
                  <a:pt x="342936" y="215222"/>
                </a:lnTo>
                <a:lnTo>
                  <a:pt x="308754" y="244837"/>
                </a:lnTo>
                <a:lnTo>
                  <a:pt x="276034" y="276034"/>
                </a:lnTo>
                <a:lnTo>
                  <a:pt x="244837" y="308754"/>
                </a:lnTo>
                <a:lnTo>
                  <a:pt x="215222" y="342936"/>
                </a:lnTo>
                <a:lnTo>
                  <a:pt x="187248" y="378523"/>
                </a:lnTo>
                <a:lnTo>
                  <a:pt x="160975" y="415453"/>
                </a:lnTo>
                <a:lnTo>
                  <a:pt x="136462" y="453669"/>
                </a:lnTo>
                <a:lnTo>
                  <a:pt x="113769" y="493109"/>
                </a:lnTo>
                <a:lnTo>
                  <a:pt x="92955" y="533716"/>
                </a:lnTo>
                <a:lnTo>
                  <a:pt x="74080" y="575429"/>
                </a:lnTo>
                <a:lnTo>
                  <a:pt x="57203" y="618189"/>
                </a:lnTo>
                <a:lnTo>
                  <a:pt x="42383" y="661936"/>
                </a:lnTo>
                <a:lnTo>
                  <a:pt x="29680" y="706612"/>
                </a:lnTo>
                <a:lnTo>
                  <a:pt x="19154" y="752156"/>
                </a:lnTo>
                <a:lnTo>
                  <a:pt x="10863" y="798510"/>
                </a:lnTo>
                <a:lnTo>
                  <a:pt x="4867" y="845613"/>
                </a:lnTo>
                <a:lnTo>
                  <a:pt x="1226" y="893407"/>
                </a:lnTo>
                <a:lnTo>
                  <a:pt x="0" y="941832"/>
                </a:lnTo>
                <a:lnTo>
                  <a:pt x="1226" y="990395"/>
                </a:lnTo>
                <a:lnTo>
                  <a:pt x="4867" y="1038318"/>
                </a:lnTo>
                <a:lnTo>
                  <a:pt x="10863" y="1085543"/>
                </a:lnTo>
                <a:lnTo>
                  <a:pt x="19154" y="1132010"/>
                </a:lnTo>
                <a:lnTo>
                  <a:pt x="29680" y="1177660"/>
                </a:lnTo>
                <a:lnTo>
                  <a:pt x="42383" y="1222434"/>
                </a:lnTo>
                <a:lnTo>
                  <a:pt x="57203" y="1266272"/>
                </a:lnTo>
                <a:lnTo>
                  <a:pt x="74080" y="1309116"/>
                </a:lnTo>
                <a:lnTo>
                  <a:pt x="92955" y="1350906"/>
                </a:lnTo>
                <a:lnTo>
                  <a:pt x="113769" y="1391583"/>
                </a:lnTo>
                <a:lnTo>
                  <a:pt x="136462" y="1431088"/>
                </a:lnTo>
                <a:lnTo>
                  <a:pt x="160975" y="1469362"/>
                </a:lnTo>
                <a:lnTo>
                  <a:pt x="187248" y="1506345"/>
                </a:lnTo>
                <a:lnTo>
                  <a:pt x="215222" y="1541979"/>
                </a:lnTo>
                <a:lnTo>
                  <a:pt x="244837" y="1576205"/>
                </a:lnTo>
                <a:lnTo>
                  <a:pt x="276034" y="1608963"/>
                </a:lnTo>
                <a:lnTo>
                  <a:pt x="308754" y="1640193"/>
                </a:lnTo>
                <a:lnTo>
                  <a:pt x="342936" y="1669838"/>
                </a:lnTo>
                <a:lnTo>
                  <a:pt x="378523" y="1697837"/>
                </a:lnTo>
                <a:lnTo>
                  <a:pt x="415453" y="1724132"/>
                </a:lnTo>
                <a:lnTo>
                  <a:pt x="453669" y="1748663"/>
                </a:lnTo>
                <a:lnTo>
                  <a:pt x="493109" y="1771371"/>
                </a:lnTo>
                <a:lnTo>
                  <a:pt x="533716" y="1792198"/>
                </a:lnTo>
                <a:lnTo>
                  <a:pt x="575429" y="1811083"/>
                </a:lnTo>
                <a:lnTo>
                  <a:pt x="618189" y="1827968"/>
                </a:lnTo>
                <a:lnTo>
                  <a:pt x="661936" y="1842794"/>
                </a:lnTo>
                <a:lnTo>
                  <a:pt x="706612" y="1855501"/>
                </a:lnTo>
                <a:lnTo>
                  <a:pt x="752156" y="1866030"/>
                </a:lnTo>
                <a:lnTo>
                  <a:pt x="798510" y="1874323"/>
                </a:lnTo>
                <a:lnTo>
                  <a:pt x="845613" y="1880319"/>
                </a:lnTo>
                <a:lnTo>
                  <a:pt x="893407" y="1883961"/>
                </a:lnTo>
                <a:lnTo>
                  <a:pt x="941832" y="1885188"/>
                </a:lnTo>
                <a:lnTo>
                  <a:pt x="990395" y="1883961"/>
                </a:lnTo>
                <a:lnTo>
                  <a:pt x="1038318" y="1880319"/>
                </a:lnTo>
                <a:lnTo>
                  <a:pt x="1085543" y="1874323"/>
                </a:lnTo>
                <a:lnTo>
                  <a:pt x="1132010" y="1866030"/>
                </a:lnTo>
                <a:lnTo>
                  <a:pt x="1177660" y="1855501"/>
                </a:lnTo>
                <a:lnTo>
                  <a:pt x="1222434" y="1842794"/>
                </a:lnTo>
                <a:lnTo>
                  <a:pt x="1266272" y="1827968"/>
                </a:lnTo>
                <a:lnTo>
                  <a:pt x="1309116" y="1811083"/>
                </a:lnTo>
                <a:lnTo>
                  <a:pt x="1350906" y="1792198"/>
                </a:lnTo>
                <a:lnTo>
                  <a:pt x="1391583" y="1771371"/>
                </a:lnTo>
                <a:lnTo>
                  <a:pt x="1431088" y="1748663"/>
                </a:lnTo>
                <a:lnTo>
                  <a:pt x="1469362" y="1724132"/>
                </a:lnTo>
                <a:lnTo>
                  <a:pt x="1506345" y="1697837"/>
                </a:lnTo>
                <a:lnTo>
                  <a:pt x="1541979" y="1669838"/>
                </a:lnTo>
                <a:lnTo>
                  <a:pt x="1576205" y="1640193"/>
                </a:lnTo>
                <a:lnTo>
                  <a:pt x="1608963" y="1608963"/>
                </a:lnTo>
                <a:lnTo>
                  <a:pt x="1640193" y="1576205"/>
                </a:lnTo>
                <a:lnTo>
                  <a:pt x="1669838" y="1541979"/>
                </a:lnTo>
                <a:lnTo>
                  <a:pt x="1697837" y="1506345"/>
                </a:lnTo>
                <a:lnTo>
                  <a:pt x="1724132" y="1469362"/>
                </a:lnTo>
                <a:lnTo>
                  <a:pt x="1748663" y="1431088"/>
                </a:lnTo>
                <a:lnTo>
                  <a:pt x="1771371" y="1391583"/>
                </a:lnTo>
                <a:lnTo>
                  <a:pt x="1792198" y="1350906"/>
                </a:lnTo>
                <a:lnTo>
                  <a:pt x="1811083" y="1309116"/>
                </a:lnTo>
                <a:lnTo>
                  <a:pt x="1827968" y="1266272"/>
                </a:lnTo>
                <a:lnTo>
                  <a:pt x="1842794" y="1222434"/>
                </a:lnTo>
                <a:lnTo>
                  <a:pt x="1855501" y="1177660"/>
                </a:lnTo>
                <a:lnTo>
                  <a:pt x="1866030" y="1132010"/>
                </a:lnTo>
                <a:lnTo>
                  <a:pt x="1874323" y="1085543"/>
                </a:lnTo>
                <a:lnTo>
                  <a:pt x="1880319" y="1038318"/>
                </a:lnTo>
                <a:lnTo>
                  <a:pt x="1883961" y="990395"/>
                </a:lnTo>
                <a:lnTo>
                  <a:pt x="1885188" y="941832"/>
                </a:lnTo>
                <a:close/>
              </a:path>
            </a:pathLst>
          </a:custGeom>
          <a:solidFill>
            <a:srgbClr val="FFFFFF"/>
          </a:solidFill>
        </p:spPr>
        <p:txBody>
          <a:bodyPr wrap="square" lIns="0" tIns="0" rIns="0" bIns="0" rtlCol="0"/>
          <a:lstStyle/>
          <a:p>
            <a:endParaRPr/>
          </a:p>
        </p:txBody>
      </p:sp>
      <p:sp>
        <p:nvSpPr>
          <p:cNvPr id="153" name="object 69"/>
          <p:cNvSpPr/>
          <p:nvPr/>
        </p:nvSpPr>
        <p:spPr>
          <a:xfrm>
            <a:off x="2125444" y="1048843"/>
            <a:ext cx="1964689" cy="3802379"/>
          </a:xfrm>
          <a:custGeom>
            <a:avLst/>
            <a:gdLst/>
            <a:ahLst/>
            <a:cxnLst/>
            <a:rect l="l" t="t" r="r" b="b"/>
            <a:pathLst>
              <a:path w="1964689" h="3802379">
                <a:moveTo>
                  <a:pt x="0" y="0"/>
                </a:moveTo>
                <a:lnTo>
                  <a:pt x="0" y="3802380"/>
                </a:lnTo>
                <a:lnTo>
                  <a:pt x="1964436" y="3802380"/>
                </a:lnTo>
                <a:lnTo>
                  <a:pt x="1964436" y="0"/>
                </a:lnTo>
                <a:lnTo>
                  <a:pt x="0" y="0"/>
                </a:lnTo>
                <a:close/>
              </a:path>
            </a:pathLst>
          </a:custGeom>
          <a:solidFill>
            <a:srgbClr val="FFFFFF"/>
          </a:solidFill>
        </p:spPr>
        <p:txBody>
          <a:bodyPr wrap="square" lIns="0" tIns="0" rIns="0" bIns="0" rtlCol="0"/>
          <a:lstStyle/>
          <a:p>
            <a:endParaRPr/>
          </a:p>
        </p:txBody>
      </p:sp>
      <p:sp>
        <p:nvSpPr>
          <p:cNvPr id="154" name="object 70"/>
          <p:cNvSpPr/>
          <p:nvPr/>
        </p:nvSpPr>
        <p:spPr>
          <a:xfrm>
            <a:off x="1297912" y="2069922"/>
            <a:ext cx="1712976" cy="1709927"/>
          </a:xfrm>
          <a:prstGeom prst="rect">
            <a:avLst/>
          </a:prstGeom>
          <a:blipFill>
            <a:blip r:embed="rId6" cstate="print"/>
            <a:stretch>
              <a:fillRect/>
            </a:stretch>
          </a:blipFill>
        </p:spPr>
        <p:txBody>
          <a:bodyPr wrap="square" lIns="0" tIns="0" rIns="0" bIns="0" rtlCol="0"/>
          <a:lstStyle/>
          <a:p>
            <a:endParaRPr/>
          </a:p>
        </p:txBody>
      </p:sp>
      <p:sp>
        <p:nvSpPr>
          <p:cNvPr id="155" name="object 71"/>
          <p:cNvSpPr txBox="1"/>
          <p:nvPr/>
        </p:nvSpPr>
        <p:spPr>
          <a:xfrm>
            <a:off x="1618974" y="2450413"/>
            <a:ext cx="1069975" cy="939800"/>
          </a:xfrm>
          <a:prstGeom prst="rect">
            <a:avLst/>
          </a:prstGeom>
        </p:spPr>
        <p:txBody>
          <a:bodyPr vert="horz" wrap="square" lIns="0" tIns="12700" rIns="0" bIns="0" rtlCol="0">
            <a:spAutoFit/>
          </a:bodyPr>
          <a:lstStyle/>
          <a:p>
            <a:pPr marL="12065" marR="5080" indent="-2540" algn="ctr">
              <a:lnSpc>
                <a:spcPct val="100000"/>
              </a:lnSpc>
              <a:spcBef>
                <a:spcPts val="100"/>
              </a:spcBef>
            </a:pPr>
            <a:r>
              <a:rPr sz="1500" spc="-5" dirty="0">
                <a:solidFill>
                  <a:srgbClr val="FFFFFF"/>
                </a:solidFill>
                <a:latin typeface="Arial"/>
                <a:cs typeface="Arial"/>
              </a:rPr>
              <a:t>SAFE,  COST  EFFECT</a:t>
            </a:r>
            <a:r>
              <a:rPr sz="1500" dirty="0">
                <a:solidFill>
                  <a:srgbClr val="FFFFFF"/>
                </a:solidFill>
                <a:latin typeface="Arial"/>
                <a:cs typeface="Arial"/>
              </a:rPr>
              <a:t>I</a:t>
            </a:r>
            <a:r>
              <a:rPr sz="1500" spc="-5" dirty="0">
                <a:solidFill>
                  <a:srgbClr val="FFFFFF"/>
                </a:solidFill>
                <a:latin typeface="Arial"/>
                <a:cs typeface="Arial"/>
              </a:rPr>
              <a:t>V</a:t>
            </a:r>
            <a:r>
              <a:rPr sz="1500" dirty="0">
                <a:solidFill>
                  <a:srgbClr val="FFFFFF"/>
                </a:solidFill>
                <a:latin typeface="Arial"/>
                <a:cs typeface="Arial"/>
              </a:rPr>
              <a:t>E  </a:t>
            </a:r>
            <a:r>
              <a:rPr sz="1500" spc="-5" dirty="0">
                <a:solidFill>
                  <a:srgbClr val="FFFFFF"/>
                </a:solidFill>
                <a:latin typeface="Arial"/>
                <a:cs typeface="Arial"/>
              </a:rPr>
              <a:t>MINING</a:t>
            </a:r>
            <a:endParaRPr sz="1500">
              <a:latin typeface="Arial"/>
              <a:cs typeface="Arial"/>
            </a:endParaRPr>
          </a:p>
        </p:txBody>
      </p:sp>
      <p:sp>
        <p:nvSpPr>
          <p:cNvPr id="156" name="object 72"/>
          <p:cNvSpPr/>
          <p:nvPr/>
        </p:nvSpPr>
        <p:spPr>
          <a:xfrm>
            <a:off x="2171164" y="1089991"/>
            <a:ext cx="1591310" cy="1382395"/>
          </a:xfrm>
          <a:custGeom>
            <a:avLst/>
            <a:gdLst/>
            <a:ahLst/>
            <a:cxnLst/>
            <a:rect l="l" t="t" r="r" b="b"/>
            <a:pathLst>
              <a:path w="1591310" h="1382395">
                <a:moveTo>
                  <a:pt x="1591056" y="922020"/>
                </a:moveTo>
                <a:lnTo>
                  <a:pt x="1525524" y="816864"/>
                </a:lnTo>
                <a:lnTo>
                  <a:pt x="1455420" y="717804"/>
                </a:lnTo>
                <a:lnTo>
                  <a:pt x="1379220" y="623316"/>
                </a:lnTo>
                <a:lnTo>
                  <a:pt x="1295400" y="536448"/>
                </a:lnTo>
                <a:lnTo>
                  <a:pt x="1208532" y="454152"/>
                </a:lnTo>
                <a:lnTo>
                  <a:pt x="1117092" y="379476"/>
                </a:lnTo>
                <a:lnTo>
                  <a:pt x="1018032" y="309372"/>
                </a:lnTo>
                <a:lnTo>
                  <a:pt x="917448" y="246888"/>
                </a:lnTo>
                <a:lnTo>
                  <a:pt x="865632" y="217932"/>
                </a:lnTo>
                <a:lnTo>
                  <a:pt x="812292" y="190500"/>
                </a:lnTo>
                <a:lnTo>
                  <a:pt x="760476" y="166116"/>
                </a:lnTo>
                <a:lnTo>
                  <a:pt x="704088" y="141732"/>
                </a:lnTo>
                <a:lnTo>
                  <a:pt x="649224" y="118872"/>
                </a:lnTo>
                <a:lnTo>
                  <a:pt x="592836" y="99060"/>
                </a:lnTo>
                <a:lnTo>
                  <a:pt x="534924" y="80772"/>
                </a:lnTo>
                <a:lnTo>
                  <a:pt x="478536" y="64008"/>
                </a:lnTo>
                <a:lnTo>
                  <a:pt x="362712" y="36576"/>
                </a:lnTo>
                <a:lnTo>
                  <a:pt x="301752" y="25908"/>
                </a:lnTo>
                <a:lnTo>
                  <a:pt x="240792" y="16764"/>
                </a:lnTo>
                <a:lnTo>
                  <a:pt x="181356" y="10668"/>
                </a:lnTo>
                <a:lnTo>
                  <a:pt x="121920" y="6096"/>
                </a:lnTo>
                <a:lnTo>
                  <a:pt x="59436" y="1524"/>
                </a:lnTo>
                <a:lnTo>
                  <a:pt x="0" y="0"/>
                </a:lnTo>
                <a:lnTo>
                  <a:pt x="0" y="922020"/>
                </a:lnTo>
                <a:lnTo>
                  <a:pt x="59436" y="923544"/>
                </a:lnTo>
                <a:lnTo>
                  <a:pt x="118872" y="928116"/>
                </a:lnTo>
                <a:lnTo>
                  <a:pt x="179832" y="938784"/>
                </a:lnTo>
                <a:lnTo>
                  <a:pt x="239268" y="952500"/>
                </a:lnTo>
                <a:lnTo>
                  <a:pt x="295656" y="970788"/>
                </a:lnTo>
                <a:lnTo>
                  <a:pt x="352044" y="992124"/>
                </a:lnTo>
                <a:lnTo>
                  <a:pt x="405384" y="1016508"/>
                </a:lnTo>
                <a:lnTo>
                  <a:pt x="458724" y="1043940"/>
                </a:lnTo>
                <a:lnTo>
                  <a:pt x="509016" y="1074420"/>
                </a:lnTo>
                <a:lnTo>
                  <a:pt x="556260" y="1110996"/>
                </a:lnTo>
                <a:lnTo>
                  <a:pt x="603504" y="1149096"/>
                </a:lnTo>
                <a:lnTo>
                  <a:pt x="647700" y="1188720"/>
                </a:lnTo>
                <a:lnTo>
                  <a:pt x="688848" y="1232916"/>
                </a:lnTo>
                <a:lnTo>
                  <a:pt x="726948" y="1280160"/>
                </a:lnTo>
                <a:lnTo>
                  <a:pt x="762000" y="1328928"/>
                </a:lnTo>
                <a:lnTo>
                  <a:pt x="794004" y="1382268"/>
                </a:lnTo>
                <a:lnTo>
                  <a:pt x="1591056" y="922020"/>
                </a:lnTo>
                <a:close/>
              </a:path>
            </a:pathLst>
          </a:custGeom>
          <a:solidFill>
            <a:srgbClr val="FFC598"/>
          </a:solidFill>
        </p:spPr>
        <p:txBody>
          <a:bodyPr wrap="square" lIns="0" tIns="0" rIns="0" bIns="0" rtlCol="0"/>
          <a:lstStyle/>
          <a:p>
            <a:endParaRPr/>
          </a:p>
        </p:txBody>
      </p:sp>
      <p:sp>
        <p:nvSpPr>
          <p:cNvPr id="157" name="object 73"/>
          <p:cNvSpPr/>
          <p:nvPr/>
        </p:nvSpPr>
        <p:spPr>
          <a:xfrm>
            <a:off x="2155924" y="1076275"/>
            <a:ext cx="1621790" cy="1411605"/>
          </a:xfrm>
          <a:custGeom>
            <a:avLst/>
            <a:gdLst/>
            <a:ahLst/>
            <a:cxnLst/>
            <a:rect l="l" t="t" r="r" b="b"/>
            <a:pathLst>
              <a:path w="1621789" h="1411604">
                <a:moveTo>
                  <a:pt x="1621536" y="935736"/>
                </a:moveTo>
                <a:lnTo>
                  <a:pt x="1621536" y="931164"/>
                </a:lnTo>
                <a:lnTo>
                  <a:pt x="1618488" y="928116"/>
                </a:lnTo>
                <a:lnTo>
                  <a:pt x="1552956" y="822960"/>
                </a:lnTo>
                <a:lnTo>
                  <a:pt x="1482852" y="723900"/>
                </a:lnTo>
                <a:lnTo>
                  <a:pt x="1405128" y="627888"/>
                </a:lnTo>
                <a:lnTo>
                  <a:pt x="1321308" y="541020"/>
                </a:lnTo>
                <a:lnTo>
                  <a:pt x="1232916" y="458724"/>
                </a:lnTo>
                <a:lnTo>
                  <a:pt x="1139952" y="382524"/>
                </a:lnTo>
                <a:lnTo>
                  <a:pt x="1042416" y="310896"/>
                </a:lnTo>
                <a:lnTo>
                  <a:pt x="940308" y="249936"/>
                </a:lnTo>
                <a:lnTo>
                  <a:pt x="888492" y="219456"/>
                </a:lnTo>
                <a:lnTo>
                  <a:pt x="835152" y="192024"/>
                </a:lnTo>
                <a:lnTo>
                  <a:pt x="781812" y="166116"/>
                </a:lnTo>
                <a:lnTo>
                  <a:pt x="725424" y="143256"/>
                </a:lnTo>
                <a:lnTo>
                  <a:pt x="670560" y="118872"/>
                </a:lnTo>
                <a:lnTo>
                  <a:pt x="612648" y="99060"/>
                </a:lnTo>
                <a:lnTo>
                  <a:pt x="554736" y="80772"/>
                </a:lnTo>
                <a:lnTo>
                  <a:pt x="498348" y="64008"/>
                </a:lnTo>
                <a:lnTo>
                  <a:pt x="438912" y="50292"/>
                </a:lnTo>
                <a:lnTo>
                  <a:pt x="381000" y="36576"/>
                </a:lnTo>
                <a:lnTo>
                  <a:pt x="320040" y="25908"/>
                </a:lnTo>
                <a:lnTo>
                  <a:pt x="259080" y="16764"/>
                </a:lnTo>
                <a:lnTo>
                  <a:pt x="137160" y="4572"/>
                </a:lnTo>
                <a:lnTo>
                  <a:pt x="76200" y="1524"/>
                </a:lnTo>
                <a:lnTo>
                  <a:pt x="15240" y="0"/>
                </a:lnTo>
                <a:lnTo>
                  <a:pt x="10668" y="0"/>
                </a:lnTo>
                <a:lnTo>
                  <a:pt x="4572" y="3048"/>
                </a:lnTo>
                <a:lnTo>
                  <a:pt x="1524" y="6096"/>
                </a:lnTo>
                <a:lnTo>
                  <a:pt x="0" y="10668"/>
                </a:lnTo>
                <a:lnTo>
                  <a:pt x="0" y="943356"/>
                </a:lnTo>
                <a:lnTo>
                  <a:pt x="6096" y="949452"/>
                </a:lnTo>
                <a:lnTo>
                  <a:pt x="13716" y="949452"/>
                </a:lnTo>
                <a:lnTo>
                  <a:pt x="13716" y="28956"/>
                </a:lnTo>
                <a:lnTo>
                  <a:pt x="28956" y="13716"/>
                </a:lnTo>
                <a:lnTo>
                  <a:pt x="28956" y="29346"/>
                </a:lnTo>
                <a:lnTo>
                  <a:pt x="73152" y="30480"/>
                </a:lnTo>
                <a:lnTo>
                  <a:pt x="135636" y="33528"/>
                </a:lnTo>
                <a:lnTo>
                  <a:pt x="195072" y="38100"/>
                </a:lnTo>
                <a:lnTo>
                  <a:pt x="254508" y="44196"/>
                </a:lnTo>
                <a:lnTo>
                  <a:pt x="315468" y="53340"/>
                </a:lnTo>
                <a:lnTo>
                  <a:pt x="373380" y="64008"/>
                </a:lnTo>
                <a:lnTo>
                  <a:pt x="432816" y="77724"/>
                </a:lnTo>
                <a:lnTo>
                  <a:pt x="489204" y="91440"/>
                </a:lnTo>
                <a:lnTo>
                  <a:pt x="545592" y="108204"/>
                </a:lnTo>
                <a:lnTo>
                  <a:pt x="603504" y="126492"/>
                </a:lnTo>
                <a:lnTo>
                  <a:pt x="658368" y="146304"/>
                </a:lnTo>
                <a:lnTo>
                  <a:pt x="768096" y="192024"/>
                </a:lnTo>
                <a:lnTo>
                  <a:pt x="874776" y="243840"/>
                </a:lnTo>
                <a:lnTo>
                  <a:pt x="925068" y="272796"/>
                </a:lnTo>
                <a:lnTo>
                  <a:pt x="1025652" y="335280"/>
                </a:lnTo>
                <a:lnTo>
                  <a:pt x="1123188" y="405384"/>
                </a:lnTo>
                <a:lnTo>
                  <a:pt x="1214628" y="478536"/>
                </a:lnTo>
                <a:lnTo>
                  <a:pt x="1299972" y="560832"/>
                </a:lnTo>
                <a:lnTo>
                  <a:pt x="1383792" y="646176"/>
                </a:lnTo>
                <a:lnTo>
                  <a:pt x="1459992" y="740664"/>
                </a:lnTo>
                <a:lnTo>
                  <a:pt x="1528572" y="838200"/>
                </a:lnTo>
                <a:lnTo>
                  <a:pt x="1586625" y="931356"/>
                </a:lnTo>
                <a:lnTo>
                  <a:pt x="1600200" y="923544"/>
                </a:lnTo>
                <a:lnTo>
                  <a:pt x="1600200" y="955848"/>
                </a:lnTo>
                <a:lnTo>
                  <a:pt x="1613916" y="947928"/>
                </a:lnTo>
                <a:lnTo>
                  <a:pt x="1616964" y="946404"/>
                </a:lnTo>
                <a:lnTo>
                  <a:pt x="1620012" y="943356"/>
                </a:lnTo>
                <a:lnTo>
                  <a:pt x="1620012" y="938784"/>
                </a:lnTo>
                <a:lnTo>
                  <a:pt x="1621536" y="935736"/>
                </a:lnTo>
                <a:close/>
              </a:path>
              <a:path w="1621789" h="1411604">
                <a:moveTo>
                  <a:pt x="28956" y="29346"/>
                </a:moveTo>
                <a:lnTo>
                  <a:pt x="28956" y="13716"/>
                </a:lnTo>
                <a:lnTo>
                  <a:pt x="13716" y="28956"/>
                </a:lnTo>
                <a:lnTo>
                  <a:pt x="28956" y="29346"/>
                </a:lnTo>
                <a:close/>
              </a:path>
              <a:path w="1621789" h="1411604">
                <a:moveTo>
                  <a:pt x="28956" y="921199"/>
                </a:moveTo>
                <a:lnTo>
                  <a:pt x="28956" y="29346"/>
                </a:lnTo>
                <a:lnTo>
                  <a:pt x="13716" y="28956"/>
                </a:lnTo>
                <a:lnTo>
                  <a:pt x="13716" y="949452"/>
                </a:lnTo>
                <a:lnTo>
                  <a:pt x="15240" y="949490"/>
                </a:lnTo>
                <a:lnTo>
                  <a:pt x="15240" y="920496"/>
                </a:lnTo>
                <a:lnTo>
                  <a:pt x="28956" y="921199"/>
                </a:lnTo>
                <a:close/>
              </a:path>
              <a:path w="1621789" h="1411604">
                <a:moveTo>
                  <a:pt x="814023" y="1376009"/>
                </a:moveTo>
                <a:lnTo>
                  <a:pt x="789432" y="1335024"/>
                </a:lnTo>
                <a:lnTo>
                  <a:pt x="754380" y="1284732"/>
                </a:lnTo>
                <a:lnTo>
                  <a:pt x="714756" y="1235964"/>
                </a:lnTo>
                <a:lnTo>
                  <a:pt x="672084" y="1191768"/>
                </a:lnTo>
                <a:lnTo>
                  <a:pt x="627888" y="1152144"/>
                </a:lnTo>
                <a:lnTo>
                  <a:pt x="580644" y="1112520"/>
                </a:lnTo>
                <a:lnTo>
                  <a:pt x="531876" y="1075944"/>
                </a:lnTo>
                <a:lnTo>
                  <a:pt x="480060" y="1043940"/>
                </a:lnTo>
                <a:lnTo>
                  <a:pt x="426720" y="1018032"/>
                </a:lnTo>
                <a:lnTo>
                  <a:pt x="371856" y="992124"/>
                </a:lnTo>
                <a:lnTo>
                  <a:pt x="313944" y="970788"/>
                </a:lnTo>
                <a:lnTo>
                  <a:pt x="257556" y="952500"/>
                </a:lnTo>
                <a:lnTo>
                  <a:pt x="196596" y="937260"/>
                </a:lnTo>
                <a:lnTo>
                  <a:pt x="135636" y="928116"/>
                </a:lnTo>
                <a:lnTo>
                  <a:pt x="74676" y="923544"/>
                </a:lnTo>
                <a:lnTo>
                  <a:pt x="15240" y="920496"/>
                </a:lnTo>
                <a:lnTo>
                  <a:pt x="28956" y="935736"/>
                </a:lnTo>
                <a:lnTo>
                  <a:pt x="28956" y="949833"/>
                </a:lnTo>
                <a:lnTo>
                  <a:pt x="74676" y="950976"/>
                </a:lnTo>
                <a:lnTo>
                  <a:pt x="134112" y="957072"/>
                </a:lnTo>
                <a:lnTo>
                  <a:pt x="192024" y="966216"/>
                </a:lnTo>
                <a:lnTo>
                  <a:pt x="249936" y="979932"/>
                </a:lnTo>
                <a:lnTo>
                  <a:pt x="306324" y="998220"/>
                </a:lnTo>
                <a:lnTo>
                  <a:pt x="362712" y="1018032"/>
                </a:lnTo>
                <a:lnTo>
                  <a:pt x="414528" y="1043940"/>
                </a:lnTo>
                <a:lnTo>
                  <a:pt x="467868" y="1069848"/>
                </a:lnTo>
                <a:lnTo>
                  <a:pt x="516636" y="1100328"/>
                </a:lnTo>
                <a:lnTo>
                  <a:pt x="563880" y="1135380"/>
                </a:lnTo>
                <a:lnTo>
                  <a:pt x="609600" y="1173480"/>
                </a:lnTo>
                <a:lnTo>
                  <a:pt x="653796" y="1213104"/>
                </a:lnTo>
                <a:lnTo>
                  <a:pt x="693420" y="1255776"/>
                </a:lnTo>
                <a:lnTo>
                  <a:pt x="731520" y="1303020"/>
                </a:lnTo>
                <a:lnTo>
                  <a:pt x="766572" y="1351788"/>
                </a:lnTo>
                <a:lnTo>
                  <a:pt x="801624" y="1409700"/>
                </a:lnTo>
                <a:lnTo>
                  <a:pt x="803148" y="1409954"/>
                </a:lnTo>
                <a:lnTo>
                  <a:pt x="803148" y="1382268"/>
                </a:lnTo>
                <a:lnTo>
                  <a:pt x="814023" y="1376009"/>
                </a:lnTo>
                <a:close/>
              </a:path>
              <a:path w="1621789" h="1411604">
                <a:moveTo>
                  <a:pt x="28956" y="949833"/>
                </a:moveTo>
                <a:lnTo>
                  <a:pt x="28956" y="935736"/>
                </a:lnTo>
                <a:lnTo>
                  <a:pt x="15240" y="920496"/>
                </a:lnTo>
                <a:lnTo>
                  <a:pt x="15240" y="949490"/>
                </a:lnTo>
                <a:lnTo>
                  <a:pt x="28956" y="949833"/>
                </a:lnTo>
                <a:close/>
              </a:path>
              <a:path w="1621789" h="1411604">
                <a:moveTo>
                  <a:pt x="821436" y="1388364"/>
                </a:moveTo>
                <a:lnTo>
                  <a:pt x="814023" y="1376009"/>
                </a:lnTo>
                <a:lnTo>
                  <a:pt x="803148" y="1382268"/>
                </a:lnTo>
                <a:lnTo>
                  <a:pt x="821436" y="1388364"/>
                </a:lnTo>
                <a:close/>
              </a:path>
              <a:path w="1621789" h="1411604">
                <a:moveTo>
                  <a:pt x="821436" y="1405535"/>
                </a:moveTo>
                <a:lnTo>
                  <a:pt x="821436" y="1388364"/>
                </a:lnTo>
                <a:lnTo>
                  <a:pt x="803148" y="1382268"/>
                </a:lnTo>
                <a:lnTo>
                  <a:pt x="803148" y="1409954"/>
                </a:lnTo>
                <a:lnTo>
                  <a:pt x="810768" y="1411224"/>
                </a:lnTo>
                <a:lnTo>
                  <a:pt x="816864" y="1408176"/>
                </a:lnTo>
                <a:lnTo>
                  <a:pt x="821436" y="1405535"/>
                </a:lnTo>
                <a:close/>
              </a:path>
              <a:path w="1621789" h="1411604">
                <a:moveTo>
                  <a:pt x="1600200" y="955848"/>
                </a:moveTo>
                <a:lnTo>
                  <a:pt x="1600200" y="923544"/>
                </a:lnTo>
                <a:lnTo>
                  <a:pt x="1594104" y="943356"/>
                </a:lnTo>
                <a:lnTo>
                  <a:pt x="1586625" y="931356"/>
                </a:lnTo>
                <a:lnTo>
                  <a:pt x="814023" y="1376009"/>
                </a:lnTo>
                <a:lnTo>
                  <a:pt x="821436" y="1388364"/>
                </a:lnTo>
                <a:lnTo>
                  <a:pt x="821436" y="1405535"/>
                </a:lnTo>
                <a:lnTo>
                  <a:pt x="1600200" y="955848"/>
                </a:lnTo>
                <a:close/>
              </a:path>
              <a:path w="1621789" h="1411604">
                <a:moveTo>
                  <a:pt x="1600200" y="923544"/>
                </a:moveTo>
                <a:lnTo>
                  <a:pt x="1586625" y="931356"/>
                </a:lnTo>
                <a:lnTo>
                  <a:pt x="1594104" y="943356"/>
                </a:lnTo>
                <a:lnTo>
                  <a:pt x="1600200" y="923544"/>
                </a:lnTo>
                <a:close/>
              </a:path>
            </a:pathLst>
          </a:custGeom>
          <a:solidFill>
            <a:srgbClr val="FFFFFF"/>
          </a:solidFill>
        </p:spPr>
        <p:txBody>
          <a:bodyPr wrap="square" lIns="0" tIns="0" rIns="0" bIns="0" rtlCol="0"/>
          <a:lstStyle/>
          <a:p>
            <a:endParaRPr/>
          </a:p>
        </p:txBody>
      </p:sp>
      <p:sp>
        <p:nvSpPr>
          <p:cNvPr id="158" name="object 74"/>
          <p:cNvSpPr/>
          <p:nvPr/>
        </p:nvSpPr>
        <p:spPr>
          <a:xfrm>
            <a:off x="2965168" y="2012011"/>
            <a:ext cx="1042669" cy="1839595"/>
          </a:xfrm>
          <a:custGeom>
            <a:avLst/>
            <a:gdLst/>
            <a:ahLst/>
            <a:cxnLst/>
            <a:rect l="l" t="t" r="r" b="b"/>
            <a:pathLst>
              <a:path w="1042670" h="1839595">
                <a:moveTo>
                  <a:pt x="1042416" y="979932"/>
                </a:moveTo>
                <a:lnTo>
                  <a:pt x="1042416" y="859536"/>
                </a:lnTo>
                <a:lnTo>
                  <a:pt x="1039368" y="800100"/>
                </a:lnTo>
                <a:lnTo>
                  <a:pt x="1034796" y="740664"/>
                </a:lnTo>
                <a:lnTo>
                  <a:pt x="1028700" y="681228"/>
                </a:lnTo>
                <a:lnTo>
                  <a:pt x="1010412" y="563880"/>
                </a:lnTo>
                <a:lnTo>
                  <a:pt x="996696" y="504444"/>
                </a:lnTo>
                <a:lnTo>
                  <a:pt x="981456" y="445008"/>
                </a:lnTo>
                <a:lnTo>
                  <a:pt x="966216" y="388620"/>
                </a:lnTo>
                <a:lnTo>
                  <a:pt x="947928" y="330708"/>
                </a:lnTo>
                <a:lnTo>
                  <a:pt x="928116" y="274320"/>
                </a:lnTo>
                <a:lnTo>
                  <a:pt x="905256" y="217932"/>
                </a:lnTo>
                <a:lnTo>
                  <a:pt x="880872" y="161544"/>
                </a:lnTo>
                <a:lnTo>
                  <a:pt x="853440" y="106680"/>
                </a:lnTo>
                <a:lnTo>
                  <a:pt x="827532" y="53340"/>
                </a:lnTo>
                <a:lnTo>
                  <a:pt x="797052" y="0"/>
                </a:lnTo>
                <a:lnTo>
                  <a:pt x="0" y="460248"/>
                </a:lnTo>
                <a:lnTo>
                  <a:pt x="28956" y="512064"/>
                </a:lnTo>
                <a:lnTo>
                  <a:pt x="53340" y="568452"/>
                </a:lnTo>
                <a:lnTo>
                  <a:pt x="74676" y="624840"/>
                </a:lnTo>
                <a:lnTo>
                  <a:pt x="92964" y="682752"/>
                </a:lnTo>
                <a:lnTo>
                  <a:pt x="106680" y="742188"/>
                </a:lnTo>
                <a:lnTo>
                  <a:pt x="121920" y="859536"/>
                </a:lnTo>
                <a:lnTo>
                  <a:pt x="123444" y="918972"/>
                </a:lnTo>
                <a:lnTo>
                  <a:pt x="123444" y="1450501"/>
                </a:lnTo>
                <a:lnTo>
                  <a:pt x="797052" y="1839468"/>
                </a:lnTo>
                <a:lnTo>
                  <a:pt x="827532" y="1784604"/>
                </a:lnTo>
                <a:lnTo>
                  <a:pt x="853440" y="1731264"/>
                </a:lnTo>
                <a:lnTo>
                  <a:pt x="880872" y="1676400"/>
                </a:lnTo>
                <a:lnTo>
                  <a:pt x="905256" y="1620012"/>
                </a:lnTo>
                <a:lnTo>
                  <a:pt x="928116" y="1565148"/>
                </a:lnTo>
                <a:lnTo>
                  <a:pt x="966216" y="1449324"/>
                </a:lnTo>
                <a:lnTo>
                  <a:pt x="981456" y="1392936"/>
                </a:lnTo>
                <a:lnTo>
                  <a:pt x="996696" y="1333500"/>
                </a:lnTo>
                <a:lnTo>
                  <a:pt x="1010412" y="1275588"/>
                </a:lnTo>
                <a:lnTo>
                  <a:pt x="1028700" y="1156716"/>
                </a:lnTo>
                <a:lnTo>
                  <a:pt x="1034796" y="1097280"/>
                </a:lnTo>
                <a:lnTo>
                  <a:pt x="1039368" y="1037844"/>
                </a:lnTo>
                <a:lnTo>
                  <a:pt x="1042416" y="979932"/>
                </a:lnTo>
                <a:close/>
              </a:path>
              <a:path w="1042670" h="1839595">
                <a:moveTo>
                  <a:pt x="123444" y="1450501"/>
                </a:moveTo>
                <a:lnTo>
                  <a:pt x="123444" y="918972"/>
                </a:lnTo>
                <a:lnTo>
                  <a:pt x="121920" y="979932"/>
                </a:lnTo>
                <a:lnTo>
                  <a:pt x="106680" y="1095756"/>
                </a:lnTo>
                <a:lnTo>
                  <a:pt x="92964" y="1155192"/>
                </a:lnTo>
                <a:lnTo>
                  <a:pt x="74676" y="1213104"/>
                </a:lnTo>
                <a:lnTo>
                  <a:pt x="53340" y="1271016"/>
                </a:lnTo>
                <a:lnTo>
                  <a:pt x="28956" y="1325880"/>
                </a:lnTo>
                <a:lnTo>
                  <a:pt x="0" y="1379220"/>
                </a:lnTo>
                <a:lnTo>
                  <a:pt x="123444" y="1450501"/>
                </a:lnTo>
                <a:close/>
              </a:path>
            </a:pathLst>
          </a:custGeom>
          <a:solidFill>
            <a:srgbClr val="FFAB6D"/>
          </a:solidFill>
        </p:spPr>
        <p:txBody>
          <a:bodyPr wrap="square" lIns="0" tIns="0" rIns="0" bIns="0" rtlCol="0"/>
          <a:lstStyle/>
          <a:p>
            <a:endParaRPr/>
          </a:p>
        </p:txBody>
      </p:sp>
      <p:sp>
        <p:nvSpPr>
          <p:cNvPr id="159" name="object 75"/>
          <p:cNvSpPr/>
          <p:nvPr/>
        </p:nvSpPr>
        <p:spPr>
          <a:xfrm>
            <a:off x="2948404" y="1996771"/>
            <a:ext cx="1074420" cy="1868805"/>
          </a:xfrm>
          <a:custGeom>
            <a:avLst/>
            <a:gdLst/>
            <a:ahLst/>
            <a:cxnLst/>
            <a:rect l="l" t="t" r="r" b="b"/>
            <a:pathLst>
              <a:path w="1074420" h="1868804">
                <a:moveTo>
                  <a:pt x="1074420" y="995172"/>
                </a:moveTo>
                <a:lnTo>
                  <a:pt x="1074420" y="874776"/>
                </a:lnTo>
                <a:lnTo>
                  <a:pt x="1065276" y="754380"/>
                </a:lnTo>
                <a:lnTo>
                  <a:pt x="1059180" y="694944"/>
                </a:lnTo>
                <a:lnTo>
                  <a:pt x="1040892" y="576072"/>
                </a:lnTo>
                <a:lnTo>
                  <a:pt x="1027176" y="516636"/>
                </a:lnTo>
                <a:lnTo>
                  <a:pt x="1011936" y="457200"/>
                </a:lnTo>
                <a:lnTo>
                  <a:pt x="996696" y="400812"/>
                </a:lnTo>
                <a:lnTo>
                  <a:pt x="978408" y="341376"/>
                </a:lnTo>
                <a:lnTo>
                  <a:pt x="958596" y="284988"/>
                </a:lnTo>
                <a:lnTo>
                  <a:pt x="934212" y="228600"/>
                </a:lnTo>
                <a:lnTo>
                  <a:pt x="911352" y="172212"/>
                </a:lnTo>
                <a:lnTo>
                  <a:pt x="883920" y="115824"/>
                </a:lnTo>
                <a:lnTo>
                  <a:pt x="856488" y="60960"/>
                </a:lnTo>
                <a:lnTo>
                  <a:pt x="826008" y="7620"/>
                </a:lnTo>
                <a:lnTo>
                  <a:pt x="824484" y="4572"/>
                </a:lnTo>
                <a:lnTo>
                  <a:pt x="821436" y="1524"/>
                </a:lnTo>
                <a:lnTo>
                  <a:pt x="818388" y="1524"/>
                </a:lnTo>
                <a:lnTo>
                  <a:pt x="813816" y="0"/>
                </a:lnTo>
                <a:lnTo>
                  <a:pt x="810768" y="0"/>
                </a:lnTo>
                <a:lnTo>
                  <a:pt x="807720" y="3048"/>
                </a:lnTo>
                <a:lnTo>
                  <a:pt x="9144" y="461772"/>
                </a:lnTo>
                <a:lnTo>
                  <a:pt x="3048" y="466344"/>
                </a:lnTo>
                <a:lnTo>
                  <a:pt x="0" y="475488"/>
                </a:lnTo>
                <a:lnTo>
                  <a:pt x="4572" y="481584"/>
                </a:lnTo>
                <a:lnTo>
                  <a:pt x="22860" y="515272"/>
                </a:lnTo>
                <a:lnTo>
                  <a:pt x="22860" y="487680"/>
                </a:lnTo>
                <a:lnTo>
                  <a:pt x="28956" y="467868"/>
                </a:lnTo>
                <a:lnTo>
                  <a:pt x="35695" y="480282"/>
                </a:lnTo>
                <a:lnTo>
                  <a:pt x="801624" y="38850"/>
                </a:lnTo>
                <a:lnTo>
                  <a:pt x="801624" y="21336"/>
                </a:lnTo>
                <a:lnTo>
                  <a:pt x="821436" y="27432"/>
                </a:lnTo>
                <a:lnTo>
                  <a:pt x="821436" y="57831"/>
                </a:lnTo>
                <a:lnTo>
                  <a:pt x="830580" y="74676"/>
                </a:lnTo>
                <a:lnTo>
                  <a:pt x="858012" y="128016"/>
                </a:lnTo>
                <a:lnTo>
                  <a:pt x="883920" y="182880"/>
                </a:lnTo>
                <a:lnTo>
                  <a:pt x="908304" y="239268"/>
                </a:lnTo>
                <a:lnTo>
                  <a:pt x="931164" y="294132"/>
                </a:lnTo>
                <a:lnTo>
                  <a:pt x="950976" y="350520"/>
                </a:lnTo>
                <a:lnTo>
                  <a:pt x="969264" y="408432"/>
                </a:lnTo>
                <a:lnTo>
                  <a:pt x="984504" y="464820"/>
                </a:lnTo>
                <a:lnTo>
                  <a:pt x="1011936" y="580644"/>
                </a:lnTo>
                <a:lnTo>
                  <a:pt x="1022604" y="638556"/>
                </a:lnTo>
                <a:lnTo>
                  <a:pt x="1030224" y="697992"/>
                </a:lnTo>
                <a:lnTo>
                  <a:pt x="1042416" y="816864"/>
                </a:lnTo>
                <a:lnTo>
                  <a:pt x="1045464" y="874776"/>
                </a:lnTo>
                <a:lnTo>
                  <a:pt x="1045464" y="1264158"/>
                </a:lnTo>
                <a:lnTo>
                  <a:pt x="1059180" y="1173480"/>
                </a:lnTo>
                <a:lnTo>
                  <a:pt x="1065276" y="1114044"/>
                </a:lnTo>
                <a:lnTo>
                  <a:pt x="1074420" y="995172"/>
                </a:lnTo>
                <a:close/>
              </a:path>
              <a:path w="1074420" h="1868804">
                <a:moveTo>
                  <a:pt x="126492" y="1160272"/>
                </a:moveTo>
                <a:lnTo>
                  <a:pt x="126492" y="935736"/>
                </a:lnTo>
                <a:lnTo>
                  <a:pt x="123444" y="993648"/>
                </a:lnTo>
                <a:lnTo>
                  <a:pt x="117348" y="1051560"/>
                </a:lnTo>
                <a:lnTo>
                  <a:pt x="109728" y="1109472"/>
                </a:lnTo>
                <a:lnTo>
                  <a:pt x="96012" y="1165860"/>
                </a:lnTo>
                <a:lnTo>
                  <a:pt x="77724" y="1225296"/>
                </a:lnTo>
                <a:lnTo>
                  <a:pt x="56388" y="1280160"/>
                </a:lnTo>
                <a:lnTo>
                  <a:pt x="33528" y="1335024"/>
                </a:lnTo>
                <a:lnTo>
                  <a:pt x="4572" y="1386840"/>
                </a:lnTo>
                <a:lnTo>
                  <a:pt x="0" y="1394460"/>
                </a:lnTo>
                <a:lnTo>
                  <a:pt x="3048" y="1403604"/>
                </a:lnTo>
                <a:lnTo>
                  <a:pt x="9144" y="1406652"/>
                </a:lnTo>
                <a:lnTo>
                  <a:pt x="22860" y="1414557"/>
                </a:lnTo>
                <a:lnTo>
                  <a:pt x="22860" y="1382268"/>
                </a:lnTo>
                <a:lnTo>
                  <a:pt x="59436" y="1345692"/>
                </a:lnTo>
                <a:lnTo>
                  <a:pt x="82296" y="1290828"/>
                </a:lnTo>
                <a:lnTo>
                  <a:pt x="105156" y="1232916"/>
                </a:lnTo>
                <a:lnTo>
                  <a:pt x="123444" y="1173480"/>
                </a:lnTo>
                <a:lnTo>
                  <a:pt x="126492" y="1160272"/>
                </a:lnTo>
                <a:close/>
              </a:path>
              <a:path w="1074420" h="1868804">
                <a:moveTo>
                  <a:pt x="35695" y="480282"/>
                </a:moveTo>
                <a:lnTo>
                  <a:pt x="28956" y="467868"/>
                </a:lnTo>
                <a:lnTo>
                  <a:pt x="22860" y="487680"/>
                </a:lnTo>
                <a:lnTo>
                  <a:pt x="35695" y="480282"/>
                </a:lnTo>
                <a:close/>
              </a:path>
              <a:path w="1074420" h="1868804">
                <a:moveTo>
                  <a:pt x="153924" y="934212"/>
                </a:moveTo>
                <a:lnTo>
                  <a:pt x="152400" y="873252"/>
                </a:lnTo>
                <a:lnTo>
                  <a:pt x="137160" y="754380"/>
                </a:lnTo>
                <a:lnTo>
                  <a:pt x="123444" y="694944"/>
                </a:lnTo>
                <a:lnTo>
                  <a:pt x="105156" y="635508"/>
                </a:lnTo>
                <a:lnTo>
                  <a:pt x="82296" y="577596"/>
                </a:lnTo>
                <a:lnTo>
                  <a:pt x="57912" y="521208"/>
                </a:lnTo>
                <a:lnTo>
                  <a:pt x="35695" y="480282"/>
                </a:lnTo>
                <a:lnTo>
                  <a:pt x="22860" y="487680"/>
                </a:lnTo>
                <a:lnTo>
                  <a:pt x="22860" y="515272"/>
                </a:lnTo>
                <a:lnTo>
                  <a:pt x="33528" y="534924"/>
                </a:lnTo>
                <a:lnTo>
                  <a:pt x="56388" y="589788"/>
                </a:lnTo>
                <a:lnTo>
                  <a:pt x="77724" y="644652"/>
                </a:lnTo>
                <a:lnTo>
                  <a:pt x="96012" y="702564"/>
                </a:lnTo>
                <a:lnTo>
                  <a:pt x="109728" y="760476"/>
                </a:lnTo>
                <a:lnTo>
                  <a:pt x="117348" y="816864"/>
                </a:lnTo>
                <a:lnTo>
                  <a:pt x="123444" y="876300"/>
                </a:lnTo>
                <a:lnTo>
                  <a:pt x="126492" y="935736"/>
                </a:lnTo>
                <a:lnTo>
                  <a:pt x="126492" y="1160272"/>
                </a:lnTo>
                <a:lnTo>
                  <a:pt x="137160" y="1114044"/>
                </a:lnTo>
                <a:lnTo>
                  <a:pt x="146304" y="1054608"/>
                </a:lnTo>
                <a:lnTo>
                  <a:pt x="152400" y="995172"/>
                </a:lnTo>
                <a:lnTo>
                  <a:pt x="153924" y="934212"/>
                </a:lnTo>
                <a:close/>
              </a:path>
              <a:path w="1074420" h="1868804">
                <a:moveTo>
                  <a:pt x="35673" y="1389652"/>
                </a:moveTo>
                <a:lnTo>
                  <a:pt x="22860" y="1382268"/>
                </a:lnTo>
                <a:lnTo>
                  <a:pt x="28956" y="1402080"/>
                </a:lnTo>
                <a:lnTo>
                  <a:pt x="35673" y="1389652"/>
                </a:lnTo>
                <a:close/>
              </a:path>
              <a:path w="1074420" h="1868804">
                <a:moveTo>
                  <a:pt x="808235" y="1834908"/>
                </a:moveTo>
                <a:lnTo>
                  <a:pt x="35673" y="1389652"/>
                </a:lnTo>
                <a:lnTo>
                  <a:pt x="28956" y="1402080"/>
                </a:lnTo>
                <a:lnTo>
                  <a:pt x="22860" y="1382268"/>
                </a:lnTo>
                <a:lnTo>
                  <a:pt x="22860" y="1414557"/>
                </a:lnTo>
                <a:lnTo>
                  <a:pt x="801624" y="1863386"/>
                </a:lnTo>
                <a:lnTo>
                  <a:pt x="801624" y="1847088"/>
                </a:lnTo>
                <a:lnTo>
                  <a:pt x="808235" y="1834908"/>
                </a:lnTo>
                <a:close/>
              </a:path>
              <a:path w="1074420" h="1868804">
                <a:moveTo>
                  <a:pt x="821436" y="27432"/>
                </a:moveTo>
                <a:lnTo>
                  <a:pt x="801624" y="21336"/>
                </a:lnTo>
                <a:lnTo>
                  <a:pt x="808866" y="34676"/>
                </a:lnTo>
                <a:lnTo>
                  <a:pt x="821436" y="27432"/>
                </a:lnTo>
                <a:close/>
              </a:path>
              <a:path w="1074420" h="1868804">
                <a:moveTo>
                  <a:pt x="808866" y="34676"/>
                </a:moveTo>
                <a:lnTo>
                  <a:pt x="801624" y="21336"/>
                </a:lnTo>
                <a:lnTo>
                  <a:pt x="801624" y="38850"/>
                </a:lnTo>
                <a:lnTo>
                  <a:pt x="808866" y="34676"/>
                </a:lnTo>
                <a:close/>
              </a:path>
              <a:path w="1074420" h="1868804">
                <a:moveTo>
                  <a:pt x="821436" y="1842516"/>
                </a:moveTo>
                <a:lnTo>
                  <a:pt x="808235" y="1834908"/>
                </a:lnTo>
                <a:lnTo>
                  <a:pt x="801624" y="1847088"/>
                </a:lnTo>
                <a:lnTo>
                  <a:pt x="821436" y="1842516"/>
                </a:lnTo>
                <a:close/>
              </a:path>
              <a:path w="1074420" h="1868804">
                <a:moveTo>
                  <a:pt x="821436" y="1866900"/>
                </a:moveTo>
                <a:lnTo>
                  <a:pt x="821436" y="1842516"/>
                </a:lnTo>
                <a:lnTo>
                  <a:pt x="801624" y="1847088"/>
                </a:lnTo>
                <a:lnTo>
                  <a:pt x="801624" y="1863386"/>
                </a:lnTo>
                <a:lnTo>
                  <a:pt x="807720" y="1866900"/>
                </a:lnTo>
                <a:lnTo>
                  <a:pt x="810768" y="1868424"/>
                </a:lnTo>
                <a:lnTo>
                  <a:pt x="818388" y="1868424"/>
                </a:lnTo>
                <a:lnTo>
                  <a:pt x="821436" y="1866900"/>
                </a:lnTo>
                <a:close/>
              </a:path>
              <a:path w="1074420" h="1868804">
                <a:moveTo>
                  <a:pt x="1045464" y="1264158"/>
                </a:moveTo>
                <a:lnTo>
                  <a:pt x="1045464" y="993648"/>
                </a:lnTo>
                <a:lnTo>
                  <a:pt x="1042416" y="1051560"/>
                </a:lnTo>
                <a:lnTo>
                  <a:pt x="1030224" y="1168908"/>
                </a:lnTo>
                <a:lnTo>
                  <a:pt x="1022604" y="1229868"/>
                </a:lnTo>
                <a:lnTo>
                  <a:pt x="1013460" y="1287780"/>
                </a:lnTo>
                <a:lnTo>
                  <a:pt x="998220" y="1345692"/>
                </a:lnTo>
                <a:lnTo>
                  <a:pt x="984504" y="1403604"/>
                </a:lnTo>
                <a:lnTo>
                  <a:pt x="969264" y="1459992"/>
                </a:lnTo>
                <a:lnTo>
                  <a:pt x="950976" y="1516380"/>
                </a:lnTo>
                <a:lnTo>
                  <a:pt x="931164" y="1574292"/>
                </a:lnTo>
                <a:lnTo>
                  <a:pt x="908304" y="1629156"/>
                </a:lnTo>
                <a:lnTo>
                  <a:pt x="885444" y="1685544"/>
                </a:lnTo>
                <a:lnTo>
                  <a:pt x="858012" y="1740408"/>
                </a:lnTo>
                <a:lnTo>
                  <a:pt x="830580" y="1793748"/>
                </a:lnTo>
                <a:lnTo>
                  <a:pt x="808235" y="1834908"/>
                </a:lnTo>
                <a:lnTo>
                  <a:pt x="821436" y="1842516"/>
                </a:lnTo>
                <a:lnTo>
                  <a:pt x="821436" y="1866900"/>
                </a:lnTo>
                <a:lnTo>
                  <a:pt x="824484" y="1863852"/>
                </a:lnTo>
                <a:lnTo>
                  <a:pt x="826008" y="1860804"/>
                </a:lnTo>
                <a:lnTo>
                  <a:pt x="856488" y="1807464"/>
                </a:lnTo>
                <a:lnTo>
                  <a:pt x="883920" y="1754124"/>
                </a:lnTo>
                <a:lnTo>
                  <a:pt x="911352" y="1697736"/>
                </a:lnTo>
                <a:lnTo>
                  <a:pt x="934212" y="1639824"/>
                </a:lnTo>
                <a:lnTo>
                  <a:pt x="958596" y="1584960"/>
                </a:lnTo>
                <a:lnTo>
                  <a:pt x="996696" y="1469136"/>
                </a:lnTo>
                <a:lnTo>
                  <a:pt x="1027176" y="1353312"/>
                </a:lnTo>
                <a:lnTo>
                  <a:pt x="1040892" y="1293876"/>
                </a:lnTo>
                <a:lnTo>
                  <a:pt x="1045464" y="1264158"/>
                </a:lnTo>
                <a:close/>
              </a:path>
              <a:path w="1074420" h="1868804">
                <a:moveTo>
                  <a:pt x="821436" y="57831"/>
                </a:moveTo>
                <a:lnTo>
                  <a:pt x="821436" y="27432"/>
                </a:lnTo>
                <a:lnTo>
                  <a:pt x="808866" y="34676"/>
                </a:lnTo>
                <a:lnTo>
                  <a:pt x="821436" y="57831"/>
                </a:lnTo>
                <a:close/>
              </a:path>
            </a:pathLst>
          </a:custGeom>
          <a:solidFill>
            <a:srgbClr val="FFFFFF"/>
          </a:solidFill>
        </p:spPr>
        <p:txBody>
          <a:bodyPr wrap="square" lIns="0" tIns="0" rIns="0" bIns="0" rtlCol="0"/>
          <a:lstStyle/>
          <a:p>
            <a:endParaRPr/>
          </a:p>
        </p:txBody>
      </p:sp>
      <p:sp>
        <p:nvSpPr>
          <p:cNvPr id="160" name="object 76"/>
          <p:cNvSpPr/>
          <p:nvPr/>
        </p:nvSpPr>
        <p:spPr>
          <a:xfrm>
            <a:off x="2171164" y="3391231"/>
            <a:ext cx="1591310" cy="1381125"/>
          </a:xfrm>
          <a:custGeom>
            <a:avLst/>
            <a:gdLst/>
            <a:ahLst/>
            <a:cxnLst/>
            <a:rect l="l" t="t" r="r" b="b"/>
            <a:pathLst>
              <a:path w="1591310" h="1381125">
                <a:moveTo>
                  <a:pt x="1591056" y="460248"/>
                </a:moveTo>
                <a:lnTo>
                  <a:pt x="794004" y="0"/>
                </a:lnTo>
                <a:lnTo>
                  <a:pt x="762000" y="51816"/>
                </a:lnTo>
                <a:lnTo>
                  <a:pt x="726948" y="102108"/>
                </a:lnTo>
                <a:lnTo>
                  <a:pt x="688848" y="147828"/>
                </a:lnTo>
                <a:lnTo>
                  <a:pt x="647700" y="192024"/>
                </a:lnTo>
                <a:lnTo>
                  <a:pt x="603504" y="231648"/>
                </a:lnTo>
                <a:lnTo>
                  <a:pt x="556260" y="271272"/>
                </a:lnTo>
                <a:lnTo>
                  <a:pt x="509016" y="306324"/>
                </a:lnTo>
                <a:lnTo>
                  <a:pt x="458724" y="336804"/>
                </a:lnTo>
                <a:lnTo>
                  <a:pt x="405384" y="364236"/>
                </a:lnTo>
                <a:lnTo>
                  <a:pt x="352044" y="390144"/>
                </a:lnTo>
                <a:lnTo>
                  <a:pt x="295656" y="411480"/>
                </a:lnTo>
                <a:lnTo>
                  <a:pt x="239268" y="428244"/>
                </a:lnTo>
                <a:lnTo>
                  <a:pt x="179832" y="441960"/>
                </a:lnTo>
                <a:lnTo>
                  <a:pt x="118872" y="452628"/>
                </a:lnTo>
                <a:lnTo>
                  <a:pt x="59436" y="458724"/>
                </a:lnTo>
                <a:lnTo>
                  <a:pt x="0" y="460248"/>
                </a:lnTo>
                <a:lnTo>
                  <a:pt x="0" y="1380744"/>
                </a:lnTo>
                <a:lnTo>
                  <a:pt x="59436" y="1379220"/>
                </a:lnTo>
                <a:lnTo>
                  <a:pt x="121920" y="1376172"/>
                </a:lnTo>
                <a:lnTo>
                  <a:pt x="181356" y="1371600"/>
                </a:lnTo>
                <a:lnTo>
                  <a:pt x="240792" y="1363980"/>
                </a:lnTo>
                <a:lnTo>
                  <a:pt x="301752" y="1356360"/>
                </a:lnTo>
                <a:lnTo>
                  <a:pt x="362712" y="1344168"/>
                </a:lnTo>
                <a:lnTo>
                  <a:pt x="420624" y="1331976"/>
                </a:lnTo>
                <a:lnTo>
                  <a:pt x="478536" y="1315212"/>
                </a:lnTo>
                <a:lnTo>
                  <a:pt x="534924" y="1301496"/>
                </a:lnTo>
                <a:lnTo>
                  <a:pt x="592836" y="1283208"/>
                </a:lnTo>
                <a:lnTo>
                  <a:pt x="649224" y="1260348"/>
                </a:lnTo>
                <a:lnTo>
                  <a:pt x="704088" y="1239012"/>
                </a:lnTo>
                <a:lnTo>
                  <a:pt x="760476" y="1216152"/>
                </a:lnTo>
                <a:lnTo>
                  <a:pt x="812292" y="1190244"/>
                </a:lnTo>
                <a:lnTo>
                  <a:pt x="865632" y="1162812"/>
                </a:lnTo>
                <a:lnTo>
                  <a:pt x="917448" y="1133856"/>
                </a:lnTo>
                <a:lnTo>
                  <a:pt x="1018032" y="1071372"/>
                </a:lnTo>
                <a:lnTo>
                  <a:pt x="1117092" y="1002792"/>
                </a:lnTo>
                <a:lnTo>
                  <a:pt x="1208532" y="926592"/>
                </a:lnTo>
                <a:lnTo>
                  <a:pt x="1295400" y="844296"/>
                </a:lnTo>
                <a:lnTo>
                  <a:pt x="1379220" y="757428"/>
                </a:lnTo>
                <a:lnTo>
                  <a:pt x="1455420" y="664464"/>
                </a:lnTo>
                <a:lnTo>
                  <a:pt x="1525524" y="565404"/>
                </a:lnTo>
                <a:lnTo>
                  <a:pt x="1591056" y="460248"/>
                </a:lnTo>
                <a:close/>
              </a:path>
            </a:pathLst>
          </a:custGeom>
          <a:solidFill>
            <a:srgbClr val="FF903F"/>
          </a:solidFill>
        </p:spPr>
        <p:txBody>
          <a:bodyPr wrap="square" lIns="0" tIns="0" rIns="0" bIns="0" rtlCol="0"/>
          <a:lstStyle/>
          <a:p>
            <a:endParaRPr/>
          </a:p>
        </p:txBody>
      </p:sp>
      <p:sp>
        <p:nvSpPr>
          <p:cNvPr id="161" name="object 77"/>
          <p:cNvSpPr/>
          <p:nvPr/>
        </p:nvSpPr>
        <p:spPr>
          <a:xfrm>
            <a:off x="2155924" y="3374467"/>
            <a:ext cx="1621790" cy="1412875"/>
          </a:xfrm>
          <a:custGeom>
            <a:avLst/>
            <a:gdLst/>
            <a:ahLst/>
            <a:cxnLst/>
            <a:rect l="l" t="t" r="r" b="b"/>
            <a:pathLst>
              <a:path w="1621789" h="1412875">
                <a:moveTo>
                  <a:pt x="1621536" y="481584"/>
                </a:moveTo>
                <a:lnTo>
                  <a:pt x="1621536" y="477012"/>
                </a:lnTo>
                <a:lnTo>
                  <a:pt x="1620012" y="473964"/>
                </a:lnTo>
                <a:lnTo>
                  <a:pt x="1620012" y="469392"/>
                </a:lnTo>
                <a:lnTo>
                  <a:pt x="1616964" y="466344"/>
                </a:lnTo>
                <a:lnTo>
                  <a:pt x="1613916" y="464820"/>
                </a:lnTo>
                <a:lnTo>
                  <a:pt x="816864" y="4572"/>
                </a:lnTo>
                <a:lnTo>
                  <a:pt x="810768" y="0"/>
                </a:lnTo>
                <a:lnTo>
                  <a:pt x="801624" y="3048"/>
                </a:lnTo>
                <a:lnTo>
                  <a:pt x="797052" y="9144"/>
                </a:lnTo>
                <a:lnTo>
                  <a:pt x="765048" y="60960"/>
                </a:lnTo>
                <a:lnTo>
                  <a:pt x="731520" y="111252"/>
                </a:lnTo>
                <a:lnTo>
                  <a:pt x="693420" y="155448"/>
                </a:lnTo>
                <a:lnTo>
                  <a:pt x="652272" y="198120"/>
                </a:lnTo>
                <a:lnTo>
                  <a:pt x="609600" y="237744"/>
                </a:lnTo>
                <a:lnTo>
                  <a:pt x="562356" y="277368"/>
                </a:lnTo>
                <a:lnTo>
                  <a:pt x="516636" y="310896"/>
                </a:lnTo>
                <a:lnTo>
                  <a:pt x="466344" y="341376"/>
                </a:lnTo>
                <a:lnTo>
                  <a:pt x="414528" y="368808"/>
                </a:lnTo>
                <a:lnTo>
                  <a:pt x="361188" y="393192"/>
                </a:lnTo>
                <a:lnTo>
                  <a:pt x="304800" y="414528"/>
                </a:lnTo>
                <a:lnTo>
                  <a:pt x="249936" y="431292"/>
                </a:lnTo>
                <a:lnTo>
                  <a:pt x="190500" y="445008"/>
                </a:lnTo>
                <a:lnTo>
                  <a:pt x="132588" y="455676"/>
                </a:lnTo>
                <a:lnTo>
                  <a:pt x="73152" y="460248"/>
                </a:lnTo>
                <a:lnTo>
                  <a:pt x="15240" y="463217"/>
                </a:lnTo>
                <a:lnTo>
                  <a:pt x="6096" y="463296"/>
                </a:lnTo>
                <a:lnTo>
                  <a:pt x="0" y="469392"/>
                </a:lnTo>
                <a:lnTo>
                  <a:pt x="0" y="1402080"/>
                </a:lnTo>
                <a:lnTo>
                  <a:pt x="1524" y="1405128"/>
                </a:lnTo>
                <a:lnTo>
                  <a:pt x="7620" y="1411224"/>
                </a:lnTo>
                <a:lnTo>
                  <a:pt x="10668" y="1412748"/>
                </a:lnTo>
                <a:lnTo>
                  <a:pt x="13716" y="1412748"/>
                </a:lnTo>
                <a:lnTo>
                  <a:pt x="13716" y="1383792"/>
                </a:lnTo>
                <a:lnTo>
                  <a:pt x="15240" y="1383753"/>
                </a:lnTo>
                <a:lnTo>
                  <a:pt x="15240" y="490728"/>
                </a:lnTo>
                <a:lnTo>
                  <a:pt x="28956" y="477012"/>
                </a:lnTo>
                <a:lnTo>
                  <a:pt x="28956" y="490385"/>
                </a:lnTo>
                <a:lnTo>
                  <a:pt x="76200" y="489204"/>
                </a:lnTo>
                <a:lnTo>
                  <a:pt x="137160" y="484632"/>
                </a:lnTo>
                <a:lnTo>
                  <a:pt x="198120" y="473964"/>
                </a:lnTo>
                <a:lnTo>
                  <a:pt x="257556" y="458724"/>
                </a:lnTo>
                <a:lnTo>
                  <a:pt x="315468" y="441960"/>
                </a:lnTo>
                <a:lnTo>
                  <a:pt x="373380" y="419100"/>
                </a:lnTo>
                <a:lnTo>
                  <a:pt x="426720" y="393192"/>
                </a:lnTo>
                <a:lnTo>
                  <a:pt x="481584" y="365760"/>
                </a:lnTo>
                <a:lnTo>
                  <a:pt x="533400" y="333756"/>
                </a:lnTo>
                <a:lnTo>
                  <a:pt x="582168" y="298704"/>
                </a:lnTo>
                <a:lnTo>
                  <a:pt x="629412" y="259080"/>
                </a:lnTo>
                <a:lnTo>
                  <a:pt x="673608" y="217932"/>
                </a:lnTo>
                <a:lnTo>
                  <a:pt x="714756" y="173736"/>
                </a:lnTo>
                <a:lnTo>
                  <a:pt x="754380" y="126492"/>
                </a:lnTo>
                <a:lnTo>
                  <a:pt x="789432" y="76200"/>
                </a:lnTo>
                <a:lnTo>
                  <a:pt x="803148" y="53993"/>
                </a:lnTo>
                <a:lnTo>
                  <a:pt x="803148" y="28956"/>
                </a:lnTo>
                <a:lnTo>
                  <a:pt x="821436" y="24384"/>
                </a:lnTo>
                <a:lnTo>
                  <a:pt x="821436" y="39516"/>
                </a:lnTo>
                <a:lnTo>
                  <a:pt x="1586686" y="481400"/>
                </a:lnTo>
                <a:lnTo>
                  <a:pt x="1594104" y="469392"/>
                </a:lnTo>
                <a:lnTo>
                  <a:pt x="1600200" y="489204"/>
                </a:lnTo>
                <a:lnTo>
                  <a:pt x="1600200" y="513977"/>
                </a:lnTo>
                <a:lnTo>
                  <a:pt x="1618488" y="484632"/>
                </a:lnTo>
                <a:lnTo>
                  <a:pt x="1621536" y="481584"/>
                </a:lnTo>
                <a:close/>
              </a:path>
              <a:path w="1621789" h="1412875">
                <a:moveTo>
                  <a:pt x="1600200" y="513977"/>
                </a:moveTo>
                <a:lnTo>
                  <a:pt x="1600200" y="489204"/>
                </a:lnTo>
                <a:lnTo>
                  <a:pt x="1586686" y="481400"/>
                </a:lnTo>
                <a:lnTo>
                  <a:pt x="1530096" y="573024"/>
                </a:lnTo>
                <a:lnTo>
                  <a:pt x="1459992" y="672084"/>
                </a:lnTo>
                <a:lnTo>
                  <a:pt x="1383792" y="763524"/>
                </a:lnTo>
                <a:lnTo>
                  <a:pt x="1301496" y="850392"/>
                </a:lnTo>
                <a:lnTo>
                  <a:pt x="1214628" y="932688"/>
                </a:lnTo>
                <a:lnTo>
                  <a:pt x="1123188" y="1007364"/>
                </a:lnTo>
                <a:lnTo>
                  <a:pt x="1025652" y="1075944"/>
                </a:lnTo>
                <a:lnTo>
                  <a:pt x="926592" y="1138428"/>
                </a:lnTo>
                <a:lnTo>
                  <a:pt x="874776" y="1167384"/>
                </a:lnTo>
                <a:lnTo>
                  <a:pt x="821436" y="1194816"/>
                </a:lnTo>
                <a:lnTo>
                  <a:pt x="769620" y="1219200"/>
                </a:lnTo>
                <a:lnTo>
                  <a:pt x="659892" y="1264920"/>
                </a:lnTo>
                <a:lnTo>
                  <a:pt x="603504" y="1286256"/>
                </a:lnTo>
                <a:lnTo>
                  <a:pt x="547116" y="1304544"/>
                </a:lnTo>
                <a:lnTo>
                  <a:pt x="490728" y="1318260"/>
                </a:lnTo>
                <a:lnTo>
                  <a:pt x="432816" y="1335024"/>
                </a:lnTo>
                <a:lnTo>
                  <a:pt x="374904" y="1347216"/>
                </a:lnTo>
                <a:lnTo>
                  <a:pt x="315468" y="1359408"/>
                </a:lnTo>
                <a:lnTo>
                  <a:pt x="254508" y="1367028"/>
                </a:lnTo>
                <a:lnTo>
                  <a:pt x="195072" y="1374648"/>
                </a:lnTo>
                <a:lnTo>
                  <a:pt x="135636" y="1379220"/>
                </a:lnTo>
                <a:lnTo>
                  <a:pt x="76200" y="1382191"/>
                </a:lnTo>
                <a:lnTo>
                  <a:pt x="73152" y="1382306"/>
                </a:lnTo>
                <a:lnTo>
                  <a:pt x="13716" y="1383792"/>
                </a:lnTo>
                <a:lnTo>
                  <a:pt x="28956" y="1397508"/>
                </a:lnTo>
                <a:lnTo>
                  <a:pt x="28956" y="1412396"/>
                </a:lnTo>
                <a:lnTo>
                  <a:pt x="73152" y="1411263"/>
                </a:lnTo>
                <a:lnTo>
                  <a:pt x="137160" y="1408176"/>
                </a:lnTo>
                <a:lnTo>
                  <a:pt x="198120" y="1402080"/>
                </a:lnTo>
                <a:lnTo>
                  <a:pt x="257556" y="1395984"/>
                </a:lnTo>
                <a:lnTo>
                  <a:pt x="318516" y="1388364"/>
                </a:lnTo>
                <a:lnTo>
                  <a:pt x="379476" y="1376172"/>
                </a:lnTo>
                <a:lnTo>
                  <a:pt x="438912" y="1362456"/>
                </a:lnTo>
                <a:lnTo>
                  <a:pt x="498348" y="1347216"/>
                </a:lnTo>
                <a:lnTo>
                  <a:pt x="554736" y="1331976"/>
                </a:lnTo>
                <a:lnTo>
                  <a:pt x="612648" y="1313688"/>
                </a:lnTo>
                <a:lnTo>
                  <a:pt x="669036" y="1290828"/>
                </a:lnTo>
                <a:lnTo>
                  <a:pt x="723900" y="1269492"/>
                </a:lnTo>
                <a:lnTo>
                  <a:pt x="780288" y="1245108"/>
                </a:lnTo>
                <a:lnTo>
                  <a:pt x="833628" y="1220724"/>
                </a:lnTo>
                <a:lnTo>
                  <a:pt x="888492" y="1191768"/>
                </a:lnTo>
                <a:lnTo>
                  <a:pt x="940308" y="1162812"/>
                </a:lnTo>
                <a:lnTo>
                  <a:pt x="1040892" y="1100328"/>
                </a:lnTo>
                <a:lnTo>
                  <a:pt x="1139952" y="1030224"/>
                </a:lnTo>
                <a:lnTo>
                  <a:pt x="1232916" y="954024"/>
                </a:lnTo>
                <a:lnTo>
                  <a:pt x="1321308" y="871728"/>
                </a:lnTo>
                <a:lnTo>
                  <a:pt x="1405128" y="783336"/>
                </a:lnTo>
                <a:lnTo>
                  <a:pt x="1481328" y="690372"/>
                </a:lnTo>
                <a:lnTo>
                  <a:pt x="1552956" y="589788"/>
                </a:lnTo>
                <a:lnTo>
                  <a:pt x="1600200" y="513977"/>
                </a:lnTo>
                <a:close/>
              </a:path>
              <a:path w="1621789" h="1412875">
                <a:moveTo>
                  <a:pt x="28956" y="1412396"/>
                </a:moveTo>
                <a:lnTo>
                  <a:pt x="28956" y="1397508"/>
                </a:lnTo>
                <a:lnTo>
                  <a:pt x="13716" y="1383792"/>
                </a:lnTo>
                <a:lnTo>
                  <a:pt x="13716" y="1412748"/>
                </a:lnTo>
                <a:lnTo>
                  <a:pt x="15240" y="1412748"/>
                </a:lnTo>
                <a:lnTo>
                  <a:pt x="28956" y="1412396"/>
                </a:lnTo>
                <a:close/>
              </a:path>
              <a:path w="1621789" h="1412875">
                <a:moveTo>
                  <a:pt x="28956" y="490385"/>
                </a:moveTo>
                <a:lnTo>
                  <a:pt x="28956" y="477012"/>
                </a:lnTo>
                <a:lnTo>
                  <a:pt x="15240" y="490728"/>
                </a:lnTo>
                <a:lnTo>
                  <a:pt x="28956" y="490385"/>
                </a:lnTo>
                <a:close/>
              </a:path>
              <a:path w="1621789" h="1412875">
                <a:moveTo>
                  <a:pt x="28956" y="1383411"/>
                </a:moveTo>
                <a:lnTo>
                  <a:pt x="28956" y="490385"/>
                </a:lnTo>
                <a:lnTo>
                  <a:pt x="15240" y="490728"/>
                </a:lnTo>
                <a:lnTo>
                  <a:pt x="15240" y="1383753"/>
                </a:lnTo>
                <a:lnTo>
                  <a:pt x="28956" y="1383411"/>
                </a:lnTo>
                <a:close/>
              </a:path>
              <a:path w="1621789" h="1412875">
                <a:moveTo>
                  <a:pt x="821436" y="24384"/>
                </a:moveTo>
                <a:lnTo>
                  <a:pt x="803148" y="28956"/>
                </a:lnTo>
                <a:lnTo>
                  <a:pt x="814546" y="35538"/>
                </a:lnTo>
                <a:lnTo>
                  <a:pt x="821436" y="24384"/>
                </a:lnTo>
                <a:close/>
              </a:path>
              <a:path w="1621789" h="1412875">
                <a:moveTo>
                  <a:pt x="814546" y="35538"/>
                </a:moveTo>
                <a:lnTo>
                  <a:pt x="803148" y="28956"/>
                </a:lnTo>
                <a:lnTo>
                  <a:pt x="803148" y="53993"/>
                </a:lnTo>
                <a:lnTo>
                  <a:pt x="814546" y="35538"/>
                </a:lnTo>
                <a:close/>
              </a:path>
              <a:path w="1621789" h="1412875">
                <a:moveTo>
                  <a:pt x="821436" y="39516"/>
                </a:moveTo>
                <a:lnTo>
                  <a:pt x="821436" y="24384"/>
                </a:lnTo>
                <a:lnTo>
                  <a:pt x="814546" y="35538"/>
                </a:lnTo>
                <a:lnTo>
                  <a:pt x="821436" y="39516"/>
                </a:lnTo>
                <a:close/>
              </a:path>
              <a:path w="1621789" h="1412875">
                <a:moveTo>
                  <a:pt x="1600200" y="489204"/>
                </a:moveTo>
                <a:lnTo>
                  <a:pt x="1594104" y="469392"/>
                </a:lnTo>
                <a:lnTo>
                  <a:pt x="1586686" y="481400"/>
                </a:lnTo>
                <a:lnTo>
                  <a:pt x="1600200" y="489204"/>
                </a:lnTo>
                <a:close/>
              </a:path>
            </a:pathLst>
          </a:custGeom>
          <a:solidFill>
            <a:srgbClr val="FFFFFF"/>
          </a:solidFill>
        </p:spPr>
        <p:txBody>
          <a:bodyPr wrap="square" lIns="0" tIns="0" rIns="0" bIns="0" rtlCol="0"/>
          <a:lstStyle/>
          <a:p>
            <a:endParaRPr/>
          </a:p>
        </p:txBody>
      </p:sp>
      <p:sp>
        <p:nvSpPr>
          <p:cNvPr id="162" name="object 78"/>
          <p:cNvSpPr/>
          <p:nvPr/>
        </p:nvSpPr>
        <p:spPr>
          <a:xfrm>
            <a:off x="2320516" y="1562431"/>
            <a:ext cx="1101852" cy="405384"/>
          </a:xfrm>
          <a:prstGeom prst="rect">
            <a:avLst/>
          </a:prstGeom>
          <a:blipFill>
            <a:blip r:embed="rId7" cstate="print"/>
            <a:stretch>
              <a:fillRect/>
            </a:stretch>
          </a:blipFill>
        </p:spPr>
        <p:txBody>
          <a:bodyPr wrap="square" lIns="0" tIns="0" rIns="0" bIns="0" rtlCol="0"/>
          <a:lstStyle/>
          <a:p>
            <a:endParaRPr/>
          </a:p>
        </p:txBody>
      </p:sp>
      <p:sp>
        <p:nvSpPr>
          <p:cNvPr id="163" name="object 79"/>
          <p:cNvSpPr txBox="1"/>
          <p:nvPr/>
        </p:nvSpPr>
        <p:spPr>
          <a:xfrm>
            <a:off x="2390118" y="1531442"/>
            <a:ext cx="965200" cy="431800"/>
          </a:xfrm>
          <a:prstGeom prst="rect">
            <a:avLst/>
          </a:prstGeom>
        </p:spPr>
        <p:txBody>
          <a:bodyPr vert="horz" wrap="square" lIns="0" tIns="37465" rIns="0" bIns="0" rtlCol="0">
            <a:spAutoFit/>
          </a:bodyPr>
          <a:lstStyle/>
          <a:p>
            <a:pPr marL="12700" marR="5080" indent="107950">
              <a:lnSpc>
                <a:spcPts val="1510"/>
              </a:lnSpc>
              <a:spcBef>
                <a:spcPts val="295"/>
              </a:spcBef>
            </a:pPr>
            <a:r>
              <a:rPr sz="1400" b="1" spc="-5" dirty="0">
                <a:latin typeface="Arial"/>
                <a:cs typeface="Arial"/>
              </a:rPr>
              <a:t>Increase  P</a:t>
            </a:r>
            <a:r>
              <a:rPr sz="1400" b="1" spc="0" dirty="0">
                <a:latin typeface="Arial"/>
                <a:cs typeface="Arial"/>
              </a:rPr>
              <a:t>r</a:t>
            </a:r>
            <a:r>
              <a:rPr sz="1400" b="1" spc="-10" dirty="0">
                <a:latin typeface="Arial"/>
                <a:cs typeface="Arial"/>
              </a:rPr>
              <a:t>odu</a:t>
            </a:r>
            <a:r>
              <a:rPr sz="1400" b="1" spc="-5" dirty="0">
                <a:latin typeface="Arial"/>
                <a:cs typeface="Arial"/>
              </a:rPr>
              <a:t>c</a:t>
            </a:r>
            <a:r>
              <a:rPr sz="1400" b="1" dirty="0">
                <a:latin typeface="Arial"/>
                <a:cs typeface="Arial"/>
              </a:rPr>
              <a:t>t</a:t>
            </a:r>
            <a:r>
              <a:rPr sz="1400" b="1" spc="0" dirty="0">
                <a:latin typeface="Arial"/>
                <a:cs typeface="Arial"/>
              </a:rPr>
              <a:t>i</a:t>
            </a:r>
            <a:r>
              <a:rPr sz="1400" b="1" spc="-10" dirty="0">
                <a:latin typeface="Arial"/>
                <a:cs typeface="Arial"/>
              </a:rPr>
              <a:t>o</a:t>
            </a:r>
            <a:r>
              <a:rPr sz="1400" b="1" dirty="0">
                <a:latin typeface="Arial"/>
                <a:cs typeface="Arial"/>
              </a:rPr>
              <a:t>n</a:t>
            </a:r>
            <a:endParaRPr sz="1400" dirty="0">
              <a:latin typeface="Arial"/>
              <a:cs typeface="Arial"/>
            </a:endParaRPr>
          </a:p>
        </p:txBody>
      </p:sp>
      <p:sp>
        <p:nvSpPr>
          <p:cNvPr id="164" name="object 80"/>
          <p:cNvSpPr/>
          <p:nvPr/>
        </p:nvSpPr>
        <p:spPr>
          <a:xfrm>
            <a:off x="2975835" y="2601798"/>
            <a:ext cx="1091183" cy="766572"/>
          </a:xfrm>
          <a:prstGeom prst="rect">
            <a:avLst/>
          </a:prstGeom>
          <a:blipFill>
            <a:blip r:embed="rId8" cstate="print"/>
            <a:stretch>
              <a:fillRect/>
            </a:stretch>
          </a:blipFill>
        </p:spPr>
        <p:txBody>
          <a:bodyPr wrap="square" lIns="0" tIns="0" rIns="0" bIns="0" rtlCol="0"/>
          <a:lstStyle/>
          <a:p>
            <a:endParaRPr/>
          </a:p>
        </p:txBody>
      </p:sp>
      <p:sp>
        <p:nvSpPr>
          <p:cNvPr id="165" name="object 81"/>
          <p:cNvSpPr txBox="1"/>
          <p:nvPr/>
        </p:nvSpPr>
        <p:spPr>
          <a:xfrm>
            <a:off x="3188694" y="2750641"/>
            <a:ext cx="667385" cy="431800"/>
          </a:xfrm>
          <a:prstGeom prst="rect">
            <a:avLst/>
          </a:prstGeom>
        </p:spPr>
        <p:txBody>
          <a:bodyPr vert="horz" wrap="square" lIns="0" tIns="37465" rIns="0" bIns="0" rtlCol="0">
            <a:spAutoFit/>
          </a:bodyPr>
          <a:lstStyle/>
          <a:p>
            <a:pPr marL="135890" marR="5080" indent="-123825">
              <a:lnSpc>
                <a:spcPts val="1510"/>
              </a:lnSpc>
              <a:spcBef>
                <a:spcPts val="295"/>
              </a:spcBef>
            </a:pPr>
            <a:r>
              <a:rPr sz="1400" b="1" spc="-10" dirty="0">
                <a:latin typeface="Arial"/>
                <a:cs typeface="Arial"/>
              </a:rPr>
              <a:t>R</a:t>
            </a:r>
            <a:r>
              <a:rPr sz="1400" b="1" spc="-5" dirty="0">
                <a:latin typeface="Arial"/>
                <a:cs typeface="Arial"/>
              </a:rPr>
              <a:t>e</a:t>
            </a:r>
            <a:r>
              <a:rPr sz="1400" b="1" spc="-10" dirty="0">
                <a:latin typeface="Arial"/>
                <a:cs typeface="Arial"/>
              </a:rPr>
              <a:t>du</a:t>
            </a:r>
            <a:r>
              <a:rPr sz="1400" b="1" spc="-5" dirty="0">
                <a:latin typeface="Arial"/>
                <a:cs typeface="Arial"/>
              </a:rPr>
              <a:t>c</a:t>
            </a:r>
            <a:r>
              <a:rPr sz="1400" b="1" dirty="0">
                <a:latin typeface="Arial"/>
                <a:cs typeface="Arial"/>
              </a:rPr>
              <a:t>e  </a:t>
            </a:r>
            <a:r>
              <a:rPr sz="1400" b="1" spc="-5" dirty="0">
                <a:latin typeface="Arial"/>
                <a:cs typeface="Arial"/>
              </a:rPr>
              <a:t>Cost</a:t>
            </a:r>
            <a:endParaRPr sz="1400">
              <a:latin typeface="Arial"/>
              <a:cs typeface="Arial"/>
            </a:endParaRPr>
          </a:p>
        </p:txBody>
      </p:sp>
      <p:sp>
        <p:nvSpPr>
          <p:cNvPr id="166" name="object 82"/>
          <p:cNvSpPr/>
          <p:nvPr/>
        </p:nvSpPr>
        <p:spPr>
          <a:xfrm>
            <a:off x="2169640" y="3694507"/>
            <a:ext cx="1319783" cy="961644"/>
          </a:xfrm>
          <a:prstGeom prst="rect">
            <a:avLst/>
          </a:prstGeom>
          <a:blipFill>
            <a:blip r:embed="rId9" cstate="print"/>
            <a:stretch>
              <a:fillRect/>
            </a:stretch>
          </a:blipFill>
        </p:spPr>
        <p:txBody>
          <a:bodyPr wrap="square" lIns="0" tIns="0" rIns="0" bIns="0" rtlCol="0"/>
          <a:lstStyle/>
          <a:p>
            <a:endParaRPr/>
          </a:p>
        </p:txBody>
      </p:sp>
      <p:sp>
        <p:nvSpPr>
          <p:cNvPr id="167" name="object 83"/>
          <p:cNvSpPr txBox="1"/>
          <p:nvPr/>
        </p:nvSpPr>
        <p:spPr>
          <a:xfrm>
            <a:off x="2460222" y="3844873"/>
            <a:ext cx="744220" cy="623570"/>
          </a:xfrm>
          <a:prstGeom prst="rect">
            <a:avLst/>
          </a:prstGeom>
        </p:spPr>
        <p:txBody>
          <a:bodyPr vert="horz" wrap="square" lIns="0" tIns="37465" rIns="0" bIns="0" rtlCol="0">
            <a:spAutoFit/>
          </a:bodyPr>
          <a:lstStyle/>
          <a:p>
            <a:pPr marL="12700" marR="5080" indent="12065" algn="just">
              <a:lnSpc>
                <a:spcPts val="1510"/>
              </a:lnSpc>
              <a:spcBef>
                <a:spcPts val="295"/>
              </a:spcBef>
            </a:pPr>
            <a:r>
              <a:rPr sz="1400" b="1" spc="-5" dirty="0">
                <a:latin typeface="Arial"/>
                <a:cs typeface="Arial"/>
              </a:rPr>
              <a:t>Improve  Health</a:t>
            </a:r>
            <a:r>
              <a:rPr sz="1400" b="1" spc="-105" dirty="0">
                <a:latin typeface="Arial"/>
                <a:cs typeface="Arial"/>
              </a:rPr>
              <a:t> </a:t>
            </a:r>
            <a:r>
              <a:rPr sz="1400" b="1" dirty="0">
                <a:latin typeface="Arial"/>
                <a:cs typeface="Arial"/>
              </a:rPr>
              <a:t>&amp;  </a:t>
            </a:r>
            <a:r>
              <a:rPr sz="1400" b="1" spc="-5" dirty="0">
                <a:latin typeface="Arial"/>
                <a:cs typeface="Arial"/>
              </a:rPr>
              <a:t>Safety</a:t>
            </a:r>
            <a:endParaRPr sz="1400">
              <a:latin typeface="Arial"/>
              <a:cs typeface="Arial"/>
            </a:endParaRPr>
          </a:p>
        </p:txBody>
      </p:sp>
      <p:sp>
        <p:nvSpPr>
          <p:cNvPr id="168" name="object 84"/>
          <p:cNvSpPr txBox="1"/>
          <p:nvPr/>
        </p:nvSpPr>
        <p:spPr>
          <a:xfrm>
            <a:off x="2777214" y="1002614"/>
            <a:ext cx="1113790" cy="379095"/>
          </a:xfrm>
          <a:prstGeom prst="rect">
            <a:avLst/>
          </a:prstGeom>
        </p:spPr>
        <p:txBody>
          <a:bodyPr vert="horz" wrap="square" lIns="0" tIns="12700" rIns="0" bIns="0" rtlCol="0">
            <a:spAutoFit/>
          </a:bodyPr>
          <a:lstStyle/>
          <a:p>
            <a:pPr marL="12700">
              <a:lnSpc>
                <a:spcPts val="1390"/>
              </a:lnSpc>
              <a:spcBef>
                <a:spcPts val="100"/>
              </a:spcBef>
            </a:pPr>
            <a:r>
              <a:rPr sz="1200" i="1" spc="-10" dirty="0">
                <a:solidFill>
                  <a:srgbClr val="0099FF"/>
                </a:solidFill>
                <a:latin typeface="Arial"/>
                <a:cs typeface="Arial"/>
              </a:rPr>
              <a:t>Utilization</a:t>
            </a:r>
            <a:endParaRPr sz="1200" dirty="0">
              <a:latin typeface="Arial"/>
              <a:cs typeface="Arial"/>
            </a:endParaRPr>
          </a:p>
          <a:p>
            <a:pPr marL="382905">
              <a:lnSpc>
                <a:spcPts val="1390"/>
              </a:lnSpc>
            </a:pPr>
            <a:r>
              <a:rPr sz="1200" i="1" spc="-5" dirty="0">
                <a:solidFill>
                  <a:srgbClr val="0099FF"/>
                </a:solidFill>
                <a:latin typeface="Arial"/>
                <a:cs typeface="Arial"/>
              </a:rPr>
              <a:t>Availability</a:t>
            </a:r>
            <a:endParaRPr sz="1200" dirty="0">
              <a:latin typeface="Arial"/>
              <a:cs typeface="Arial"/>
            </a:endParaRPr>
          </a:p>
        </p:txBody>
      </p:sp>
      <p:sp>
        <p:nvSpPr>
          <p:cNvPr id="169" name="object 85"/>
          <p:cNvSpPr txBox="1"/>
          <p:nvPr/>
        </p:nvSpPr>
        <p:spPr>
          <a:xfrm>
            <a:off x="3434057" y="1345514"/>
            <a:ext cx="948055" cy="464820"/>
          </a:xfrm>
          <a:prstGeom prst="rect">
            <a:avLst/>
          </a:prstGeom>
        </p:spPr>
        <p:txBody>
          <a:bodyPr vert="horz" wrap="square" lIns="0" tIns="12700" rIns="0" bIns="0" rtlCol="0">
            <a:spAutoFit/>
          </a:bodyPr>
          <a:lstStyle/>
          <a:p>
            <a:pPr marL="230504" marR="5080" indent="-218440">
              <a:lnSpc>
                <a:spcPct val="120000"/>
              </a:lnSpc>
              <a:spcBef>
                <a:spcPts val="100"/>
              </a:spcBef>
            </a:pPr>
            <a:r>
              <a:rPr sz="1200" i="1" spc="-90" dirty="0">
                <a:solidFill>
                  <a:srgbClr val="0099FF"/>
                </a:solidFill>
                <a:latin typeface="Arial"/>
                <a:cs typeface="Arial"/>
              </a:rPr>
              <a:t>T</a:t>
            </a:r>
            <a:r>
              <a:rPr sz="1200" i="1" spc="-5" dirty="0">
                <a:solidFill>
                  <a:srgbClr val="0099FF"/>
                </a:solidFill>
                <a:latin typeface="Arial"/>
                <a:cs typeface="Arial"/>
              </a:rPr>
              <a:t>r</a:t>
            </a:r>
            <a:r>
              <a:rPr sz="1200" i="1" dirty="0">
                <a:solidFill>
                  <a:srgbClr val="0099FF"/>
                </a:solidFill>
                <a:latin typeface="Arial"/>
                <a:cs typeface="Arial"/>
              </a:rPr>
              <a:t>anspa</a:t>
            </a:r>
            <a:r>
              <a:rPr sz="1200" i="1" spc="-5" dirty="0">
                <a:solidFill>
                  <a:srgbClr val="0099FF"/>
                </a:solidFill>
                <a:latin typeface="Arial"/>
                <a:cs typeface="Arial"/>
              </a:rPr>
              <a:t>r</a:t>
            </a:r>
            <a:r>
              <a:rPr sz="1200" i="1" dirty="0">
                <a:solidFill>
                  <a:srgbClr val="0099FF"/>
                </a:solidFill>
                <a:latin typeface="Arial"/>
                <a:cs typeface="Arial"/>
              </a:rPr>
              <a:t>e</a:t>
            </a:r>
            <a:r>
              <a:rPr sz="1200" i="1" spc="-10" dirty="0">
                <a:solidFill>
                  <a:srgbClr val="0099FF"/>
                </a:solidFill>
                <a:latin typeface="Arial"/>
                <a:cs typeface="Arial"/>
              </a:rPr>
              <a:t>n</a:t>
            </a:r>
            <a:r>
              <a:rPr sz="1200" i="1" dirty="0">
                <a:solidFill>
                  <a:srgbClr val="0099FF"/>
                </a:solidFill>
                <a:latin typeface="Arial"/>
                <a:cs typeface="Arial"/>
              </a:rPr>
              <a:t>cy  </a:t>
            </a:r>
            <a:r>
              <a:rPr sz="1200" i="1" spc="-5" dirty="0">
                <a:solidFill>
                  <a:srgbClr val="0099FF"/>
                </a:solidFill>
                <a:latin typeface="Arial"/>
                <a:cs typeface="Arial"/>
              </a:rPr>
              <a:t>Control</a:t>
            </a:r>
            <a:endParaRPr sz="1200" dirty="0">
              <a:latin typeface="Arial"/>
              <a:cs typeface="Arial"/>
            </a:endParaRPr>
          </a:p>
        </p:txBody>
      </p:sp>
      <p:sp>
        <p:nvSpPr>
          <p:cNvPr id="170" name="object 86"/>
          <p:cNvSpPr/>
          <p:nvPr/>
        </p:nvSpPr>
        <p:spPr>
          <a:xfrm>
            <a:off x="2617696" y="1126567"/>
            <a:ext cx="135636" cy="135636"/>
          </a:xfrm>
          <a:prstGeom prst="rect">
            <a:avLst/>
          </a:prstGeom>
          <a:blipFill>
            <a:blip r:embed="rId10" cstate="print"/>
            <a:stretch>
              <a:fillRect/>
            </a:stretch>
          </a:blipFill>
        </p:spPr>
        <p:txBody>
          <a:bodyPr wrap="square" lIns="0" tIns="0" rIns="0" bIns="0" rtlCol="0"/>
          <a:lstStyle/>
          <a:p>
            <a:endParaRPr/>
          </a:p>
        </p:txBody>
      </p:sp>
      <p:sp>
        <p:nvSpPr>
          <p:cNvPr id="171" name="object 87"/>
          <p:cNvSpPr/>
          <p:nvPr/>
        </p:nvSpPr>
        <p:spPr>
          <a:xfrm>
            <a:off x="2949928" y="1263727"/>
            <a:ext cx="135636" cy="135636"/>
          </a:xfrm>
          <a:prstGeom prst="rect">
            <a:avLst/>
          </a:prstGeom>
          <a:blipFill>
            <a:blip r:embed="rId11" cstate="print"/>
            <a:stretch>
              <a:fillRect/>
            </a:stretch>
          </a:blipFill>
        </p:spPr>
        <p:txBody>
          <a:bodyPr wrap="square" lIns="0" tIns="0" rIns="0" bIns="0" rtlCol="0"/>
          <a:lstStyle/>
          <a:p>
            <a:endParaRPr/>
          </a:p>
        </p:txBody>
      </p:sp>
      <p:sp>
        <p:nvSpPr>
          <p:cNvPr id="172" name="object 88"/>
          <p:cNvSpPr/>
          <p:nvPr/>
        </p:nvSpPr>
        <p:spPr>
          <a:xfrm>
            <a:off x="3218152" y="1429843"/>
            <a:ext cx="135636" cy="135636"/>
          </a:xfrm>
          <a:prstGeom prst="rect">
            <a:avLst/>
          </a:prstGeom>
          <a:blipFill>
            <a:blip r:embed="rId12" cstate="print"/>
            <a:stretch>
              <a:fillRect/>
            </a:stretch>
          </a:blipFill>
        </p:spPr>
        <p:txBody>
          <a:bodyPr wrap="square" lIns="0" tIns="0" rIns="0" bIns="0" rtlCol="0"/>
          <a:lstStyle/>
          <a:p>
            <a:endParaRPr/>
          </a:p>
        </p:txBody>
      </p:sp>
      <p:sp>
        <p:nvSpPr>
          <p:cNvPr id="173" name="object 89"/>
          <p:cNvSpPr/>
          <p:nvPr/>
        </p:nvSpPr>
        <p:spPr>
          <a:xfrm>
            <a:off x="3481804" y="1643203"/>
            <a:ext cx="134112" cy="135636"/>
          </a:xfrm>
          <a:prstGeom prst="rect">
            <a:avLst/>
          </a:prstGeom>
          <a:blipFill>
            <a:blip r:embed="rId13" cstate="print"/>
            <a:stretch>
              <a:fillRect/>
            </a:stretch>
          </a:blipFill>
        </p:spPr>
        <p:txBody>
          <a:bodyPr wrap="square" lIns="0" tIns="0" rIns="0" bIns="0" rtlCol="0"/>
          <a:lstStyle/>
          <a:p>
            <a:endParaRPr/>
          </a:p>
        </p:txBody>
      </p:sp>
      <p:sp>
        <p:nvSpPr>
          <p:cNvPr id="174" name="object 90"/>
          <p:cNvSpPr/>
          <p:nvPr/>
        </p:nvSpPr>
        <p:spPr>
          <a:xfrm>
            <a:off x="3923764" y="2676475"/>
            <a:ext cx="135636" cy="135636"/>
          </a:xfrm>
          <a:prstGeom prst="rect">
            <a:avLst/>
          </a:prstGeom>
          <a:blipFill>
            <a:blip r:embed="rId14" cstate="print"/>
            <a:stretch>
              <a:fillRect/>
            </a:stretch>
          </a:blipFill>
        </p:spPr>
        <p:txBody>
          <a:bodyPr wrap="square" lIns="0" tIns="0" rIns="0" bIns="0" rtlCol="0"/>
          <a:lstStyle/>
          <a:p>
            <a:endParaRPr/>
          </a:p>
        </p:txBody>
      </p:sp>
      <p:sp>
        <p:nvSpPr>
          <p:cNvPr id="175" name="object 91"/>
          <p:cNvSpPr txBox="1"/>
          <p:nvPr/>
        </p:nvSpPr>
        <p:spPr>
          <a:xfrm>
            <a:off x="4122905" y="2662249"/>
            <a:ext cx="548005" cy="522605"/>
          </a:xfrm>
          <a:prstGeom prst="rect">
            <a:avLst/>
          </a:prstGeom>
        </p:spPr>
        <p:txBody>
          <a:bodyPr vert="horz" wrap="square" lIns="0" tIns="12700" rIns="0" bIns="0" rtlCol="0">
            <a:spAutoFit/>
          </a:bodyPr>
          <a:lstStyle/>
          <a:p>
            <a:pPr marL="12700">
              <a:lnSpc>
                <a:spcPct val="100000"/>
              </a:lnSpc>
              <a:spcBef>
                <a:spcPts val="100"/>
              </a:spcBef>
            </a:pPr>
            <a:r>
              <a:rPr sz="1200" i="1" dirty="0">
                <a:solidFill>
                  <a:srgbClr val="0099FF"/>
                </a:solidFill>
                <a:latin typeface="Arial"/>
                <a:cs typeface="Arial"/>
              </a:rPr>
              <a:t>OPEX</a:t>
            </a:r>
            <a:endParaRPr sz="1200">
              <a:latin typeface="Arial"/>
              <a:cs typeface="Arial"/>
            </a:endParaRPr>
          </a:p>
          <a:p>
            <a:pPr marL="17145">
              <a:lnSpc>
                <a:spcPct val="100000"/>
              </a:lnSpc>
              <a:spcBef>
                <a:spcPts val="1030"/>
              </a:spcBef>
            </a:pPr>
            <a:r>
              <a:rPr sz="1200" i="1" spc="-5" dirty="0">
                <a:solidFill>
                  <a:srgbClr val="0099FF"/>
                </a:solidFill>
                <a:latin typeface="Arial"/>
                <a:cs typeface="Arial"/>
              </a:rPr>
              <a:t>C</a:t>
            </a:r>
            <a:r>
              <a:rPr sz="1200" i="1" dirty="0">
                <a:solidFill>
                  <a:srgbClr val="0099FF"/>
                </a:solidFill>
                <a:latin typeface="Arial"/>
                <a:cs typeface="Arial"/>
              </a:rPr>
              <a:t>APEX</a:t>
            </a:r>
            <a:endParaRPr sz="1200">
              <a:latin typeface="Arial"/>
              <a:cs typeface="Arial"/>
            </a:endParaRPr>
          </a:p>
        </p:txBody>
      </p:sp>
      <p:sp>
        <p:nvSpPr>
          <p:cNvPr id="176" name="object 92"/>
          <p:cNvSpPr/>
          <p:nvPr/>
        </p:nvSpPr>
        <p:spPr>
          <a:xfrm>
            <a:off x="3923764" y="2984323"/>
            <a:ext cx="135636" cy="135636"/>
          </a:xfrm>
          <a:prstGeom prst="rect">
            <a:avLst/>
          </a:prstGeom>
          <a:blipFill>
            <a:blip r:embed="rId10" cstate="print"/>
            <a:stretch>
              <a:fillRect/>
            </a:stretch>
          </a:blipFill>
        </p:spPr>
        <p:txBody>
          <a:bodyPr wrap="square" lIns="0" tIns="0" rIns="0" bIns="0" rtlCol="0"/>
          <a:lstStyle/>
          <a:p>
            <a:endParaRPr/>
          </a:p>
        </p:txBody>
      </p:sp>
      <p:sp>
        <p:nvSpPr>
          <p:cNvPr id="177" name="object 93"/>
          <p:cNvSpPr txBox="1"/>
          <p:nvPr/>
        </p:nvSpPr>
        <p:spPr>
          <a:xfrm>
            <a:off x="3682469" y="4006417"/>
            <a:ext cx="671195" cy="208279"/>
          </a:xfrm>
          <a:prstGeom prst="rect">
            <a:avLst/>
          </a:prstGeom>
        </p:spPr>
        <p:txBody>
          <a:bodyPr vert="horz" wrap="square" lIns="0" tIns="12700" rIns="0" bIns="0" rtlCol="0">
            <a:spAutoFit/>
          </a:bodyPr>
          <a:lstStyle/>
          <a:p>
            <a:pPr marL="12700">
              <a:lnSpc>
                <a:spcPct val="100000"/>
              </a:lnSpc>
              <a:spcBef>
                <a:spcPts val="100"/>
              </a:spcBef>
            </a:pPr>
            <a:r>
              <a:rPr sz="1200" i="1" spc="-5" dirty="0">
                <a:solidFill>
                  <a:srgbClr val="0099FF"/>
                </a:solidFill>
                <a:latin typeface="Arial"/>
                <a:cs typeface="Arial"/>
              </a:rPr>
              <a:t>Exposure</a:t>
            </a:r>
            <a:endParaRPr sz="1200">
              <a:latin typeface="Arial"/>
              <a:cs typeface="Arial"/>
            </a:endParaRPr>
          </a:p>
        </p:txBody>
      </p:sp>
      <p:sp>
        <p:nvSpPr>
          <p:cNvPr id="178" name="object 94"/>
          <p:cNvSpPr/>
          <p:nvPr/>
        </p:nvSpPr>
        <p:spPr>
          <a:xfrm>
            <a:off x="3483328" y="4041979"/>
            <a:ext cx="135636" cy="135636"/>
          </a:xfrm>
          <a:prstGeom prst="rect">
            <a:avLst/>
          </a:prstGeom>
          <a:blipFill>
            <a:blip r:embed="rId11" cstate="print"/>
            <a:stretch>
              <a:fillRect/>
            </a:stretch>
          </a:blipFill>
        </p:spPr>
        <p:txBody>
          <a:bodyPr wrap="square" lIns="0" tIns="0" rIns="0" bIns="0" rtlCol="0"/>
          <a:lstStyle/>
          <a:p>
            <a:endParaRPr/>
          </a:p>
        </p:txBody>
      </p:sp>
      <p:sp>
        <p:nvSpPr>
          <p:cNvPr id="179" name="object 95"/>
          <p:cNvSpPr txBox="1"/>
          <p:nvPr/>
        </p:nvSpPr>
        <p:spPr>
          <a:xfrm>
            <a:off x="3421866" y="4276164"/>
            <a:ext cx="589915" cy="208279"/>
          </a:xfrm>
          <a:prstGeom prst="rect">
            <a:avLst/>
          </a:prstGeom>
        </p:spPr>
        <p:txBody>
          <a:bodyPr vert="horz" wrap="square" lIns="0" tIns="12700" rIns="0" bIns="0" rtlCol="0">
            <a:spAutoFit/>
          </a:bodyPr>
          <a:lstStyle/>
          <a:p>
            <a:pPr marL="12700">
              <a:lnSpc>
                <a:spcPct val="100000"/>
              </a:lnSpc>
              <a:spcBef>
                <a:spcPts val="100"/>
              </a:spcBef>
            </a:pPr>
            <a:r>
              <a:rPr sz="1200" i="1" spc="-10" dirty="0">
                <a:solidFill>
                  <a:srgbClr val="0099FF"/>
                </a:solidFill>
                <a:latin typeface="Arial"/>
                <a:cs typeface="Arial"/>
              </a:rPr>
              <a:t>Hazards</a:t>
            </a:r>
            <a:endParaRPr sz="1200">
              <a:latin typeface="Arial"/>
              <a:cs typeface="Arial"/>
            </a:endParaRPr>
          </a:p>
        </p:txBody>
      </p:sp>
      <p:sp>
        <p:nvSpPr>
          <p:cNvPr id="180" name="object 96"/>
          <p:cNvSpPr/>
          <p:nvPr/>
        </p:nvSpPr>
        <p:spPr>
          <a:xfrm>
            <a:off x="3228820" y="4262959"/>
            <a:ext cx="135636" cy="135636"/>
          </a:xfrm>
          <a:prstGeom prst="rect">
            <a:avLst/>
          </a:prstGeom>
          <a:blipFill>
            <a:blip r:embed="rId15" cstate="print"/>
            <a:stretch>
              <a:fillRect/>
            </a:stretch>
          </a:blipFill>
        </p:spPr>
        <p:txBody>
          <a:bodyPr wrap="square" lIns="0" tIns="0" rIns="0" bIns="0" rtlCol="0"/>
          <a:lstStyle/>
          <a:p>
            <a:endParaRPr/>
          </a:p>
        </p:txBody>
      </p:sp>
      <p:sp>
        <p:nvSpPr>
          <p:cNvPr id="181" name="object 97"/>
          <p:cNvSpPr txBox="1"/>
          <p:nvPr/>
        </p:nvSpPr>
        <p:spPr>
          <a:xfrm>
            <a:off x="3123162" y="4518480"/>
            <a:ext cx="1279525" cy="208279"/>
          </a:xfrm>
          <a:prstGeom prst="rect">
            <a:avLst/>
          </a:prstGeom>
        </p:spPr>
        <p:txBody>
          <a:bodyPr vert="horz" wrap="square" lIns="0" tIns="12700" rIns="0" bIns="0" rtlCol="0">
            <a:spAutoFit/>
          </a:bodyPr>
          <a:lstStyle/>
          <a:p>
            <a:pPr marL="12700">
              <a:lnSpc>
                <a:spcPct val="100000"/>
              </a:lnSpc>
              <a:spcBef>
                <a:spcPts val="100"/>
              </a:spcBef>
            </a:pPr>
            <a:r>
              <a:rPr sz="1200" i="1" dirty="0">
                <a:solidFill>
                  <a:srgbClr val="0099FF"/>
                </a:solidFill>
                <a:latin typeface="Arial"/>
                <a:cs typeface="Arial"/>
              </a:rPr>
              <a:t>Work</a:t>
            </a:r>
            <a:r>
              <a:rPr sz="1200" i="1" spc="-70" dirty="0">
                <a:solidFill>
                  <a:srgbClr val="0099FF"/>
                </a:solidFill>
                <a:latin typeface="Arial"/>
                <a:cs typeface="Arial"/>
              </a:rPr>
              <a:t> </a:t>
            </a:r>
            <a:r>
              <a:rPr sz="1200" i="1" spc="-5" dirty="0">
                <a:solidFill>
                  <a:srgbClr val="0099FF"/>
                </a:solidFill>
                <a:latin typeface="Arial"/>
                <a:cs typeface="Arial"/>
              </a:rPr>
              <a:t>Environment</a:t>
            </a:r>
            <a:endParaRPr sz="1200">
              <a:latin typeface="Arial"/>
              <a:cs typeface="Arial"/>
            </a:endParaRPr>
          </a:p>
        </p:txBody>
      </p:sp>
      <p:sp>
        <p:nvSpPr>
          <p:cNvPr id="182" name="object 98"/>
          <p:cNvSpPr/>
          <p:nvPr/>
        </p:nvSpPr>
        <p:spPr>
          <a:xfrm>
            <a:off x="2919448" y="4445839"/>
            <a:ext cx="134112" cy="135636"/>
          </a:xfrm>
          <a:prstGeom prst="rect">
            <a:avLst/>
          </a:prstGeom>
          <a:blipFill>
            <a:blip r:embed="rId16" cstate="print"/>
            <a:stretch>
              <a:fillRect/>
            </a:stretch>
          </a:blipFill>
        </p:spPr>
        <p:txBody>
          <a:bodyPr wrap="square" lIns="0" tIns="0" rIns="0" bIns="0" rtlCol="0"/>
          <a:lstStyle/>
          <a:p>
            <a:endParaRPr/>
          </a:p>
        </p:txBody>
      </p:sp>
      <p:sp>
        <p:nvSpPr>
          <p:cNvPr id="183" name="object 99"/>
          <p:cNvSpPr txBox="1"/>
          <p:nvPr/>
        </p:nvSpPr>
        <p:spPr>
          <a:xfrm>
            <a:off x="5744441" y="3975936"/>
            <a:ext cx="775335" cy="269875"/>
          </a:xfrm>
          <a:prstGeom prst="rect">
            <a:avLst/>
          </a:prstGeom>
        </p:spPr>
        <p:txBody>
          <a:bodyPr vert="horz" wrap="square" lIns="0" tIns="12700" rIns="0" bIns="0" rtlCol="0">
            <a:spAutoFit/>
          </a:bodyPr>
          <a:lstStyle/>
          <a:p>
            <a:pPr marL="12700" marR="5080" indent="100330">
              <a:lnSpc>
                <a:spcPct val="100000"/>
              </a:lnSpc>
              <a:spcBef>
                <a:spcPts val="100"/>
              </a:spcBef>
            </a:pPr>
            <a:r>
              <a:rPr sz="800" b="1" spc="-5" dirty="0">
                <a:latin typeface="Arial"/>
                <a:cs typeface="Arial"/>
              </a:rPr>
              <a:t>ELIMINATE  </a:t>
            </a:r>
            <a:r>
              <a:rPr sz="800" b="1" dirty="0">
                <a:latin typeface="Arial"/>
                <a:cs typeface="Arial"/>
              </a:rPr>
              <a:t>UG</a:t>
            </a:r>
            <a:r>
              <a:rPr sz="800" b="1" spc="-80" dirty="0">
                <a:latin typeface="Arial"/>
                <a:cs typeface="Arial"/>
              </a:rPr>
              <a:t> </a:t>
            </a:r>
            <a:r>
              <a:rPr sz="800" b="1" dirty="0">
                <a:latin typeface="Arial"/>
                <a:cs typeface="Arial"/>
              </a:rPr>
              <a:t>EXPOSURE</a:t>
            </a:r>
            <a:endParaRPr sz="800">
              <a:latin typeface="Arial"/>
              <a:cs typeface="Arial"/>
            </a:endParaRPr>
          </a:p>
        </p:txBody>
      </p:sp>
      <p:sp>
        <p:nvSpPr>
          <p:cNvPr id="184" name="object 100"/>
          <p:cNvSpPr/>
          <p:nvPr/>
        </p:nvSpPr>
        <p:spPr>
          <a:xfrm>
            <a:off x="8181819" y="957403"/>
            <a:ext cx="429768" cy="429768"/>
          </a:xfrm>
          <a:prstGeom prst="rect">
            <a:avLst/>
          </a:prstGeom>
          <a:blipFill>
            <a:blip r:embed="rId17" cstate="print"/>
            <a:stretch>
              <a:fillRect/>
            </a:stretch>
          </a:blipFill>
        </p:spPr>
        <p:txBody>
          <a:bodyPr wrap="square" lIns="0" tIns="0" rIns="0" bIns="0" rtlCol="0"/>
          <a:lstStyle/>
          <a:p>
            <a:endParaRPr/>
          </a:p>
        </p:txBody>
      </p:sp>
      <p:sp>
        <p:nvSpPr>
          <p:cNvPr id="185" name="object 101"/>
          <p:cNvSpPr txBox="1"/>
          <p:nvPr/>
        </p:nvSpPr>
        <p:spPr>
          <a:xfrm>
            <a:off x="8067015" y="1478101"/>
            <a:ext cx="663575" cy="269875"/>
          </a:xfrm>
          <a:prstGeom prst="rect">
            <a:avLst/>
          </a:prstGeom>
        </p:spPr>
        <p:txBody>
          <a:bodyPr vert="horz" wrap="square" lIns="0" tIns="12700" rIns="0" bIns="0" rtlCol="0">
            <a:spAutoFit/>
          </a:bodyPr>
          <a:lstStyle/>
          <a:p>
            <a:pPr marL="27305" marR="5080" indent="-15240">
              <a:lnSpc>
                <a:spcPct val="100000"/>
              </a:lnSpc>
              <a:spcBef>
                <a:spcPts val="100"/>
              </a:spcBef>
            </a:pPr>
            <a:r>
              <a:rPr sz="800" b="1" spc="-10" dirty="0">
                <a:latin typeface="Arial"/>
                <a:cs typeface="Arial"/>
              </a:rPr>
              <a:t>TRACKING</a:t>
            </a:r>
            <a:r>
              <a:rPr sz="800" b="1" spc="-30" dirty="0">
                <a:latin typeface="Arial"/>
                <a:cs typeface="Arial"/>
              </a:rPr>
              <a:t> </a:t>
            </a:r>
            <a:r>
              <a:rPr sz="800" b="1" dirty="0">
                <a:latin typeface="Arial"/>
                <a:cs typeface="Arial"/>
              </a:rPr>
              <a:t>&amp;  </a:t>
            </a:r>
            <a:r>
              <a:rPr sz="800" b="1" spc="-5" dirty="0">
                <a:latin typeface="Arial"/>
                <a:cs typeface="Arial"/>
              </a:rPr>
              <a:t>REPORTING</a:t>
            </a:r>
            <a:endParaRPr sz="800" dirty="0">
              <a:latin typeface="Arial"/>
              <a:cs typeface="Arial"/>
            </a:endParaRPr>
          </a:p>
        </p:txBody>
      </p:sp>
      <p:sp>
        <p:nvSpPr>
          <p:cNvPr id="186" name="object 102"/>
          <p:cNvSpPr/>
          <p:nvPr/>
        </p:nvSpPr>
        <p:spPr>
          <a:xfrm>
            <a:off x="5722083" y="948258"/>
            <a:ext cx="452628" cy="438912"/>
          </a:xfrm>
          <a:prstGeom prst="rect">
            <a:avLst/>
          </a:prstGeom>
          <a:blipFill>
            <a:blip r:embed="rId18" cstate="print"/>
            <a:stretch>
              <a:fillRect/>
            </a:stretch>
          </a:blipFill>
        </p:spPr>
        <p:txBody>
          <a:bodyPr wrap="square" lIns="0" tIns="0" rIns="0" bIns="0" rtlCol="0"/>
          <a:lstStyle/>
          <a:p>
            <a:endParaRPr/>
          </a:p>
        </p:txBody>
      </p:sp>
      <p:sp>
        <p:nvSpPr>
          <p:cNvPr id="187" name="object 103"/>
          <p:cNvSpPr txBox="1"/>
          <p:nvPr/>
        </p:nvSpPr>
        <p:spPr>
          <a:xfrm>
            <a:off x="5651477" y="1473530"/>
            <a:ext cx="593725" cy="269875"/>
          </a:xfrm>
          <a:prstGeom prst="rect">
            <a:avLst/>
          </a:prstGeom>
        </p:spPr>
        <p:txBody>
          <a:bodyPr vert="horz" wrap="square" lIns="0" tIns="12700" rIns="0" bIns="0" rtlCol="0">
            <a:spAutoFit/>
          </a:bodyPr>
          <a:lstStyle/>
          <a:p>
            <a:pPr marL="12700" marR="5080" indent="150495">
              <a:lnSpc>
                <a:spcPct val="100000"/>
              </a:lnSpc>
              <a:spcBef>
                <a:spcPts val="100"/>
              </a:spcBef>
            </a:pPr>
            <a:r>
              <a:rPr sz="800" b="1" dirty="0">
                <a:latin typeface="Arial"/>
                <a:cs typeface="Arial"/>
              </a:rPr>
              <a:t>LESS  </a:t>
            </a:r>
            <a:r>
              <a:rPr sz="800" b="1" spc="-5" dirty="0">
                <a:latin typeface="Arial"/>
                <a:cs typeface="Arial"/>
              </a:rPr>
              <a:t>DO</a:t>
            </a:r>
            <a:r>
              <a:rPr sz="800" b="1" spc="15" dirty="0">
                <a:latin typeface="Arial"/>
                <a:cs typeface="Arial"/>
              </a:rPr>
              <a:t>W</a:t>
            </a:r>
            <a:r>
              <a:rPr sz="800" b="1" spc="-5" dirty="0">
                <a:latin typeface="Arial"/>
                <a:cs typeface="Arial"/>
              </a:rPr>
              <a:t>N</a:t>
            </a:r>
            <a:r>
              <a:rPr sz="800" b="1" spc="-15" dirty="0">
                <a:latin typeface="Arial"/>
                <a:cs typeface="Arial"/>
              </a:rPr>
              <a:t>T</a:t>
            </a:r>
            <a:r>
              <a:rPr sz="800" b="1" dirty="0">
                <a:latin typeface="Arial"/>
                <a:cs typeface="Arial"/>
              </a:rPr>
              <a:t>IME</a:t>
            </a:r>
            <a:endParaRPr sz="800">
              <a:latin typeface="Arial"/>
              <a:cs typeface="Arial"/>
            </a:endParaRPr>
          </a:p>
        </p:txBody>
      </p:sp>
      <p:sp>
        <p:nvSpPr>
          <p:cNvPr id="188" name="object 104"/>
          <p:cNvSpPr/>
          <p:nvPr/>
        </p:nvSpPr>
        <p:spPr>
          <a:xfrm>
            <a:off x="6503895" y="975691"/>
            <a:ext cx="480060" cy="393192"/>
          </a:xfrm>
          <a:prstGeom prst="rect">
            <a:avLst/>
          </a:prstGeom>
          <a:blipFill>
            <a:blip r:embed="rId19" cstate="print"/>
            <a:stretch>
              <a:fillRect/>
            </a:stretch>
          </a:blipFill>
        </p:spPr>
        <p:txBody>
          <a:bodyPr wrap="square" lIns="0" tIns="0" rIns="0" bIns="0" rtlCol="0"/>
          <a:lstStyle/>
          <a:p>
            <a:endParaRPr/>
          </a:p>
        </p:txBody>
      </p:sp>
      <p:sp>
        <p:nvSpPr>
          <p:cNvPr id="189" name="object 105"/>
          <p:cNvSpPr txBox="1"/>
          <p:nvPr/>
        </p:nvSpPr>
        <p:spPr>
          <a:xfrm>
            <a:off x="6402808" y="1473530"/>
            <a:ext cx="682625" cy="269875"/>
          </a:xfrm>
          <a:prstGeom prst="rect">
            <a:avLst/>
          </a:prstGeom>
        </p:spPr>
        <p:txBody>
          <a:bodyPr vert="horz" wrap="square" lIns="0" tIns="12700" rIns="0" bIns="0" rtlCol="0">
            <a:spAutoFit/>
          </a:bodyPr>
          <a:lstStyle/>
          <a:p>
            <a:pPr marL="131445" marR="5080" indent="-119380">
              <a:lnSpc>
                <a:spcPct val="100000"/>
              </a:lnSpc>
              <a:spcBef>
                <a:spcPts val="100"/>
              </a:spcBef>
            </a:pPr>
            <a:r>
              <a:rPr sz="800" b="1" spc="-5" dirty="0">
                <a:latin typeface="Arial"/>
                <a:cs typeface="Arial"/>
              </a:rPr>
              <a:t>CON</a:t>
            </a:r>
            <a:r>
              <a:rPr sz="800" b="1" dirty="0">
                <a:latin typeface="Arial"/>
                <a:cs typeface="Arial"/>
              </a:rPr>
              <a:t>SIS</a:t>
            </a:r>
            <a:r>
              <a:rPr sz="800" b="1" spc="-15" dirty="0">
                <a:latin typeface="Arial"/>
                <a:cs typeface="Arial"/>
              </a:rPr>
              <a:t>T</a:t>
            </a:r>
            <a:r>
              <a:rPr sz="800" b="1" dirty="0">
                <a:latin typeface="Arial"/>
                <a:cs typeface="Arial"/>
              </a:rPr>
              <a:t>E</a:t>
            </a:r>
            <a:r>
              <a:rPr sz="800" b="1" spc="-5" dirty="0">
                <a:latin typeface="Arial"/>
                <a:cs typeface="Arial"/>
              </a:rPr>
              <a:t>N</a:t>
            </a:r>
            <a:r>
              <a:rPr sz="800" b="1" dirty="0">
                <a:latin typeface="Arial"/>
                <a:cs typeface="Arial"/>
              </a:rPr>
              <a:t>T  </a:t>
            </a:r>
            <a:r>
              <a:rPr sz="800" b="1" spc="-5" dirty="0">
                <a:latin typeface="Arial"/>
                <a:cs typeface="Arial"/>
              </a:rPr>
              <a:t>OUTPUT</a:t>
            </a:r>
            <a:endParaRPr sz="800">
              <a:latin typeface="Arial"/>
              <a:cs typeface="Arial"/>
            </a:endParaRPr>
          </a:p>
        </p:txBody>
      </p:sp>
      <p:sp>
        <p:nvSpPr>
          <p:cNvPr id="190" name="object 106"/>
          <p:cNvSpPr/>
          <p:nvPr/>
        </p:nvSpPr>
        <p:spPr>
          <a:xfrm>
            <a:off x="7363431" y="971119"/>
            <a:ext cx="406908" cy="402336"/>
          </a:xfrm>
          <a:prstGeom prst="rect">
            <a:avLst/>
          </a:prstGeom>
          <a:blipFill>
            <a:blip r:embed="rId20" cstate="print"/>
            <a:stretch>
              <a:fillRect/>
            </a:stretch>
          </a:blipFill>
        </p:spPr>
        <p:txBody>
          <a:bodyPr wrap="square" lIns="0" tIns="0" rIns="0" bIns="0" rtlCol="0"/>
          <a:lstStyle/>
          <a:p>
            <a:endParaRPr/>
          </a:p>
        </p:txBody>
      </p:sp>
      <p:sp>
        <p:nvSpPr>
          <p:cNvPr id="191" name="object 107"/>
          <p:cNvSpPr txBox="1"/>
          <p:nvPr/>
        </p:nvSpPr>
        <p:spPr>
          <a:xfrm>
            <a:off x="7213576" y="1473530"/>
            <a:ext cx="709295" cy="269875"/>
          </a:xfrm>
          <a:prstGeom prst="rect">
            <a:avLst/>
          </a:prstGeom>
        </p:spPr>
        <p:txBody>
          <a:bodyPr vert="horz" wrap="square" lIns="0" tIns="12700" rIns="0" bIns="0" rtlCol="0">
            <a:spAutoFit/>
          </a:bodyPr>
          <a:lstStyle/>
          <a:p>
            <a:pPr marL="12700" marR="5080" indent="22860">
              <a:lnSpc>
                <a:spcPct val="100000"/>
              </a:lnSpc>
              <a:spcBef>
                <a:spcPts val="100"/>
              </a:spcBef>
            </a:pPr>
            <a:r>
              <a:rPr sz="800" b="1" dirty="0">
                <a:latin typeface="Arial"/>
                <a:cs typeface="Arial"/>
              </a:rPr>
              <a:t>HIGH-SPEED  P</a:t>
            </a:r>
            <a:r>
              <a:rPr sz="800" b="1" spc="-5" dirty="0">
                <a:latin typeface="Arial"/>
                <a:cs typeface="Arial"/>
              </a:rPr>
              <a:t>RODUC</a:t>
            </a:r>
            <a:r>
              <a:rPr sz="800" b="1" spc="-15" dirty="0">
                <a:latin typeface="Arial"/>
                <a:cs typeface="Arial"/>
              </a:rPr>
              <a:t>T</a:t>
            </a:r>
            <a:r>
              <a:rPr sz="800" b="1" dirty="0">
                <a:latin typeface="Arial"/>
                <a:cs typeface="Arial"/>
              </a:rPr>
              <a:t>I</a:t>
            </a:r>
            <a:r>
              <a:rPr sz="800" b="1" spc="-5" dirty="0">
                <a:latin typeface="Arial"/>
                <a:cs typeface="Arial"/>
              </a:rPr>
              <a:t>O</a:t>
            </a:r>
            <a:r>
              <a:rPr sz="800" b="1" dirty="0">
                <a:latin typeface="Arial"/>
                <a:cs typeface="Arial"/>
              </a:rPr>
              <a:t>N</a:t>
            </a:r>
            <a:endParaRPr sz="800">
              <a:latin typeface="Arial"/>
              <a:cs typeface="Arial"/>
            </a:endParaRPr>
          </a:p>
        </p:txBody>
      </p:sp>
      <p:sp>
        <p:nvSpPr>
          <p:cNvPr id="192" name="object 108"/>
          <p:cNvSpPr/>
          <p:nvPr/>
        </p:nvSpPr>
        <p:spPr>
          <a:xfrm>
            <a:off x="4853403" y="1021410"/>
            <a:ext cx="525780" cy="301752"/>
          </a:xfrm>
          <a:prstGeom prst="rect">
            <a:avLst/>
          </a:prstGeom>
          <a:blipFill>
            <a:blip r:embed="rId21" cstate="print"/>
            <a:stretch>
              <a:fillRect/>
            </a:stretch>
          </a:blipFill>
        </p:spPr>
        <p:txBody>
          <a:bodyPr wrap="square" lIns="0" tIns="0" rIns="0" bIns="0" rtlCol="0"/>
          <a:lstStyle/>
          <a:p>
            <a:endParaRPr/>
          </a:p>
        </p:txBody>
      </p:sp>
      <p:sp>
        <p:nvSpPr>
          <p:cNvPr id="193" name="object 109"/>
          <p:cNvSpPr txBox="1"/>
          <p:nvPr/>
        </p:nvSpPr>
        <p:spPr>
          <a:xfrm>
            <a:off x="4766033" y="1478101"/>
            <a:ext cx="708025" cy="269875"/>
          </a:xfrm>
          <a:prstGeom prst="rect">
            <a:avLst/>
          </a:prstGeom>
        </p:spPr>
        <p:txBody>
          <a:bodyPr vert="horz" wrap="square" lIns="0" tIns="12700" rIns="0" bIns="0" rtlCol="0">
            <a:spAutoFit/>
          </a:bodyPr>
          <a:lstStyle/>
          <a:p>
            <a:pPr marL="53340" marR="5080" indent="-41275">
              <a:lnSpc>
                <a:spcPct val="100000"/>
              </a:lnSpc>
              <a:spcBef>
                <a:spcPts val="100"/>
              </a:spcBef>
            </a:pPr>
            <a:r>
              <a:rPr sz="800" b="1" spc="-5" dirty="0">
                <a:latin typeface="Arial"/>
                <a:cs typeface="Arial"/>
              </a:rPr>
              <a:t>CON</a:t>
            </a:r>
            <a:r>
              <a:rPr sz="800" b="1" spc="-15" dirty="0">
                <a:latin typeface="Arial"/>
                <a:cs typeface="Arial"/>
              </a:rPr>
              <a:t>T</a:t>
            </a:r>
            <a:r>
              <a:rPr sz="800" b="1" dirty="0">
                <a:latin typeface="Arial"/>
                <a:cs typeface="Arial"/>
              </a:rPr>
              <a:t>I</a:t>
            </a:r>
            <a:r>
              <a:rPr sz="800" b="1" spc="-5" dirty="0">
                <a:latin typeface="Arial"/>
                <a:cs typeface="Arial"/>
              </a:rPr>
              <a:t>NUOU</a:t>
            </a:r>
            <a:r>
              <a:rPr sz="800" b="1" dirty="0">
                <a:latin typeface="Arial"/>
                <a:cs typeface="Arial"/>
              </a:rPr>
              <a:t>S  </a:t>
            </a:r>
            <a:r>
              <a:rPr sz="800" b="1" spc="-10" dirty="0">
                <a:latin typeface="Arial"/>
                <a:cs typeface="Arial"/>
              </a:rPr>
              <a:t>OPERATION</a:t>
            </a:r>
            <a:endParaRPr sz="800">
              <a:latin typeface="Arial"/>
              <a:cs typeface="Arial"/>
            </a:endParaRPr>
          </a:p>
        </p:txBody>
      </p:sp>
      <p:sp>
        <p:nvSpPr>
          <p:cNvPr id="194" name="object 110"/>
          <p:cNvSpPr/>
          <p:nvPr/>
        </p:nvSpPr>
        <p:spPr>
          <a:xfrm>
            <a:off x="6709635" y="3449142"/>
            <a:ext cx="480060" cy="466344"/>
          </a:xfrm>
          <a:prstGeom prst="rect">
            <a:avLst/>
          </a:prstGeom>
          <a:blipFill>
            <a:blip r:embed="rId22" cstate="print"/>
            <a:stretch>
              <a:fillRect/>
            </a:stretch>
          </a:blipFill>
        </p:spPr>
        <p:txBody>
          <a:bodyPr wrap="square" lIns="0" tIns="0" rIns="0" bIns="0" rtlCol="0"/>
          <a:lstStyle/>
          <a:p>
            <a:endParaRPr/>
          </a:p>
        </p:txBody>
      </p:sp>
      <p:sp>
        <p:nvSpPr>
          <p:cNvPr id="195" name="object 111"/>
          <p:cNvSpPr txBox="1"/>
          <p:nvPr/>
        </p:nvSpPr>
        <p:spPr>
          <a:xfrm>
            <a:off x="6703036" y="3980508"/>
            <a:ext cx="576580" cy="269875"/>
          </a:xfrm>
          <a:prstGeom prst="rect">
            <a:avLst/>
          </a:prstGeom>
        </p:spPr>
        <p:txBody>
          <a:bodyPr vert="horz" wrap="square" lIns="0" tIns="12700" rIns="0" bIns="0" rtlCol="0">
            <a:spAutoFit/>
          </a:bodyPr>
          <a:lstStyle/>
          <a:p>
            <a:pPr marL="12700" marR="5080" indent="135255">
              <a:lnSpc>
                <a:spcPct val="100000"/>
              </a:lnSpc>
              <a:spcBef>
                <a:spcPts val="100"/>
              </a:spcBef>
            </a:pPr>
            <a:r>
              <a:rPr sz="800" b="1" spc="-10" dirty="0">
                <a:latin typeface="Arial"/>
                <a:cs typeface="Arial"/>
              </a:rPr>
              <a:t>AREA  </a:t>
            </a:r>
            <a:r>
              <a:rPr sz="800" b="1" dirty="0">
                <a:latin typeface="Arial"/>
                <a:cs typeface="Arial"/>
              </a:rPr>
              <a:t>IS</a:t>
            </a:r>
            <a:r>
              <a:rPr sz="800" b="1" spc="-5" dirty="0">
                <a:latin typeface="Arial"/>
                <a:cs typeface="Arial"/>
              </a:rPr>
              <a:t>O</a:t>
            </a:r>
            <a:r>
              <a:rPr sz="800" b="1" dirty="0">
                <a:latin typeface="Arial"/>
                <a:cs typeface="Arial"/>
              </a:rPr>
              <a:t>L</a:t>
            </a:r>
            <a:r>
              <a:rPr sz="800" b="1" spc="-45" dirty="0">
                <a:latin typeface="Arial"/>
                <a:cs typeface="Arial"/>
              </a:rPr>
              <a:t>A</a:t>
            </a:r>
            <a:r>
              <a:rPr sz="800" b="1" spc="-15" dirty="0">
                <a:latin typeface="Arial"/>
                <a:cs typeface="Arial"/>
              </a:rPr>
              <a:t>T</a:t>
            </a:r>
            <a:r>
              <a:rPr sz="800" b="1" dirty="0">
                <a:latin typeface="Arial"/>
                <a:cs typeface="Arial"/>
              </a:rPr>
              <a:t>I</a:t>
            </a:r>
            <a:r>
              <a:rPr sz="800" b="1" spc="-5" dirty="0">
                <a:latin typeface="Arial"/>
                <a:cs typeface="Arial"/>
              </a:rPr>
              <a:t>O</a:t>
            </a:r>
            <a:r>
              <a:rPr sz="800" b="1" dirty="0">
                <a:latin typeface="Arial"/>
                <a:cs typeface="Arial"/>
              </a:rPr>
              <a:t>N</a:t>
            </a:r>
            <a:endParaRPr sz="800">
              <a:latin typeface="Arial"/>
              <a:cs typeface="Arial"/>
            </a:endParaRPr>
          </a:p>
        </p:txBody>
      </p:sp>
      <p:sp>
        <p:nvSpPr>
          <p:cNvPr id="196" name="object 112"/>
          <p:cNvSpPr txBox="1"/>
          <p:nvPr/>
        </p:nvSpPr>
        <p:spPr>
          <a:xfrm>
            <a:off x="7451320" y="3980508"/>
            <a:ext cx="597535" cy="269875"/>
          </a:xfrm>
          <a:prstGeom prst="rect">
            <a:avLst/>
          </a:prstGeom>
        </p:spPr>
        <p:txBody>
          <a:bodyPr vert="horz" wrap="square" lIns="0" tIns="12700" rIns="0" bIns="0" rtlCol="0">
            <a:spAutoFit/>
          </a:bodyPr>
          <a:lstStyle/>
          <a:p>
            <a:pPr marL="41275" marR="5080" indent="-29209">
              <a:lnSpc>
                <a:spcPct val="100000"/>
              </a:lnSpc>
              <a:spcBef>
                <a:spcPts val="100"/>
              </a:spcBef>
            </a:pPr>
            <a:r>
              <a:rPr sz="800" b="1" spc="-5" dirty="0">
                <a:latin typeface="Arial"/>
                <a:cs typeface="Arial"/>
              </a:rPr>
              <a:t>O</a:t>
            </a:r>
            <a:r>
              <a:rPr sz="800" b="1" dirty="0">
                <a:latin typeface="Arial"/>
                <a:cs typeface="Arial"/>
              </a:rPr>
              <a:t>PE</a:t>
            </a:r>
            <a:r>
              <a:rPr sz="800" b="1" spc="-5" dirty="0">
                <a:latin typeface="Arial"/>
                <a:cs typeface="Arial"/>
              </a:rPr>
              <a:t>R</a:t>
            </a:r>
            <a:r>
              <a:rPr sz="800" b="1" spc="-45" dirty="0">
                <a:latin typeface="Arial"/>
                <a:cs typeface="Arial"/>
              </a:rPr>
              <a:t>A</a:t>
            </a:r>
            <a:r>
              <a:rPr sz="800" b="1" spc="-15" dirty="0">
                <a:latin typeface="Arial"/>
                <a:cs typeface="Arial"/>
              </a:rPr>
              <a:t>T</a:t>
            </a:r>
            <a:r>
              <a:rPr sz="800" b="1" spc="-5" dirty="0">
                <a:latin typeface="Arial"/>
                <a:cs typeface="Arial"/>
              </a:rPr>
              <a:t>O</a:t>
            </a:r>
            <a:r>
              <a:rPr sz="800" b="1" dirty="0">
                <a:latin typeface="Arial"/>
                <a:cs typeface="Arial"/>
              </a:rPr>
              <a:t>R  COMFORT</a:t>
            </a:r>
            <a:endParaRPr sz="800">
              <a:latin typeface="Arial"/>
              <a:cs typeface="Arial"/>
            </a:endParaRPr>
          </a:p>
        </p:txBody>
      </p:sp>
      <p:sp>
        <p:nvSpPr>
          <p:cNvPr id="197" name="object 113"/>
          <p:cNvSpPr/>
          <p:nvPr/>
        </p:nvSpPr>
        <p:spPr>
          <a:xfrm>
            <a:off x="5360896" y="2274139"/>
            <a:ext cx="452627" cy="448056"/>
          </a:xfrm>
          <a:prstGeom prst="rect">
            <a:avLst/>
          </a:prstGeom>
          <a:blipFill>
            <a:blip r:embed="rId23" cstate="print"/>
            <a:stretch>
              <a:fillRect/>
            </a:stretch>
          </a:blipFill>
        </p:spPr>
        <p:txBody>
          <a:bodyPr wrap="square" lIns="0" tIns="0" rIns="0" bIns="0" rtlCol="0"/>
          <a:lstStyle/>
          <a:p>
            <a:endParaRPr/>
          </a:p>
        </p:txBody>
      </p:sp>
      <p:sp>
        <p:nvSpPr>
          <p:cNvPr id="198" name="object 114"/>
          <p:cNvSpPr txBox="1"/>
          <p:nvPr/>
        </p:nvSpPr>
        <p:spPr>
          <a:xfrm>
            <a:off x="5325341" y="2807029"/>
            <a:ext cx="529590" cy="269875"/>
          </a:xfrm>
          <a:prstGeom prst="rect">
            <a:avLst/>
          </a:prstGeom>
        </p:spPr>
        <p:txBody>
          <a:bodyPr vert="horz" wrap="square" lIns="0" tIns="12700" rIns="0" bIns="0" rtlCol="0">
            <a:spAutoFit/>
          </a:bodyPr>
          <a:lstStyle/>
          <a:p>
            <a:pPr marL="41275" marR="5080" indent="-29209">
              <a:lnSpc>
                <a:spcPct val="100000"/>
              </a:lnSpc>
              <a:spcBef>
                <a:spcPts val="100"/>
              </a:spcBef>
            </a:pPr>
            <a:r>
              <a:rPr sz="800" b="1" spc="-5" dirty="0">
                <a:latin typeface="Arial"/>
                <a:cs typeface="Arial"/>
              </a:rPr>
              <a:t>R</a:t>
            </a:r>
            <a:r>
              <a:rPr sz="800" b="1" dirty="0">
                <a:latin typeface="Arial"/>
                <a:cs typeface="Arial"/>
              </a:rPr>
              <a:t>E</a:t>
            </a:r>
            <a:r>
              <a:rPr sz="800" b="1" spc="-5" dirty="0">
                <a:latin typeface="Arial"/>
                <a:cs typeface="Arial"/>
              </a:rPr>
              <a:t>DUC</a:t>
            </a:r>
            <a:r>
              <a:rPr sz="800" b="1" dirty="0">
                <a:latin typeface="Arial"/>
                <a:cs typeface="Arial"/>
              </a:rPr>
              <a:t>ED  </a:t>
            </a:r>
            <a:r>
              <a:rPr sz="800" b="1" spc="-15" dirty="0">
                <a:latin typeface="Arial"/>
                <a:cs typeface="Arial"/>
              </a:rPr>
              <a:t>DAMAGE</a:t>
            </a:r>
            <a:endParaRPr sz="800">
              <a:latin typeface="Arial"/>
              <a:cs typeface="Arial"/>
            </a:endParaRPr>
          </a:p>
        </p:txBody>
      </p:sp>
      <p:sp>
        <p:nvSpPr>
          <p:cNvPr id="199" name="object 115"/>
          <p:cNvSpPr/>
          <p:nvPr/>
        </p:nvSpPr>
        <p:spPr>
          <a:xfrm>
            <a:off x="6147280" y="2310715"/>
            <a:ext cx="525780" cy="393192"/>
          </a:xfrm>
          <a:prstGeom prst="rect">
            <a:avLst/>
          </a:prstGeom>
          <a:blipFill>
            <a:blip r:embed="rId24" cstate="print"/>
            <a:stretch>
              <a:fillRect/>
            </a:stretch>
          </a:blipFill>
        </p:spPr>
        <p:txBody>
          <a:bodyPr wrap="square" lIns="0" tIns="0" rIns="0" bIns="0" rtlCol="0"/>
          <a:lstStyle/>
          <a:p>
            <a:endParaRPr/>
          </a:p>
        </p:txBody>
      </p:sp>
      <p:sp>
        <p:nvSpPr>
          <p:cNvPr id="200" name="object 116"/>
          <p:cNvSpPr txBox="1"/>
          <p:nvPr/>
        </p:nvSpPr>
        <p:spPr>
          <a:xfrm>
            <a:off x="6012665" y="2803981"/>
            <a:ext cx="842010" cy="269875"/>
          </a:xfrm>
          <a:prstGeom prst="rect">
            <a:avLst/>
          </a:prstGeom>
        </p:spPr>
        <p:txBody>
          <a:bodyPr vert="horz" wrap="square" lIns="0" tIns="12700" rIns="0" bIns="0" rtlCol="0">
            <a:spAutoFit/>
          </a:bodyPr>
          <a:lstStyle/>
          <a:p>
            <a:pPr marL="170815" marR="5080" indent="-158750">
              <a:lnSpc>
                <a:spcPct val="100000"/>
              </a:lnSpc>
              <a:spcBef>
                <a:spcPts val="100"/>
              </a:spcBef>
            </a:pPr>
            <a:r>
              <a:rPr sz="800" b="1" spc="5" dirty="0">
                <a:latin typeface="Arial"/>
                <a:cs typeface="Arial"/>
              </a:rPr>
              <a:t>M</a:t>
            </a:r>
            <a:r>
              <a:rPr sz="800" b="1" spc="-5" dirty="0">
                <a:latin typeface="Arial"/>
                <a:cs typeface="Arial"/>
              </a:rPr>
              <a:t>U</a:t>
            </a:r>
            <a:r>
              <a:rPr sz="800" b="1" dirty="0">
                <a:latin typeface="Arial"/>
                <a:cs typeface="Arial"/>
              </a:rPr>
              <a:t>L</a:t>
            </a:r>
            <a:r>
              <a:rPr sz="800" b="1" spc="-15" dirty="0">
                <a:latin typeface="Arial"/>
                <a:cs typeface="Arial"/>
              </a:rPr>
              <a:t>T</a:t>
            </a:r>
            <a:r>
              <a:rPr sz="800" b="1" dirty="0">
                <a:latin typeface="Arial"/>
                <a:cs typeface="Arial"/>
              </a:rPr>
              <a:t>I</a:t>
            </a:r>
            <a:r>
              <a:rPr sz="800" b="1" spc="-5" dirty="0">
                <a:latin typeface="Arial"/>
                <a:cs typeface="Arial"/>
              </a:rPr>
              <a:t>-</a:t>
            </a:r>
            <a:r>
              <a:rPr sz="800" b="1" dirty="0">
                <a:latin typeface="Arial"/>
                <a:cs typeface="Arial"/>
              </a:rPr>
              <a:t>M</a:t>
            </a:r>
            <a:r>
              <a:rPr sz="800" b="1" spc="-45" dirty="0">
                <a:latin typeface="Arial"/>
                <a:cs typeface="Arial"/>
              </a:rPr>
              <a:t>A</a:t>
            </a:r>
            <a:r>
              <a:rPr sz="800" b="1" spc="-5" dirty="0">
                <a:latin typeface="Arial"/>
                <a:cs typeface="Arial"/>
              </a:rPr>
              <a:t>CH</a:t>
            </a:r>
            <a:r>
              <a:rPr sz="800" b="1" dirty="0">
                <a:latin typeface="Arial"/>
                <a:cs typeface="Arial"/>
              </a:rPr>
              <a:t>I</a:t>
            </a:r>
            <a:r>
              <a:rPr sz="800" b="1" spc="-5" dirty="0">
                <a:latin typeface="Arial"/>
                <a:cs typeface="Arial"/>
              </a:rPr>
              <a:t>N</a:t>
            </a:r>
            <a:r>
              <a:rPr sz="800" b="1" dirty="0">
                <a:latin typeface="Arial"/>
                <a:cs typeface="Arial"/>
              </a:rPr>
              <a:t>E  </a:t>
            </a:r>
            <a:r>
              <a:rPr sz="800" b="1" spc="-5" dirty="0">
                <a:latin typeface="Arial"/>
                <a:cs typeface="Arial"/>
              </a:rPr>
              <a:t>CONTROL</a:t>
            </a:r>
            <a:endParaRPr sz="800">
              <a:latin typeface="Arial"/>
              <a:cs typeface="Arial"/>
            </a:endParaRPr>
          </a:p>
        </p:txBody>
      </p:sp>
      <p:sp>
        <p:nvSpPr>
          <p:cNvPr id="201" name="object 117"/>
          <p:cNvSpPr/>
          <p:nvPr/>
        </p:nvSpPr>
        <p:spPr>
          <a:xfrm>
            <a:off x="7079968" y="2306142"/>
            <a:ext cx="502920" cy="365760"/>
          </a:xfrm>
          <a:prstGeom prst="rect">
            <a:avLst/>
          </a:prstGeom>
          <a:blipFill>
            <a:blip r:embed="rId25" cstate="print"/>
            <a:stretch>
              <a:fillRect/>
            </a:stretch>
          </a:blipFill>
        </p:spPr>
        <p:txBody>
          <a:bodyPr wrap="square" lIns="0" tIns="0" rIns="0" bIns="0" rtlCol="0"/>
          <a:lstStyle/>
          <a:p>
            <a:endParaRPr/>
          </a:p>
        </p:txBody>
      </p:sp>
      <p:sp>
        <p:nvSpPr>
          <p:cNvPr id="202" name="object 118"/>
          <p:cNvSpPr txBox="1"/>
          <p:nvPr/>
        </p:nvSpPr>
        <p:spPr>
          <a:xfrm>
            <a:off x="7059652" y="2793313"/>
            <a:ext cx="516890" cy="269875"/>
          </a:xfrm>
          <a:prstGeom prst="rect">
            <a:avLst/>
          </a:prstGeom>
        </p:spPr>
        <p:txBody>
          <a:bodyPr vert="horz" wrap="square" lIns="0" tIns="12700" rIns="0" bIns="0" rtlCol="0">
            <a:spAutoFit/>
          </a:bodyPr>
          <a:lstStyle/>
          <a:p>
            <a:pPr marL="95885" marR="5080" indent="-83820">
              <a:lnSpc>
                <a:spcPct val="100000"/>
              </a:lnSpc>
              <a:spcBef>
                <a:spcPts val="100"/>
              </a:spcBef>
            </a:pPr>
            <a:r>
              <a:rPr sz="800" b="1" dirty="0">
                <a:latin typeface="Arial"/>
                <a:cs typeface="Arial"/>
              </a:rPr>
              <a:t>S</a:t>
            </a:r>
            <a:r>
              <a:rPr sz="800" b="1" spc="5" dirty="0">
                <a:latin typeface="Arial"/>
                <a:cs typeface="Arial"/>
              </a:rPr>
              <a:t>M</a:t>
            </a:r>
            <a:r>
              <a:rPr sz="800" b="1" spc="-45" dirty="0">
                <a:latin typeface="Arial"/>
                <a:cs typeface="Arial"/>
              </a:rPr>
              <a:t>A</a:t>
            </a:r>
            <a:r>
              <a:rPr sz="800" b="1" dirty="0">
                <a:latin typeface="Arial"/>
                <a:cs typeface="Arial"/>
              </a:rPr>
              <a:t>LLER  FLEET</a:t>
            </a:r>
            <a:endParaRPr sz="800">
              <a:latin typeface="Arial"/>
              <a:cs typeface="Arial"/>
            </a:endParaRPr>
          </a:p>
        </p:txBody>
      </p:sp>
      <p:sp>
        <p:nvSpPr>
          <p:cNvPr id="203" name="object 119"/>
          <p:cNvSpPr/>
          <p:nvPr/>
        </p:nvSpPr>
        <p:spPr>
          <a:xfrm>
            <a:off x="7843492" y="2306142"/>
            <a:ext cx="452628" cy="402336"/>
          </a:xfrm>
          <a:prstGeom prst="rect">
            <a:avLst/>
          </a:prstGeom>
          <a:blipFill>
            <a:blip r:embed="rId26" cstate="print"/>
            <a:stretch>
              <a:fillRect/>
            </a:stretch>
          </a:blipFill>
        </p:spPr>
        <p:txBody>
          <a:bodyPr wrap="square" lIns="0" tIns="0" rIns="0" bIns="0" rtlCol="0"/>
          <a:lstStyle/>
          <a:p>
            <a:endParaRPr/>
          </a:p>
        </p:txBody>
      </p:sp>
      <p:sp>
        <p:nvSpPr>
          <p:cNvPr id="204" name="object 120"/>
          <p:cNvSpPr txBox="1"/>
          <p:nvPr/>
        </p:nvSpPr>
        <p:spPr>
          <a:xfrm>
            <a:off x="7782028" y="2807029"/>
            <a:ext cx="581025" cy="269875"/>
          </a:xfrm>
          <a:prstGeom prst="rect">
            <a:avLst/>
          </a:prstGeom>
        </p:spPr>
        <p:txBody>
          <a:bodyPr vert="horz" wrap="square" lIns="0" tIns="12700" rIns="0" bIns="0" rtlCol="0">
            <a:spAutoFit/>
          </a:bodyPr>
          <a:lstStyle/>
          <a:p>
            <a:pPr marL="55244" marR="5080" indent="-43180">
              <a:lnSpc>
                <a:spcPct val="100000"/>
              </a:lnSpc>
              <a:spcBef>
                <a:spcPts val="100"/>
              </a:spcBef>
            </a:pPr>
            <a:r>
              <a:rPr sz="800" b="1" dirty="0">
                <a:latin typeface="Arial"/>
                <a:cs typeface="Arial"/>
              </a:rPr>
              <a:t>EX</a:t>
            </a:r>
            <a:r>
              <a:rPr sz="800" b="1" spc="-15" dirty="0">
                <a:latin typeface="Arial"/>
                <a:cs typeface="Arial"/>
              </a:rPr>
              <a:t>T</a:t>
            </a:r>
            <a:r>
              <a:rPr sz="800" b="1" dirty="0">
                <a:latin typeface="Arial"/>
                <a:cs typeface="Arial"/>
              </a:rPr>
              <a:t>E</a:t>
            </a:r>
            <a:r>
              <a:rPr sz="800" b="1" spc="-5" dirty="0">
                <a:latin typeface="Arial"/>
                <a:cs typeface="Arial"/>
              </a:rPr>
              <a:t>ND</a:t>
            </a:r>
            <a:r>
              <a:rPr sz="800" b="1" dirty="0">
                <a:latin typeface="Arial"/>
                <a:cs typeface="Arial"/>
              </a:rPr>
              <a:t>ED  LIFETIME</a:t>
            </a:r>
            <a:endParaRPr sz="800" dirty="0">
              <a:latin typeface="Arial"/>
              <a:cs typeface="Arial"/>
            </a:endParaRPr>
          </a:p>
        </p:txBody>
      </p:sp>
      <p:sp>
        <p:nvSpPr>
          <p:cNvPr id="61" name="Platshållare för text 17">
            <a:extLst>
              <a:ext uri="{FF2B5EF4-FFF2-40B4-BE49-F238E27FC236}">
                <a16:creationId xmlns:a16="http://schemas.microsoft.com/office/drawing/2014/main" id="{740EF8AB-5248-4675-AD9D-728593CD6563}"/>
              </a:ext>
            </a:extLst>
          </p:cNvPr>
          <p:cNvSpPr txBox="1">
            <a:spLocks/>
          </p:cNvSpPr>
          <p:nvPr/>
        </p:nvSpPr>
        <p:spPr>
          <a:xfrm>
            <a:off x="360000" y="696565"/>
            <a:ext cx="8424000" cy="270000"/>
          </a:xfrm>
          <a:prstGeom prst="rect">
            <a:avLst/>
          </a:prstGeom>
        </p:spPr>
        <p:txBody>
          <a:bodyPr vert="horz" lIns="0" tIns="0" rIns="0" bIns="0" rtlCol="0">
            <a:noAutofit/>
          </a:bodyPr>
          <a:lstStyle>
            <a:lvl1pPr marL="161982" indent="-161982" algn="l" defTabSz="914296" rtl="0" eaLnBrk="1" latinLnBrk="0" hangingPunct="1">
              <a:lnSpc>
                <a:spcPct val="100000"/>
              </a:lnSpc>
              <a:spcBef>
                <a:spcPts val="0"/>
              </a:spcBef>
              <a:spcAft>
                <a:spcPts val="700"/>
              </a:spcAft>
              <a:buClr>
                <a:schemeClr val="tx1"/>
              </a:buClr>
              <a:buFont typeface="Arial" panose="020B0604020202020204" pitchFamily="34" charset="0"/>
              <a:buChar char="•"/>
              <a:defRPr sz="1800" kern="1200">
                <a:solidFill>
                  <a:schemeClr val="tx1"/>
                </a:solidFill>
                <a:latin typeface="+mn-lt"/>
                <a:ea typeface="+mn-ea"/>
                <a:cs typeface="+mn-cs"/>
              </a:defRPr>
            </a:lvl1pPr>
            <a:lvl2pPr marL="539939" indent="-161982" algn="l" defTabSz="914296" rtl="0" eaLnBrk="1" latinLnBrk="0" hangingPunct="1">
              <a:lnSpc>
                <a:spcPct val="100000"/>
              </a:lnSpc>
              <a:spcBef>
                <a:spcPts val="0"/>
              </a:spcBef>
              <a:spcAft>
                <a:spcPts val="400"/>
              </a:spcAft>
              <a:buClr>
                <a:schemeClr val="tx1"/>
              </a:buClr>
              <a:buFont typeface="Arial" panose="020B0604020202020204" pitchFamily="34" charset="0"/>
              <a:buChar char="−"/>
              <a:defRPr sz="1600" kern="1200">
                <a:solidFill>
                  <a:schemeClr val="tx1"/>
                </a:solidFill>
                <a:latin typeface="+mn-lt"/>
                <a:ea typeface="+mn-ea"/>
                <a:cs typeface="+mn-cs"/>
              </a:defRPr>
            </a:lvl2pPr>
            <a:lvl3pPr marL="899898" indent="-161982" algn="l" defTabSz="914296" rtl="0" eaLnBrk="1" latinLnBrk="0" hangingPunct="1">
              <a:lnSpc>
                <a:spcPct val="100000"/>
              </a:lnSpc>
              <a:spcBef>
                <a:spcPts val="0"/>
              </a:spcBef>
              <a:spcAft>
                <a:spcPts val="300"/>
              </a:spcAft>
              <a:buClr>
                <a:schemeClr val="tx1"/>
              </a:buClr>
              <a:buFont typeface="Arial" panose="020B0604020202020204" pitchFamily="34" charset="0"/>
              <a:buChar char="•"/>
              <a:defRPr sz="1400" kern="1200">
                <a:solidFill>
                  <a:schemeClr val="tx1"/>
                </a:solidFill>
                <a:latin typeface="+mn-lt"/>
                <a:ea typeface="+mn-ea"/>
                <a:cs typeface="+mn-cs"/>
              </a:defRPr>
            </a:lvl3pPr>
            <a:lvl4pPr marL="1259857" indent="-161982" algn="l" defTabSz="914296" rtl="0" eaLnBrk="1" latinLnBrk="0" hangingPunct="1">
              <a:lnSpc>
                <a:spcPct val="100000"/>
              </a:lnSpc>
              <a:spcBef>
                <a:spcPts val="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4pPr>
            <a:lvl5pPr marL="1627015" indent="-158382" algn="l" defTabSz="914296" rtl="0" eaLnBrk="1" latinLnBrk="0" hangingPunct="1">
              <a:lnSpc>
                <a:spcPct val="100000"/>
              </a:lnSpc>
              <a:spcBef>
                <a:spcPts val="0"/>
              </a:spcBef>
              <a:spcAft>
                <a:spcPts val="240"/>
              </a:spcAft>
              <a:buClr>
                <a:schemeClr val="tx1"/>
              </a:buClr>
              <a:buFont typeface="Arial" panose="020B0604020202020204" pitchFamily="34" charset="0"/>
              <a:buChar char="»"/>
              <a:defRPr sz="1000" kern="1200">
                <a:solidFill>
                  <a:schemeClr val="tx1"/>
                </a:solidFill>
                <a:latin typeface="+mn-lt"/>
                <a:ea typeface="+mn-ea"/>
                <a:cs typeface="+mn-cs"/>
              </a:defRPr>
            </a:lvl5pPr>
            <a:lvl6pPr marL="2514314" indent="-228574" algn="l" defTabSz="914296"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62" indent="-228574" algn="l" defTabSz="914296"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610" indent="-228574" algn="l" defTabSz="914296"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58" indent="-228574" algn="l" defTabSz="914296"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sv-SE" dirty="0">
                <a:solidFill>
                  <a:schemeClr val="accent2"/>
                </a:solidFill>
              </a:rPr>
              <a:t>WHY AUTOMATE?</a:t>
            </a:r>
          </a:p>
          <a:p>
            <a:pPr marL="0" indent="0">
              <a:buNone/>
            </a:pPr>
            <a:endParaRPr lang="sv-SE" dirty="0"/>
          </a:p>
          <a:p>
            <a:endParaRPr lang="sv-SE" dirty="0"/>
          </a:p>
        </p:txBody>
      </p:sp>
      <p:sp>
        <p:nvSpPr>
          <p:cNvPr id="62" name="Rubrik 18">
            <a:extLst>
              <a:ext uri="{FF2B5EF4-FFF2-40B4-BE49-F238E27FC236}">
                <a16:creationId xmlns:a16="http://schemas.microsoft.com/office/drawing/2014/main" id="{5F2ADB45-F2C4-49CC-BBE7-F1D11C1FC680}"/>
              </a:ext>
            </a:extLst>
          </p:cNvPr>
          <p:cNvSpPr>
            <a:spLocks noGrp="1"/>
          </p:cNvSpPr>
          <p:nvPr>
            <p:ph type="title"/>
          </p:nvPr>
        </p:nvSpPr>
        <p:spPr>
          <a:xfrm>
            <a:off x="360000" y="207535"/>
            <a:ext cx="8424000" cy="360000"/>
          </a:xfrm>
        </p:spPr>
        <p:txBody>
          <a:bodyPr/>
          <a:lstStyle/>
          <a:p>
            <a:r>
              <a:rPr lang="sv-SE" dirty="0"/>
              <a:t>Automation in mining</a:t>
            </a:r>
          </a:p>
        </p:txBody>
      </p:sp>
      <p:sp>
        <p:nvSpPr>
          <p:cNvPr id="4" name="Oval 3">
            <a:extLst>
              <a:ext uri="{FF2B5EF4-FFF2-40B4-BE49-F238E27FC236}">
                <a16:creationId xmlns:a16="http://schemas.microsoft.com/office/drawing/2014/main" id="{5BDD6B47-5E9A-4895-834A-27BB06EB40F4}"/>
              </a:ext>
            </a:extLst>
          </p:cNvPr>
          <p:cNvSpPr/>
          <p:nvPr/>
        </p:nvSpPr>
        <p:spPr>
          <a:xfrm>
            <a:off x="2047305" y="3699348"/>
            <a:ext cx="2596393" cy="1307513"/>
          </a:xfrm>
          <a:prstGeom prst="ellipse">
            <a:avLst/>
          </a:prstGeom>
          <a:noFill/>
          <a:ln w="19050">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5" name="Oval 4">
            <a:extLst>
              <a:ext uri="{FF2B5EF4-FFF2-40B4-BE49-F238E27FC236}">
                <a16:creationId xmlns:a16="http://schemas.microsoft.com/office/drawing/2014/main" id="{5B0A006B-EFBC-479F-94C2-542F7681C3A4}"/>
              </a:ext>
            </a:extLst>
          </p:cNvPr>
          <p:cNvSpPr/>
          <p:nvPr/>
        </p:nvSpPr>
        <p:spPr>
          <a:xfrm>
            <a:off x="5499391" y="3139066"/>
            <a:ext cx="2983870" cy="1422785"/>
          </a:xfrm>
          <a:prstGeom prst="ellipse">
            <a:avLst/>
          </a:prstGeom>
          <a:noFill/>
          <a:ln w="19050">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Tree>
    <p:extLst>
      <p:ext uri="{BB962C8B-B14F-4D97-AF65-F5344CB8AC3E}">
        <p14:creationId xmlns:p14="http://schemas.microsoft.com/office/powerpoint/2010/main" val="756186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62"/>
                                        </p:tgtEl>
                                        <p:attrNameLst>
                                          <p:attrName>style.visibility</p:attrName>
                                        </p:attrNameLst>
                                      </p:cBhvr>
                                      <p:to>
                                        <p:strVal val="visible"/>
                                      </p:to>
                                    </p:set>
                                    <p:animEffect transition="in" filter="fade">
                                      <p:cBhvr>
                                        <p:cTn id="7" dur="500"/>
                                        <p:tgtEl>
                                          <p:spTgt spid="16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63"/>
                                        </p:tgtEl>
                                        <p:attrNameLst>
                                          <p:attrName>style.visibility</p:attrName>
                                        </p:attrNameLst>
                                      </p:cBhvr>
                                      <p:to>
                                        <p:strVal val="visible"/>
                                      </p:to>
                                    </p:set>
                                    <p:animEffect transition="in" filter="fade">
                                      <p:cBhvr>
                                        <p:cTn id="10" dur="500"/>
                                        <p:tgtEl>
                                          <p:spTgt spid="163"/>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68"/>
                                        </p:tgtEl>
                                        <p:attrNameLst>
                                          <p:attrName>style.visibility</p:attrName>
                                        </p:attrNameLst>
                                      </p:cBhvr>
                                      <p:to>
                                        <p:strVal val="visible"/>
                                      </p:to>
                                    </p:set>
                                    <p:animEffect transition="in" filter="fade">
                                      <p:cBhvr>
                                        <p:cTn id="13" dur="500"/>
                                        <p:tgtEl>
                                          <p:spTgt spid="16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69"/>
                                        </p:tgtEl>
                                        <p:attrNameLst>
                                          <p:attrName>style.visibility</p:attrName>
                                        </p:attrNameLst>
                                      </p:cBhvr>
                                      <p:to>
                                        <p:strVal val="visible"/>
                                      </p:to>
                                    </p:set>
                                    <p:animEffect transition="in" filter="fade">
                                      <p:cBhvr>
                                        <p:cTn id="16" dur="500"/>
                                        <p:tgtEl>
                                          <p:spTgt spid="16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70"/>
                                        </p:tgtEl>
                                        <p:attrNameLst>
                                          <p:attrName>style.visibility</p:attrName>
                                        </p:attrNameLst>
                                      </p:cBhvr>
                                      <p:to>
                                        <p:strVal val="visible"/>
                                      </p:to>
                                    </p:set>
                                    <p:animEffect transition="in" filter="fade">
                                      <p:cBhvr>
                                        <p:cTn id="19" dur="500"/>
                                        <p:tgtEl>
                                          <p:spTgt spid="170"/>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71"/>
                                        </p:tgtEl>
                                        <p:attrNameLst>
                                          <p:attrName>style.visibility</p:attrName>
                                        </p:attrNameLst>
                                      </p:cBhvr>
                                      <p:to>
                                        <p:strVal val="visible"/>
                                      </p:to>
                                    </p:set>
                                    <p:animEffect transition="in" filter="fade">
                                      <p:cBhvr>
                                        <p:cTn id="22" dur="500"/>
                                        <p:tgtEl>
                                          <p:spTgt spid="171"/>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72"/>
                                        </p:tgtEl>
                                        <p:attrNameLst>
                                          <p:attrName>style.visibility</p:attrName>
                                        </p:attrNameLst>
                                      </p:cBhvr>
                                      <p:to>
                                        <p:strVal val="visible"/>
                                      </p:to>
                                    </p:set>
                                    <p:animEffect transition="in" filter="fade">
                                      <p:cBhvr>
                                        <p:cTn id="25" dur="500"/>
                                        <p:tgtEl>
                                          <p:spTgt spid="172"/>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173"/>
                                        </p:tgtEl>
                                        <p:attrNameLst>
                                          <p:attrName>style.visibility</p:attrName>
                                        </p:attrNameLst>
                                      </p:cBhvr>
                                      <p:to>
                                        <p:strVal val="visible"/>
                                      </p:to>
                                    </p:set>
                                    <p:animEffect transition="in" filter="fade">
                                      <p:cBhvr>
                                        <p:cTn id="28" dur="500"/>
                                        <p:tgtEl>
                                          <p:spTgt spid="173"/>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184"/>
                                        </p:tgtEl>
                                        <p:attrNameLst>
                                          <p:attrName>style.visibility</p:attrName>
                                        </p:attrNameLst>
                                      </p:cBhvr>
                                      <p:to>
                                        <p:strVal val="visible"/>
                                      </p:to>
                                    </p:set>
                                    <p:animEffect transition="in" filter="fade">
                                      <p:cBhvr>
                                        <p:cTn id="33" dur="500"/>
                                        <p:tgtEl>
                                          <p:spTgt spid="184"/>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185"/>
                                        </p:tgtEl>
                                        <p:attrNameLst>
                                          <p:attrName>style.visibility</p:attrName>
                                        </p:attrNameLst>
                                      </p:cBhvr>
                                      <p:to>
                                        <p:strVal val="visible"/>
                                      </p:to>
                                    </p:set>
                                    <p:animEffect transition="in" filter="fade">
                                      <p:cBhvr>
                                        <p:cTn id="36" dur="500"/>
                                        <p:tgtEl>
                                          <p:spTgt spid="185"/>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186"/>
                                        </p:tgtEl>
                                        <p:attrNameLst>
                                          <p:attrName>style.visibility</p:attrName>
                                        </p:attrNameLst>
                                      </p:cBhvr>
                                      <p:to>
                                        <p:strVal val="visible"/>
                                      </p:to>
                                    </p:set>
                                    <p:animEffect transition="in" filter="fade">
                                      <p:cBhvr>
                                        <p:cTn id="39" dur="500"/>
                                        <p:tgtEl>
                                          <p:spTgt spid="186"/>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187"/>
                                        </p:tgtEl>
                                        <p:attrNameLst>
                                          <p:attrName>style.visibility</p:attrName>
                                        </p:attrNameLst>
                                      </p:cBhvr>
                                      <p:to>
                                        <p:strVal val="visible"/>
                                      </p:to>
                                    </p:set>
                                    <p:animEffect transition="in" filter="fade">
                                      <p:cBhvr>
                                        <p:cTn id="42" dur="500"/>
                                        <p:tgtEl>
                                          <p:spTgt spid="187"/>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188"/>
                                        </p:tgtEl>
                                        <p:attrNameLst>
                                          <p:attrName>style.visibility</p:attrName>
                                        </p:attrNameLst>
                                      </p:cBhvr>
                                      <p:to>
                                        <p:strVal val="visible"/>
                                      </p:to>
                                    </p:set>
                                    <p:animEffect transition="in" filter="fade">
                                      <p:cBhvr>
                                        <p:cTn id="45" dur="500"/>
                                        <p:tgtEl>
                                          <p:spTgt spid="188"/>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189"/>
                                        </p:tgtEl>
                                        <p:attrNameLst>
                                          <p:attrName>style.visibility</p:attrName>
                                        </p:attrNameLst>
                                      </p:cBhvr>
                                      <p:to>
                                        <p:strVal val="visible"/>
                                      </p:to>
                                    </p:set>
                                    <p:animEffect transition="in" filter="fade">
                                      <p:cBhvr>
                                        <p:cTn id="48" dur="500"/>
                                        <p:tgtEl>
                                          <p:spTgt spid="189"/>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90"/>
                                        </p:tgtEl>
                                        <p:attrNameLst>
                                          <p:attrName>style.visibility</p:attrName>
                                        </p:attrNameLst>
                                      </p:cBhvr>
                                      <p:to>
                                        <p:strVal val="visible"/>
                                      </p:to>
                                    </p:set>
                                    <p:animEffect transition="in" filter="fade">
                                      <p:cBhvr>
                                        <p:cTn id="51" dur="500"/>
                                        <p:tgtEl>
                                          <p:spTgt spid="190"/>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191"/>
                                        </p:tgtEl>
                                        <p:attrNameLst>
                                          <p:attrName>style.visibility</p:attrName>
                                        </p:attrNameLst>
                                      </p:cBhvr>
                                      <p:to>
                                        <p:strVal val="visible"/>
                                      </p:to>
                                    </p:set>
                                    <p:animEffect transition="in" filter="fade">
                                      <p:cBhvr>
                                        <p:cTn id="54" dur="500"/>
                                        <p:tgtEl>
                                          <p:spTgt spid="191"/>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192"/>
                                        </p:tgtEl>
                                        <p:attrNameLst>
                                          <p:attrName>style.visibility</p:attrName>
                                        </p:attrNameLst>
                                      </p:cBhvr>
                                      <p:to>
                                        <p:strVal val="visible"/>
                                      </p:to>
                                    </p:set>
                                    <p:animEffect transition="in" filter="fade">
                                      <p:cBhvr>
                                        <p:cTn id="57" dur="500"/>
                                        <p:tgtEl>
                                          <p:spTgt spid="192"/>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193"/>
                                        </p:tgtEl>
                                        <p:attrNameLst>
                                          <p:attrName>style.visibility</p:attrName>
                                        </p:attrNameLst>
                                      </p:cBhvr>
                                      <p:to>
                                        <p:strVal val="visible"/>
                                      </p:to>
                                    </p:set>
                                    <p:animEffect transition="in" filter="fade">
                                      <p:cBhvr>
                                        <p:cTn id="60" dur="500"/>
                                        <p:tgtEl>
                                          <p:spTgt spid="193"/>
                                        </p:tgtEl>
                                      </p:cBhvr>
                                    </p:animEffect>
                                  </p:childTnLst>
                                </p:cTn>
                              </p:par>
                            </p:childTnLst>
                          </p:cTn>
                        </p:par>
                      </p:childTnLst>
                    </p:cTn>
                  </p:par>
                  <p:par>
                    <p:cTn id="61" fill="hold">
                      <p:stCondLst>
                        <p:cond delay="indefinite"/>
                      </p:stCondLst>
                      <p:childTnLst>
                        <p:par>
                          <p:cTn id="62" fill="hold">
                            <p:stCondLst>
                              <p:cond delay="0"/>
                            </p:stCondLst>
                            <p:childTnLst>
                              <p:par>
                                <p:cTn id="63" presetID="10" presetClass="entr" presetSubtype="0" fill="hold" grpId="0" nodeType="clickEffect">
                                  <p:stCondLst>
                                    <p:cond delay="0"/>
                                  </p:stCondLst>
                                  <p:childTnLst>
                                    <p:set>
                                      <p:cBhvr>
                                        <p:cTn id="64" dur="1" fill="hold">
                                          <p:stCondLst>
                                            <p:cond delay="0"/>
                                          </p:stCondLst>
                                        </p:cTn>
                                        <p:tgtEl>
                                          <p:spTgt spid="165"/>
                                        </p:tgtEl>
                                        <p:attrNameLst>
                                          <p:attrName>style.visibility</p:attrName>
                                        </p:attrNameLst>
                                      </p:cBhvr>
                                      <p:to>
                                        <p:strVal val="visible"/>
                                      </p:to>
                                    </p:set>
                                    <p:animEffect transition="in" filter="fade">
                                      <p:cBhvr>
                                        <p:cTn id="65" dur="500"/>
                                        <p:tgtEl>
                                          <p:spTgt spid="165"/>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174"/>
                                        </p:tgtEl>
                                        <p:attrNameLst>
                                          <p:attrName>style.visibility</p:attrName>
                                        </p:attrNameLst>
                                      </p:cBhvr>
                                      <p:to>
                                        <p:strVal val="visible"/>
                                      </p:to>
                                    </p:set>
                                    <p:animEffect transition="in" filter="fade">
                                      <p:cBhvr>
                                        <p:cTn id="68" dur="500"/>
                                        <p:tgtEl>
                                          <p:spTgt spid="174"/>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175"/>
                                        </p:tgtEl>
                                        <p:attrNameLst>
                                          <p:attrName>style.visibility</p:attrName>
                                        </p:attrNameLst>
                                      </p:cBhvr>
                                      <p:to>
                                        <p:strVal val="visible"/>
                                      </p:to>
                                    </p:set>
                                    <p:animEffect transition="in" filter="fade">
                                      <p:cBhvr>
                                        <p:cTn id="71" dur="500"/>
                                        <p:tgtEl>
                                          <p:spTgt spid="175"/>
                                        </p:tgtEl>
                                      </p:cBhvr>
                                    </p:animEffect>
                                  </p:childTnLst>
                                </p:cTn>
                              </p:par>
                              <p:par>
                                <p:cTn id="72" presetID="10" presetClass="entr" presetSubtype="0" fill="hold" grpId="0" nodeType="withEffect">
                                  <p:stCondLst>
                                    <p:cond delay="0"/>
                                  </p:stCondLst>
                                  <p:childTnLst>
                                    <p:set>
                                      <p:cBhvr>
                                        <p:cTn id="73" dur="1" fill="hold">
                                          <p:stCondLst>
                                            <p:cond delay="0"/>
                                          </p:stCondLst>
                                        </p:cTn>
                                        <p:tgtEl>
                                          <p:spTgt spid="176"/>
                                        </p:tgtEl>
                                        <p:attrNameLst>
                                          <p:attrName>style.visibility</p:attrName>
                                        </p:attrNameLst>
                                      </p:cBhvr>
                                      <p:to>
                                        <p:strVal val="visible"/>
                                      </p:to>
                                    </p:set>
                                    <p:animEffect transition="in" filter="fade">
                                      <p:cBhvr>
                                        <p:cTn id="74" dur="500"/>
                                        <p:tgtEl>
                                          <p:spTgt spid="176"/>
                                        </p:tgtEl>
                                      </p:cBhvr>
                                    </p:animEffect>
                                  </p:childTnLst>
                                </p:cTn>
                              </p:par>
                            </p:childTnLst>
                          </p:cTn>
                        </p:par>
                      </p:childTnLst>
                    </p:cTn>
                  </p:par>
                  <p:par>
                    <p:cTn id="75" fill="hold">
                      <p:stCondLst>
                        <p:cond delay="indefinite"/>
                      </p:stCondLst>
                      <p:childTnLst>
                        <p:par>
                          <p:cTn id="76" fill="hold">
                            <p:stCondLst>
                              <p:cond delay="0"/>
                            </p:stCondLst>
                            <p:childTnLst>
                              <p:par>
                                <p:cTn id="77" presetID="10" presetClass="entr" presetSubtype="0" fill="hold" grpId="0" nodeType="clickEffect">
                                  <p:stCondLst>
                                    <p:cond delay="0"/>
                                  </p:stCondLst>
                                  <p:childTnLst>
                                    <p:set>
                                      <p:cBhvr>
                                        <p:cTn id="78" dur="1" fill="hold">
                                          <p:stCondLst>
                                            <p:cond delay="0"/>
                                          </p:stCondLst>
                                        </p:cTn>
                                        <p:tgtEl>
                                          <p:spTgt spid="197"/>
                                        </p:tgtEl>
                                        <p:attrNameLst>
                                          <p:attrName>style.visibility</p:attrName>
                                        </p:attrNameLst>
                                      </p:cBhvr>
                                      <p:to>
                                        <p:strVal val="visible"/>
                                      </p:to>
                                    </p:set>
                                    <p:animEffect transition="in" filter="fade">
                                      <p:cBhvr>
                                        <p:cTn id="79" dur="500"/>
                                        <p:tgtEl>
                                          <p:spTgt spid="197"/>
                                        </p:tgtEl>
                                      </p:cBhvr>
                                    </p:animEffect>
                                  </p:childTnLst>
                                </p:cTn>
                              </p:par>
                              <p:par>
                                <p:cTn id="80" presetID="10" presetClass="entr" presetSubtype="0" fill="hold" grpId="0" nodeType="withEffect">
                                  <p:stCondLst>
                                    <p:cond delay="0"/>
                                  </p:stCondLst>
                                  <p:childTnLst>
                                    <p:set>
                                      <p:cBhvr>
                                        <p:cTn id="81" dur="1" fill="hold">
                                          <p:stCondLst>
                                            <p:cond delay="0"/>
                                          </p:stCondLst>
                                        </p:cTn>
                                        <p:tgtEl>
                                          <p:spTgt spid="198"/>
                                        </p:tgtEl>
                                        <p:attrNameLst>
                                          <p:attrName>style.visibility</p:attrName>
                                        </p:attrNameLst>
                                      </p:cBhvr>
                                      <p:to>
                                        <p:strVal val="visible"/>
                                      </p:to>
                                    </p:set>
                                    <p:animEffect transition="in" filter="fade">
                                      <p:cBhvr>
                                        <p:cTn id="82" dur="500"/>
                                        <p:tgtEl>
                                          <p:spTgt spid="198"/>
                                        </p:tgtEl>
                                      </p:cBhvr>
                                    </p:animEffect>
                                  </p:childTnLst>
                                </p:cTn>
                              </p:par>
                              <p:par>
                                <p:cTn id="83" presetID="10" presetClass="entr" presetSubtype="0" fill="hold" grpId="0" nodeType="withEffect">
                                  <p:stCondLst>
                                    <p:cond delay="0"/>
                                  </p:stCondLst>
                                  <p:childTnLst>
                                    <p:set>
                                      <p:cBhvr>
                                        <p:cTn id="84" dur="1" fill="hold">
                                          <p:stCondLst>
                                            <p:cond delay="0"/>
                                          </p:stCondLst>
                                        </p:cTn>
                                        <p:tgtEl>
                                          <p:spTgt spid="199"/>
                                        </p:tgtEl>
                                        <p:attrNameLst>
                                          <p:attrName>style.visibility</p:attrName>
                                        </p:attrNameLst>
                                      </p:cBhvr>
                                      <p:to>
                                        <p:strVal val="visible"/>
                                      </p:to>
                                    </p:set>
                                    <p:animEffect transition="in" filter="fade">
                                      <p:cBhvr>
                                        <p:cTn id="85" dur="500"/>
                                        <p:tgtEl>
                                          <p:spTgt spid="199"/>
                                        </p:tgtEl>
                                      </p:cBhvr>
                                    </p:animEffect>
                                  </p:childTnLst>
                                </p:cTn>
                              </p:par>
                              <p:par>
                                <p:cTn id="86" presetID="10" presetClass="entr" presetSubtype="0" fill="hold" grpId="0" nodeType="withEffect">
                                  <p:stCondLst>
                                    <p:cond delay="0"/>
                                  </p:stCondLst>
                                  <p:childTnLst>
                                    <p:set>
                                      <p:cBhvr>
                                        <p:cTn id="87" dur="1" fill="hold">
                                          <p:stCondLst>
                                            <p:cond delay="0"/>
                                          </p:stCondLst>
                                        </p:cTn>
                                        <p:tgtEl>
                                          <p:spTgt spid="200"/>
                                        </p:tgtEl>
                                        <p:attrNameLst>
                                          <p:attrName>style.visibility</p:attrName>
                                        </p:attrNameLst>
                                      </p:cBhvr>
                                      <p:to>
                                        <p:strVal val="visible"/>
                                      </p:to>
                                    </p:set>
                                    <p:animEffect transition="in" filter="fade">
                                      <p:cBhvr>
                                        <p:cTn id="88" dur="500"/>
                                        <p:tgtEl>
                                          <p:spTgt spid="200"/>
                                        </p:tgtEl>
                                      </p:cBhvr>
                                    </p:animEffect>
                                  </p:childTnLst>
                                </p:cTn>
                              </p:par>
                              <p:par>
                                <p:cTn id="89" presetID="10" presetClass="entr" presetSubtype="0" fill="hold" grpId="0" nodeType="withEffect">
                                  <p:stCondLst>
                                    <p:cond delay="0"/>
                                  </p:stCondLst>
                                  <p:childTnLst>
                                    <p:set>
                                      <p:cBhvr>
                                        <p:cTn id="90" dur="1" fill="hold">
                                          <p:stCondLst>
                                            <p:cond delay="0"/>
                                          </p:stCondLst>
                                        </p:cTn>
                                        <p:tgtEl>
                                          <p:spTgt spid="201"/>
                                        </p:tgtEl>
                                        <p:attrNameLst>
                                          <p:attrName>style.visibility</p:attrName>
                                        </p:attrNameLst>
                                      </p:cBhvr>
                                      <p:to>
                                        <p:strVal val="visible"/>
                                      </p:to>
                                    </p:set>
                                    <p:animEffect transition="in" filter="fade">
                                      <p:cBhvr>
                                        <p:cTn id="91" dur="500"/>
                                        <p:tgtEl>
                                          <p:spTgt spid="201"/>
                                        </p:tgtEl>
                                      </p:cBhvr>
                                    </p:animEffect>
                                  </p:childTnLst>
                                </p:cTn>
                              </p:par>
                              <p:par>
                                <p:cTn id="92" presetID="10" presetClass="entr" presetSubtype="0" fill="hold" grpId="0" nodeType="withEffect">
                                  <p:stCondLst>
                                    <p:cond delay="0"/>
                                  </p:stCondLst>
                                  <p:childTnLst>
                                    <p:set>
                                      <p:cBhvr>
                                        <p:cTn id="93" dur="1" fill="hold">
                                          <p:stCondLst>
                                            <p:cond delay="0"/>
                                          </p:stCondLst>
                                        </p:cTn>
                                        <p:tgtEl>
                                          <p:spTgt spid="202"/>
                                        </p:tgtEl>
                                        <p:attrNameLst>
                                          <p:attrName>style.visibility</p:attrName>
                                        </p:attrNameLst>
                                      </p:cBhvr>
                                      <p:to>
                                        <p:strVal val="visible"/>
                                      </p:to>
                                    </p:set>
                                    <p:animEffect transition="in" filter="fade">
                                      <p:cBhvr>
                                        <p:cTn id="94" dur="500"/>
                                        <p:tgtEl>
                                          <p:spTgt spid="202"/>
                                        </p:tgtEl>
                                      </p:cBhvr>
                                    </p:animEffect>
                                  </p:childTnLst>
                                </p:cTn>
                              </p:par>
                              <p:par>
                                <p:cTn id="95" presetID="10" presetClass="entr" presetSubtype="0" fill="hold" grpId="0" nodeType="withEffect">
                                  <p:stCondLst>
                                    <p:cond delay="0"/>
                                  </p:stCondLst>
                                  <p:childTnLst>
                                    <p:set>
                                      <p:cBhvr>
                                        <p:cTn id="96" dur="1" fill="hold">
                                          <p:stCondLst>
                                            <p:cond delay="0"/>
                                          </p:stCondLst>
                                        </p:cTn>
                                        <p:tgtEl>
                                          <p:spTgt spid="203"/>
                                        </p:tgtEl>
                                        <p:attrNameLst>
                                          <p:attrName>style.visibility</p:attrName>
                                        </p:attrNameLst>
                                      </p:cBhvr>
                                      <p:to>
                                        <p:strVal val="visible"/>
                                      </p:to>
                                    </p:set>
                                    <p:animEffect transition="in" filter="fade">
                                      <p:cBhvr>
                                        <p:cTn id="97" dur="500"/>
                                        <p:tgtEl>
                                          <p:spTgt spid="203"/>
                                        </p:tgtEl>
                                      </p:cBhvr>
                                    </p:animEffect>
                                  </p:childTnLst>
                                </p:cTn>
                              </p:par>
                              <p:par>
                                <p:cTn id="98" presetID="10" presetClass="entr" presetSubtype="0" fill="hold" grpId="0" nodeType="withEffect">
                                  <p:stCondLst>
                                    <p:cond delay="0"/>
                                  </p:stCondLst>
                                  <p:childTnLst>
                                    <p:set>
                                      <p:cBhvr>
                                        <p:cTn id="99" dur="1" fill="hold">
                                          <p:stCondLst>
                                            <p:cond delay="0"/>
                                          </p:stCondLst>
                                        </p:cTn>
                                        <p:tgtEl>
                                          <p:spTgt spid="204"/>
                                        </p:tgtEl>
                                        <p:attrNameLst>
                                          <p:attrName>style.visibility</p:attrName>
                                        </p:attrNameLst>
                                      </p:cBhvr>
                                      <p:to>
                                        <p:strVal val="visible"/>
                                      </p:to>
                                    </p:set>
                                    <p:animEffect transition="in" filter="fade">
                                      <p:cBhvr>
                                        <p:cTn id="100" dur="500"/>
                                        <p:tgtEl>
                                          <p:spTgt spid="204"/>
                                        </p:tgtEl>
                                      </p:cBhvr>
                                    </p:animEffect>
                                  </p:childTnLst>
                                </p:cTn>
                              </p:par>
                            </p:childTnLst>
                          </p:cTn>
                        </p:par>
                      </p:childTnLst>
                    </p:cTn>
                  </p:par>
                  <p:par>
                    <p:cTn id="101" fill="hold">
                      <p:stCondLst>
                        <p:cond delay="indefinite"/>
                      </p:stCondLst>
                      <p:childTnLst>
                        <p:par>
                          <p:cTn id="102" fill="hold">
                            <p:stCondLst>
                              <p:cond delay="0"/>
                            </p:stCondLst>
                            <p:childTnLst>
                              <p:par>
                                <p:cTn id="103" presetID="10" presetClass="entr" presetSubtype="0" fill="hold" grpId="0" nodeType="clickEffect">
                                  <p:stCondLst>
                                    <p:cond delay="0"/>
                                  </p:stCondLst>
                                  <p:childTnLst>
                                    <p:set>
                                      <p:cBhvr>
                                        <p:cTn id="104" dur="1" fill="hold">
                                          <p:stCondLst>
                                            <p:cond delay="0"/>
                                          </p:stCondLst>
                                        </p:cTn>
                                        <p:tgtEl>
                                          <p:spTgt spid="167"/>
                                        </p:tgtEl>
                                        <p:attrNameLst>
                                          <p:attrName>style.visibility</p:attrName>
                                        </p:attrNameLst>
                                      </p:cBhvr>
                                      <p:to>
                                        <p:strVal val="visible"/>
                                      </p:to>
                                    </p:set>
                                    <p:animEffect transition="in" filter="fade">
                                      <p:cBhvr>
                                        <p:cTn id="105" dur="500"/>
                                        <p:tgtEl>
                                          <p:spTgt spid="167"/>
                                        </p:tgtEl>
                                      </p:cBhvr>
                                    </p:animEffect>
                                  </p:childTnLst>
                                </p:cTn>
                              </p:par>
                              <p:par>
                                <p:cTn id="106" presetID="10" presetClass="entr" presetSubtype="0" fill="hold" grpId="0" nodeType="withEffect">
                                  <p:stCondLst>
                                    <p:cond delay="0"/>
                                  </p:stCondLst>
                                  <p:childTnLst>
                                    <p:set>
                                      <p:cBhvr>
                                        <p:cTn id="107" dur="1" fill="hold">
                                          <p:stCondLst>
                                            <p:cond delay="0"/>
                                          </p:stCondLst>
                                        </p:cTn>
                                        <p:tgtEl>
                                          <p:spTgt spid="177"/>
                                        </p:tgtEl>
                                        <p:attrNameLst>
                                          <p:attrName>style.visibility</p:attrName>
                                        </p:attrNameLst>
                                      </p:cBhvr>
                                      <p:to>
                                        <p:strVal val="visible"/>
                                      </p:to>
                                    </p:set>
                                    <p:animEffect transition="in" filter="fade">
                                      <p:cBhvr>
                                        <p:cTn id="108" dur="500"/>
                                        <p:tgtEl>
                                          <p:spTgt spid="177"/>
                                        </p:tgtEl>
                                      </p:cBhvr>
                                    </p:animEffect>
                                  </p:childTnLst>
                                </p:cTn>
                              </p:par>
                              <p:par>
                                <p:cTn id="109" presetID="10" presetClass="entr" presetSubtype="0" fill="hold" grpId="0" nodeType="withEffect">
                                  <p:stCondLst>
                                    <p:cond delay="0"/>
                                  </p:stCondLst>
                                  <p:childTnLst>
                                    <p:set>
                                      <p:cBhvr>
                                        <p:cTn id="110" dur="1" fill="hold">
                                          <p:stCondLst>
                                            <p:cond delay="0"/>
                                          </p:stCondLst>
                                        </p:cTn>
                                        <p:tgtEl>
                                          <p:spTgt spid="178"/>
                                        </p:tgtEl>
                                        <p:attrNameLst>
                                          <p:attrName>style.visibility</p:attrName>
                                        </p:attrNameLst>
                                      </p:cBhvr>
                                      <p:to>
                                        <p:strVal val="visible"/>
                                      </p:to>
                                    </p:set>
                                    <p:animEffect transition="in" filter="fade">
                                      <p:cBhvr>
                                        <p:cTn id="111" dur="500"/>
                                        <p:tgtEl>
                                          <p:spTgt spid="178"/>
                                        </p:tgtEl>
                                      </p:cBhvr>
                                    </p:animEffect>
                                  </p:childTnLst>
                                </p:cTn>
                              </p:par>
                              <p:par>
                                <p:cTn id="112" presetID="10" presetClass="entr" presetSubtype="0" fill="hold" grpId="0" nodeType="withEffect">
                                  <p:stCondLst>
                                    <p:cond delay="0"/>
                                  </p:stCondLst>
                                  <p:childTnLst>
                                    <p:set>
                                      <p:cBhvr>
                                        <p:cTn id="113" dur="1" fill="hold">
                                          <p:stCondLst>
                                            <p:cond delay="0"/>
                                          </p:stCondLst>
                                        </p:cTn>
                                        <p:tgtEl>
                                          <p:spTgt spid="179"/>
                                        </p:tgtEl>
                                        <p:attrNameLst>
                                          <p:attrName>style.visibility</p:attrName>
                                        </p:attrNameLst>
                                      </p:cBhvr>
                                      <p:to>
                                        <p:strVal val="visible"/>
                                      </p:to>
                                    </p:set>
                                    <p:animEffect transition="in" filter="fade">
                                      <p:cBhvr>
                                        <p:cTn id="114" dur="500"/>
                                        <p:tgtEl>
                                          <p:spTgt spid="179"/>
                                        </p:tgtEl>
                                      </p:cBhvr>
                                    </p:animEffect>
                                  </p:childTnLst>
                                </p:cTn>
                              </p:par>
                              <p:par>
                                <p:cTn id="115" presetID="10" presetClass="entr" presetSubtype="0" fill="hold" grpId="0" nodeType="withEffect">
                                  <p:stCondLst>
                                    <p:cond delay="0"/>
                                  </p:stCondLst>
                                  <p:childTnLst>
                                    <p:set>
                                      <p:cBhvr>
                                        <p:cTn id="116" dur="1" fill="hold">
                                          <p:stCondLst>
                                            <p:cond delay="0"/>
                                          </p:stCondLst>
                                        </p:cTn>
                                        <p:tgtEl>
                                          <p:spTgt spid="180"/>
                                        </p:tgtEl>
                                        <p:attrNameLst>
                                          <p:attrName>style.visibility</p:attrName>
                                        </p:attrNameLst>
                                      </p:cBhvr>
                                      <p:to>
                                        <p:strVal val="visible"/>
                                      </p:to>
                                    </p:set>
                                    <p:animEffect transition="in" filter="fade">
                                      <p:cBhvr>
                                        <p:cTn id="117" dur="500"/>
                                        <p:tgtEl>
                                          <p:spTgt spid="180"/>
                                        </p:tgtEl>
                                      </p:cBhvr>
                                    </p:animEffect>
                                  </p:childTnLst>
                                </p:cTn>
                              </p:par>
                              <p:par>
                                <p:cTn id="118" presetID="10" presetClass="entr" presetSubtype="0" fill="hold" grpId="0" nodeType="withEffect">
                                  <p:stCondLst>
                                    <p:cond delay="0"/>
                                  </p:stCondLst>
                                  <p:childTnLst>
                                    <p:set>
                                      <p:cBhvr>
                                        <p:cTn id="119" dur="1" fill="hold">
                                          <p:stCondLst>
                                            <p:cond delay="0"/>
                                          </p:stCondLst>
                                        </p:cTn>
                                        <p:tgtEl>
                                          <p:spTgt spid="181"/>
                                        </p:tgtEl>
                                        <p:attrNameLst>
                                          <p:attrName>style.visibility</p:attrName>
                                        </p:attrNameLst>
                                      </p:cBhvr>
                                      <p:to>
                                        <p:strVal val="visible"/>
                                      </p:to>
                                    </p:set>
                                    <p:animEffect transition="in" filter="fade">
                                      <p:cBhvr>
                                        <p:cTn id="120" dur="500"/>
                                        <p:tgtEl>
                                          <p:spTgt spid="181"/>
                                        </p:tgtEl>
                                      </p:cBhvr>
                                    </p:animEffect>
                                  </p:childTnLst>
                                </p:cTn>
                              </p:par>
                              <p:par>
                                <p:cTn id="121" presetID="10" presetClass="entr" presetSubtype="0" fill="hold" grpId="0" nodeType="withEffect">
                                  <p:stCondLst>
                                    <p:cond delay="0"/>
                                  </p:stCondLst>
                                  <p:childTnLst>
                                    <p:set>
                                      <p:cBhvr>
                                        <p:cTn id="122" dur="1" fill="hold">
                                          <p:stCondLst>
                                            <p:cond delay="0"/>
                                          </p:stCondLst>
                                        </p:cTn>
                                        <p:tgtEl>
                                          <p:spTgt spid="182"/>
                                        </p:tgtEl>
                                        <p:attrNameLst>
                                          <p:attrName>style.visibility</p:attrName>
                                        </p:attrNameLst>
                                      </p:cBhvr>
                                      <p:to>
                                        <p:strVal val="visible"/>
                                      </p:to>
                                    </p:set>
                                    <p:animEffect transition="in" filter="fade">
                                      <p:cBhvr>
                                        <p:cTn id="123" dur="500"/>
                                        <p:tgtEl>
                                          <p:spTgt spid="182"/>
                                        </p:tgtEl>
                                      </p:cBhvr>
                                    </p:animEffect>
                                  </p:childTnLst>
                                </p:cTn>
                              </p:par>
                            </p:childTnLst>
                          </p:cTn>
                        </p:par>
                      </p:childTnLst>
                    </p:cTn>
                  </p:par>
                  <p:par>
                    <p:cTn id="124" fill="hold">
                      <p:stCondLst>
                        <p:cond delay="indefinite"/>
                      </p:stCondLst>
                      <p:childTnLst>
                        <p:par>
                          <p:cTn id="125" fill="hold">
                            <p:stCondLst>
                              <p:cond delay="0"/>
                            </p:stCondLst>
                            <p:childTnLst>
                              <p:par>
                                <p:cTn id="126" presetID="10" presetClass="entr" presetSubtype="0" fill="hold" grpId="0" nodeType="clickEffect">
                                  <p:stCondLst>
                                    <p:cond delay="0"/>
                                  </p:stCondLst>
                                  <p:childTnLst>
                                    <p:set>
                                      <p:cBhvr>
                                        <p:cTn id="127" dur="1" fill="hold">
                                          <p:stCondLst>
                                            <p:cond delay="0"/>
                                          </p:stCondLst>
                                        </p:cTn>
                                        <p:tgtEl>
                                          <p:spTgt spid="51"/>
                                        </p:tgtEl>
                                        <p:attrNameLst>
                                          <p:attrName>style.visibility</p:attrName>
                                        </p:attrNameLst>
                                      </p:cBhvr>
                                      <p:to>
                                        <p:strVal val="visible"/>
                                      </p:to>
                                    </p:set>
                                    <p:animEffect transition="in" filter="fade">
                                      <p:cBhvr>
                                        <p:cTn id="128" dur="500"/>
                                        <p:tgtEl>
                                          <p:spTgt spid="51"/>
                                        </p:tgtEl>
                                      </p:cBhvr>
                                    </p:animEffect>
                                  </p:childTnLst>
                                </p:cTn>
                              </p:par>
                              <p:par>
                                <p:cTn id="129" presetID="10" presetClass="entr" presetSubtype="0" fill="hold" grpId="0" nodeType="withEffect">
                                  <p:stCondLst>
                                    <p:cond delay="0"/>
                                  </p:stCondLst>
                                  <p:childTnLst>
                                    <p:set>
                                      <p:cBhvr>
                                        <p:cTn id="130" dur="1" fill="hold">
                                          <p:stCondLst>
                                            <p:cond delay="0"/>
                                          </p:stCondLst>
                                        </p:cTn>
                                        <p:tgtEl>
                                          <p:spTgt spid="147"/>
                                        </p:tgtEl>
                                        <p:attrNameLst>
                                          <p:attrName>style.visibility</p:attrName>
                                        </p:attrNameLst>
                                      </p:cBhvr>
                                      <p:to>
                                        <p:strVal val="visible"/>
                                      </p:to>
                                    </p:set>
                                    <p:animEffect transition="in" filter="fade">
                                      <p:cBhvr>
                                        <p:cTn id="131" dur="500"/>
                                        <p:tgtEl>
                                          <p:spTgt spid="147"/>
                                        </p:tgtEl>
                                      </p:cBhvr>
                                    </p:animEffect>
                                  </p:childTnLst>
                                </p:cTn>
                              </p:par>
                              <p:par>
                                <p:cTn id="132" presetID="10" presetClass="entr" presetSubtype="0" fill="hold" grpId="0" nodeType="withEffect">
                                  <p:stCondLst>
                                    <p:cond delay="0"/>
                                  </p:stCondLst>
                                  <p:childTnLst>
                                    <p:set>
                                      <p:cBhvr>
                                        <p:cTn id="133" dur="1" fill="hold">
                                          <p:stCondLst>
                                            <p:cond delay="0"/>
                                          </p:stCondLst>
                                        </p:cTn>
                                        <p:tgtEl>
                                          <p:spTgt spid="183"/>
                                        </p:tgtEl>
                                        <p:attrNameLst>
                                          <p:attrName>style.visibility</p:attrName>
                                        </p:attrNameLst>
                                      </p:cBhvr>
                                      <p:to>
                                        <p:strVal val="visible"/>
                                      </p:to>
                                    </p:set>
                                    <p:animEffect transition="in" filter="fade">
                                      <p:cBhvr>
                                        <p:cTn id="134" dur="500"/>
                                        <p:tgtEl>
                                          <p:spTgt spid="183"/>
                                        </p:tgtEl>
                                      </p:cBhvr>
                                    </p:animEffect>
                                  </p:childTnLst>
                                </p:cTn>
                              </p:par>
                              <p:par>
                                <p:cTn id="135" presetID="10" presetClass="entr" presetSubtype="0" fill="hold" grpId="0" nodeType="withEffect">
                                  <p:stCondLst>
                                    <p:cond delay="0"/>
                                  </p:stCondLst>
                                  <p:childTnLst>
                                    <p:set>
                                      <p:cBhvr>
                                        <p:cTn id="136" dur="1" fill="hold">
                                          <p:stCondLst>
                                            <p:cond delay="0"/>
                                          </p:stCondLst>
                                        </p:cTn>
                                        <p:tgtEl>
                                          <p:spTgt spid="194"/>
                                        </p:tgtEl>
                                        <p:attrNameLst>
                                          <p:attrName>style.visibility</p:attrName>
                                        </p:attrNameLst>
                                      </p:cBhvr>
                                      <p:to>
                                        <p:strVal val="visible"/>
                                      </p:to>
                                    </p:set>
                                    <p:animEffect transition="in" filter="fade">
                                      <p:cBhvr>
                                        <p:cTn id="137" dur="500"/>
                                        <p:tgtEl>
                                          <p:spTgt spid="194"/>
                                        </p:tgtEl>
                                      </p:cBhvr>
                                    </p:animEffect>
                                  </p:childTnLst>
                                </p:cTn>
                              </p:par>
                              <p:par>
                                <p:cTn id="138" presetID="10" presetClass="entr" presetSubtype="0" fill="hold" grpId="0" nodeType="withEffect">
                                  <p:stCondLst>
                                    <p:cond delay="0"/>
                                  </p:stCondLst>
                                  <p:childTnLst>
                                    <p:set>
                                      <p:cBhvr>
                                        <p:cTn id="139" dur="1" fill="hold">
                                          <p:stCondLst>
                                            <p:cond delay="0"/>
                                          </p:stCondLst>
                                        </p:cTn>
                                        <p:tgtEl>
                                          <p:spTgt spid="195"/>
                                        </p:tgtEl>
                                        <p:attrNameLst>
                                          <p:attrName>style.visibility</p:attrName>
                                        </p:attrNameLst>
                                      </p:cBhvr>
                                      <p:to>
                                        <p:strVal val="visible"/>
                                      </p:to>
                                    </p:set>
                                    <p:animEffect transition="in" filter="fade">
                                      <p:cBhvr>
                                        <p:cTn id="140" dur="500"/>
                                        <p:tgtEl>
                                          <p:spTgt spid="195"/>
                                        </p:tgtEl>
                                      </p:cBhvr>
                                    </p:animEffect>
                                  </p:childTnLst>
                                </p:cTn>
                              </p:par>
                              <p:par>
                                <p:cTn id="141" presetID="10" presetClass="entr" presetSubtype="0" fill="hold" grpId="0" nodeType="withEffect">
                                  <p:stCondLst>
                                    <p:cond delay="0"/>
                                  </p:stCondLst>
                                  <p:childTnLst>
                                    <p:set>
                                      <p:cBhvr>
                                        <p:cTn id="142" dur="1" fill="hold">
                                          <p:stCondLst>
                                            <p:cond delay="0"/>
                                          </p:stCondLst>
                                        </p:cTn>
                                        <p:tgtEl>
                                          <p:spTgt spid="196"/>
                                        </p:tgtEl>
                                        <p:attrNameLst>
                                          <p:attrName>style.visibility</p:attrName>
                                        </p:attrNameLst>
                                      </p:cBhvr>
                                      <p:to>
                                        <p:strVal val="visible"/>
                                      </p:to>
                                    </p:set>
                                    <p:animEffect transition="in" filter="fade">
                                      <p:cBhvr>
                                        <p:cTn id="143" dur="500"/>
                                        <p:tgtEl>
                                          <p:spTgt spid="196"/>
                                        </p:tgtEl>
                                      </p:cBhvr>
                                    </p:animEffect>
                                  </p:childTnLst>
                                </p:cTn>
                              </p:par>
                            </p:childTnLst>
                          </p:cTn>
                        </p:par>
                      </p:childTnLst>
                    </p:cTn>
                  </p:par>
                  <p:par>
                    <p:cTn id="144" fill="hold">
                      <p:stCondLst>
                        <p:cond delay="indefinite"/>
                      </p:stCondLst>
                      <p:childTnLst>
                        <p:par>
                          <p:cTn id="145" fill="hold">
                            <p:stCondLst>
                              <p:cond delay="0"/>
                            </p:stCondLst>
                            <p:childTnLst>
                              <p:par>
                                <p:cTn id="146" presetID="10" presetClass="entr" presetSubtype="0" fill="hold" grpId="0" nodeType="clickEffect">
                                  <p:stCondLst>
                                    <p:cond delay="0"/>
                                  </p:stCondLst>
                                  <p:childTnLst>
                                    <p:set>
                                      <p:cBhvr>
                                        <p:cTn id="147" dur="1" fill="hold">
                                          <p:stCondLst>
                                            <p:cond delay="0"/>
                                          </p:stCondLst>
                                        </p:cTn>
                                        <p:tgtEl>
                                          <p:spTgt spid="4"/>
                                        </p:tgtEl>
                                        <p:attrNameLst>
                                          <p:attrName>style.visibility</p:attrName>
                                        </p:attrNameLst>
                                      </p:cBhvr>
                                      <p:to>
                                        <p:strVal val="visible"/>
                                      </p:to>
                                    </p:set>
                                    <p:animEffect transition="in" filter="fade">
                                      <p:cBhvr>
                                        <p:cTn id="148" dur="500"/>
                                        <p:tgtEl>
                                          <p:spTgt spid="4"/>
                                        </p:tgtEl>
                                      </p:cBhvr>
                                    </p:animEffect>
                                  </p:childTnLst>
                                </p:cTn>
                              </p:par>
                            </p:childTnLst>
                          </p:cTn>
                        </p:par>
                      </p:childTnLst>
                    </p:cTn>
                  </p:par>
                  <p:par>
                    <p:cTn id="149" fill="hold">
                      <p:stCondLst>
                        <p:cond delay="indefinite"/>
                      </p:stCondLst>
                      <p:childTnLst>
                        <p:par>
                          <p:cTn id="150" fill="hold">
                            <p:stCondLst>
                              <p:cond delay="0"/>
                            </p:stCondLst>
                            <p:childTnLst>
                              <p:par>
                                <p:cTn id="151" presetID="10" presetClass="entr" presetSubtype="0" fill="hold" grpId="0" nodeType="clickEffect">
                                  <p:stCondLst>
                                    <p:cond delay="0"/>
                                  </p:stCondLst>
                                  <p:childTnLst>
                                    <p:set>
                                      <p:cBhvr>
                                        <p:cTn id="152" dur="1" fill="hold">
                                          <p:stCondLst>
                                            <p:cond delay="0"/>
                                          </p:stCondLst>
                                        </p:cTn>
                                        <p:tgtEl>
                                          <p:spTgt spid="5"/>
                                        </p:tgtEl>
                                        <p:attrNameLst>
                                          <p:attrName>style.visibility</p:attrName>
                                        </p:attrNameLst>
                                      </p:cBhvr>
                                      <p:to>
                                        <p:strVal val="visible"/>
                                      </p:to>
                                    </p:set>
                                    <p:animEffect transition="in" filter="fade">
                                      <p:cBhvr>
                                        <p:cTn id="153"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animBg="1"/>
      <p:bldP spid="147" grpId="0" animBg="1"/>
      <p:bldP spid="162" grpId="0" animBg="1"/>
      <p:bldP spid="163" grpId="0"/>
      <p:bldP spid="165" grpId="0"/>
      <p:bldP spid="167" grpId="0"/>
      <p:bldP spid="168" grpId="0"/>
      <p:bldP spid="169" grpId="0"/>
      <p:bldP spid="170" grpId="0" animBg="1"/>
      <p:bldP spid="171" grpId="0" animBg="1"/>
      <p:bldP spid="172" grpId="0" animBg="1"/>
      <p:bldP spid="173" grpId="0" animBg="1"/>
      <p:bldP spid="174" grpId="0" animBg="1"/>
      <p:bldP spid="175" grpId="0"/>
      <p:bldP spid="176" grpId="0" animBg="1"/>
      <p:bldP spid="177" grpId="0"/>
      <p:bldP spid="178" grpId="0" animBg="1"/>
      <p:bldP spid="179" grpId="0"/>
      <p:bldP spid="180" grpId="0" animBg="1"/>
      <p:bldP spid="181" grpId="0"/>
      <p:bldP spid="182" grpId="0" animBg="1"/>
      <p:bldP spid="183" grpId="0"/>
      <p:bldP spid="184" grpId="0" animBg="1"/>
      <p:bldP spid="185" grpId="0"/>
      <p:bldP spid="186" grpId="0" animBg="1"/>
      <p:bldP spid="187" grpId="0"/>
      <p:bldP spid="188" grpId="0" animBg="1"/>
      <p:bldP spid="189" grpId="0"/>
      <p:bldP spid="190" grpId="0" animBg="1"/>
      <p:bldP spid="191" grpId="0"/>
      <p:bldP spid="192" grpId="0" animBg="1"/>
      <p:bldP spid="193" grpId="0"/>
      <p:bldP spid="194" grpId="0" animBg="1"/>
      <p:bldP spid="195" grpId="0"/>
      <p:bldP spid="196" grpId="0"/>
      <p:bldP spid="197" grpId="0" animBg="1"/>
      <p:bldP spid="198" grpId="0"/>
      <p:bldP spid="199" grpId="0" animBg="1"/>
      <p:bldP spid="200" grpId="0"/>
      <p:bldP spid="201" grpId="0" animBg="1"/>
      <p:bldP spid="202" grpId="0"/>
      <p:bldP spid="203" grpId="0" animBg="1"/>
      <p:bldP spid="204" grpId="0"/>
      <p:bldP spid="4" grpId="0" animBg="1"/>
      <p:bldP spid="5"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Platshållare för text 17"/>
          <p:cNvSpPr>
            <a:spLocks noGrp="1"/>
          </p:cNvSpPr>
          <p:nvPr>
            <p:ph type="body" sz="quarter" idx="13"/>
          </p:nvPr>
        </p:nvSpPr>
        <p:spPr>
          <a:xfrm>
            <a:off x="360000" y="696565"/>
            <a:ext cx="8424000" cy="270000"/>
          </a:xfrm>
        </p:spPr>
        <p:txBody>
          <a:bodyPr/>
          <a:lstStyle/>
          <a:p>
            <a:r>
              <a:rPr lang="sv-SE" dirty="0" err="1"/>
              <a:t>How</a:t>
            </a:r>
            <a:r>
              <a:rPr lang="sv-SE" dirty="0"/>
              <a:t> to </a:t>
            </a:r>
            <a:r>
              <a:rPr lang="sv-SE" dirty="0" err="1"/>
              <a:t>automate</a:t>
            </a:r>
            <a:r>
              <a:rPr lang="sv-SE" dirty="0"/>
              <a:t> underground?</a:t>
            </a:r>
          </a:p>
        </p:txBody>
      </p:sp>
      <p:sp>
        <p:nvSpPr>
          <p:cNvPr id="19" name="Rubrik 18"/>
          <p:cNvSpPr>
            <a:spLocks noGrp="1"/>
          </p:cNvSpPr>
          <p:nvPr>
            <p:ph type="title"/>
          </p:nvPr>
        </p:nvSpPr>
        <p:spPr>
          <a:xfrm>
            <a:off x="360000" y="207535"/>
            <a:ext cx="8424000" cy="360000"/>
          </a:xfrm>
        </p:spPr>
        <p:txBody>
          <a:bodyPr/>
          <a:lstStyle/>
          <a:p>
            <a:r>
              <a:rPr lang="sv-SE" dirty="0"/>
              <a:t>Automation in mining</a:t>
            </a:r>
          </a:p>
        </p:txBody>
      </p:sp>
      <p:grpSp>
        <p:nvGrpSpPr>
          <p:cNvPr id="4" name="Ryhmä 209">
            <a:extLst>
              <a:ext uri="{FF2B5EF4-FFF2-40B4-BE49-F238E27FC236}">
                <a16:creationId xmlns:a16="http://schemas.microsoft.com/office/drawing/2014/main" id="{5957A142-F4D1-454C-8409-BE7C6F998CA5}"/>
              </a:ext>
            </a:extLst>
          </p:cNvPr>
          <p:cNvGrpSpPr>
            <a:grpSpLocks noChangeAspect="1"/>
          </p:cNvGrpSpPr>
          <p:nvPr/>
        </p:nvGrpSpPr>
        <p:grpSpPr>
          <a:xfrm>
            <a:off x="5472100" y="2931790"/>
            <a:ext cx="2970331" cy="1980222"/>
            <a:chOff x="2920904" y="3487243"/>
            <a:chExt cx="1219048" cy="812699"/>
          </a:xfrm>
        </p:grpSpPr>
        <p:grpSp>
          <p:nvGrpSpPr>
            <p:cNvPr id="5" name="Ryhmä 63">
              <a:extLst>
                <a:ext uri="{FF2B5EF4-FFF2-40B4-BE49-F238E27FC236}">
                  <a16:creationId xmlns:a16="http://schemas.microsoft.com/office/drawing/2014/main" id="{80AEF65D-9A88-4725-B24F-844A1BB0E7BB}"/>
                </a:ext>
              </a:extLst>
            </p:cNvPr>
            <p:cNvGrpSpPr/>
            <p:nvPr/>
          </p:nvGrpSpPr>
          <p:grpSpPr>
            <a:xfrm>
              <a:off x="2920904" y="3487243"/>
              <a:ext cx="1219048" cy="812699"/>
              <a:chOff x="683568" y="3363838"/>
              <a:chExt cx="1219048" cy="812699"/>
            </a:xfrm>
          </p:grpSpPr>
          <p:pic>
            <p:nvPicPr>
              <p:cNvPr id="7" name="Kuva 64" descr="luola2.png">
                <a:extLst>
                  <a:ext uri="{FF2B5EF4-FFF2-40B4-BE49-F238E27FC236}">
                    <a16:creationId xmlns:a16="http://schemas.microsoft.com/office/drawing/2014/main" id="{2161C983-B2CB-45B1-856E-DFD91C856C7E}"/>
                  </a:ext>
                </a:extLst>
              </p:cNvPr>
              <p:cNvPicPr>
                <a:picLocks noChangeAspect="1"/>
              </p:cNvPicPr>
              <p:nvPr/>
            </p:nvPicPr>
            <p:blipFill>
              <a:blip r:embed="rId3" cstate="print"/>
              <a:stretch>
                <a:fillRect/>
              </a:stretch>
            </p:blipFill>
            <p:spPr>
              <a:xfrm>
                <a:off x="683568" y="3363838"/>
                <a:ext cx="1219048" cy="812699"/>
              </a:xfrm>
              <a:prstGeom prst="rect">
                <a:avLst/>
              </a:prstGeom>
            </p:spPr>
          </p:pic>
          <p:pic>
            <p:nvPicPr>
              <p:cNvPr id="8" name="Kuva 65">
                <a:extLst>
                  <a:ext uri="{FF2B5EF4-FFF2-40B4-BE49-F238E27FC236}">
                    <a16:creationId xmlns:a16="http://schemas.microsoft.com/office/drawing/2014/main" id="{9584F30D-0DB3-4777-A05C-2A0C9AF2E3E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rot="3600000">
                <a:off x="756000" y="3906000"/>
                <a:ext cx="202693" cy="50292"/>
              </a:xfrm>
              <a:prstGeom prst="rect">
                <a:avLst/>
              </a:prstGeom>
            </p:spPr>
          </p:pic>
        </p:grpSp>
        <p:pic>
          <p:nvPicPr>
            <p:cNvPr id="6" name="Kuva 139">
              <a:extLst>
                <a:ext uri="{FF2B5EF4-FFF2-40B4-BE49-F238E27FC236}">
                  <a16:creationId xmlns:a16="http://schemas.microsoft.com/office/drawing/2014/main" id="{6998C253-AA2D-48E6-A34A-F4DE475B601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rot="19400751">
              <a:off x="3438232" y="3978096"/>
              <a:ext cx="202693" cy="50292"/>
            </a:xfrm>
            <a:prstGeom prst="rect">
              <a:avLst/>
            </a:prstGeom>
          </p:spPr>
        </p:pic>
      </p:grpSp>
      <p:grpSp>
        <p:nvGrpSpPr>
          <p:cNvPr id="9" name="Ryhmä 115">
            <a:extLst>
              <a:ext uri="{FF2B5EF4-FFF2-40B4-BE49-F238E27FC236}">
                <a16:creationId xmlns:a16="http://schemas.microsoft.com/office/drawing/2014/main" id="{58463EFF-E65A-48B2-87CC-BFB6FBCC9CF0}"/>
              </a:ext>
            </a:extLst>
          </p:cNvPr>
          <p:cNvGrpSpPr/>
          <p:nvPr/>
        </p:nvGrpSpPr>
        <p:grpSpPr>
          <a:xfrm>
            <a:off x="611560" y="1002012"/>
            <a:ext cx="2745305" cy="1858263"/>
            <a:chOff x="2675897" y="1779662"/>
            <a:chExt cx="2290189" cy="1462856"/>
          </a:xfrm>
        </p:grpSpPr>
        <p:pic>
          <p:nvPicPr>
            <p:cNvPr id="10" name="Kuva 106" descr="os_cabinet.png">
              <a:extLst>
                <a:ext uri="{FF2B5EF4-FFF2-40B4-BE49-F238E27FC236}">
                  <a16:creationId xmlns:a16="http://schemas.microsoft.com/office/drawing/2014/main" id="{80227081-E26C-4571-8A06-6F82808D3B45}"/>
                </a:ext>
              </a:extLst>
            </p:cNvPr>
            <p:cNvPicPr>
              <a:picLocks noChangeAspect="1"/>
            </p:cNvPicPr>
            <p:nvPr/>
          </p:nvPicPr>
          <p:blipFill>
            <a:blip r:embed="rId5" cstate="print"/>
            <a:stretch>
              <a:fillRect/>
            </a:stretch>
          </p:blipFill>
          <p:spPr>
            <a:xfrm>
              <a:off x="2771800" y="1995686"/>
              <a:ext cx="2194286" cy="1234286"/>
            </a:xfrm>
            <a:prstGeom prst="rect">
              <a:avLst/>
            </a:prstGeom>
          </p:spPr>
        </p:pic>
        <p:pic>
          <p:nvPicPr>
            <p:cNvPr id="11" name="Kuva 105" descr="tuoli_joystick.png">
              <a:extLst>
                <a:ext uri="{FF2B5EF4-FFF2-40B4-BE49-F238E27FC236}">
                  <a16:creationId xmlns:a16="http://schemas.microsoft.com/office/drawing/2014/main" id="{FB406893-84F6-43BC-B842-DF84EAE25890}"/>
                </a:ext>
              </a:extLst>
            </p:cNvPr>
            <p:cNvPicPr>
              <a:picLocks noChangeAspect="1"/>
            </p:cNvPicPr>
            <p:nvPr/>
          </p:nvPicPr>
          <p:blipFill>
            <a:blip r:embed="rId6" cstate="print"/>
            <a:stretch>
              <a:fillRect/>
            </a:stretch>
          </p:blipFill>
          <p:spPr>
            <a:xfrm flipH="1">
              <a:off x="2675897" y="1779662"/>
              <a:ext cx="822857" cy="1462856"/>
            </a:xfrm>
            <a:prstGeom prst="rect">
              <a:avLst/>
            </a:prstGeom>
          </p:spPr>
        </p:pic>
      </p:grpSp>
      <p:grpSp>
        <p:nvGrpSpPr>
          <p:cNvPr id="12" name="Grupp 13">
            <a:extLst>
              <a:ext uri="{FF2B5EF4-FFF2-40B4-BE49-F238E27FC236}">
                <a16:creationId xmlns:a16="http://schemas.microsoft.com/office/drawing/2014/main" id="{F39639FB-595E-4D0D-8CFA-30C450F5D9E7}"/>
              </a:ext>
            </a:extLst>
          </p:cNvPr>
          <p:cNvGrpSpPr/>
          <p:nvPr/>
        </p:nvGrpSpPr>
        <p:grpSpPr>
          <a:xfrm>
            <a:off x="3221850" y="2282540"/>
            <a:ext cx="1977530" cy="1123596"/>
            <a:chOff x="989851" y="1283518"/>
            <a:chExt cx="1977530" cy="1123596"/>
          </a:xfrm>
        </p:grpSpPr>
        <p:pic>
          <p:nvPicPr>
            <p:cNvPr id="14" name="Bildobjekt 11">
              <a:extLst>
                <a:ext uri="{FF2B5EF4-FFF2-40B4-BE49-F238E27FC236}">
                  <a16:creationId xmlns:a16="http://schemas.microsoft.com/office/drawing/2014/main" id="{2D50CB80-C8AD-4E80-A67E-B30C0B0D436A}"/>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989851" y="1283518"/>
              <a:ext cx="1977530" cy="1123596"/>
            </a:xfrm>
            <a:prstGeom prst="rect">
              <a:avLst/>
            </a:prstGeom>
            <a:effectLst>
              <a:outerShdw blurRad="50800" dist="25400" dir="2700000" algn="tl" rotWithShape="0">
                <a:prstClr val="black">
                  <a:alpha val="40000"/>
                </a:prstClr>
              </a:outerShdw>
            </a:effectLst>
          </p:spPr>
        </p:pic>
        <p:pic>
          <p:nvPicPr>
            <p:cNvPr id="15" name="Bildobjekt 1">
              <a:extLst>
                <a:ext uri="{FF2B5EF4-FFF2-40B4-BE49-F238E27FC236}">
                  <a16:creationId xmlns:a16="http://schemas.microsoft.com/office/drawing/2014/main" id="{860D13A6-FDFE-4FC2-9315-CB53659B4B24}"/>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1056370" y="1309660"/>
              <a:ext cx="1851944" cy="1062000"/>
            </a:xfrm>
            <a:prstGeom prst="rect">
              <a:avLst/>
            </a:prstGeom>
          </p:spPr>
        </p:pic>
      </p:grpSp>
    </p:spTree>
    <p:extLst>
      <p:ext uri="{BB962C8B-B14F-4D97-AF65-F5344CB8AC3E}">
        <p14:creationId xmlns:p14="http://schemas.microsoft.com/office/powerpoint/2010/main" val="1496845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500"/>
                                        <p:tgtEl>
                                          <p:spTgt spid="1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
                                        </p:tgtEl>
                                        <p:attrNameLst>
                                          <p:attrName>style.visibility</p:attrName>
                                        </p:attrNameLst>
                                      </p:cBhvr>
                                      <p:to>
                                        <p:strVal val="visible"/>
                                      </p:to>
                                    </p:set>
                                    <p:animEffect transition="in" filter="fade">
                                      <p:cBhvr>
                                        <p:cTn id="1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Platshållare för text 17"/>
          <p:cNvSpPr>
            <a:spLocks noGrp="1"/>
          </p:cNvSpPr>
          <p:nvPr>
            <p:ph type="body" sz="quarter" idx="13"/>
          </p:nvPr>
        </p:nvSpPr>
        <p:spPr>
          <a:xfrm>
            <a:off x="360000" y="696565"/>
            <a:ext cx="8424000" cy="270000"/>
          </a:xfrm>
        </p:spPr>
        <p:txBody>
          <a:bodyPr/>
          <a:lstStyle/>
          <a:p>
            <a:r>
              <a:rPr lang="sv-SE" dirty="0" err="1"/>
              <a:t>How</a:t>
            </a:r>
            <a:r>
              <a:rPr lang="sv-SE" dirty="0"/>
              <a:t> to </a:t>
            </a:r>
            <a:r>
              <a:rPr lang="sv-SE" dirty="0" err="1"/>
              <a:t>automate</a:t>
            </a:r>
            <a:r>
              <a:rPr lang="sv-SE" dirty="0"/>
              <a:t> underground?</a:t>
            </a:r>
          </a:p>
          <a:p>
            <a:r>
              <a:rPr lang="sv-SE" dirty="0"/>
              <a:t>Production area</a:t>
            </a:r>
          </a:p>
        </p:txBody>
      </p:sp>
      <p:sp>
        <p:nvSpPr>
          <p:cNvPr id="19" name="Rubrik 18"/>
          <p:cNvSpPr>
            <a:spLocks noGrp="1"/>
          </p:cNvSpPr>
          <p:nvPr>
            <p:ph type="title"/>
          </p:nvPr>
        </p:nvSpPr>
        <p:spPr>
          <a:xfrm>
            <a:off x="360000" y="207535"/>
            <a:ext cx="8424000" cy="360000"/>
          </a:xfrm>
        </p:spPr>
        <p:txBody>
          <a:bodyPr/>
          <a:lstStyle/>
          <a:p>
            <a:r>
              <a:rPr lang="sv-SE" dirty="0"/>
              <a:t>Automation in mining</a:t>
            </a:r>
          </a:p>
        </p:txBody>
      </p:sp>
      <p:pic>
        <p:nvPicPr>
          <p:cNvPr id="7" name="Kuva 64" descr="luola2.png">
            <a:extLst>
              <a:ext uri="{FF2B5EF4-FFF2-40B4-BE49-F238E27FC236}">
                <a16:creationId xmlns:a16="http://schemas.microsoft.com/office/drawing/2014/main" id="{EFB9A297-9DE3-4B03-AEB6-12A0ED738BB0}"/>
              </a:ext>
            </a:extLst>
          </p:cNvPr>
          <p:cNvPicPr>
            <a:picLocks noChangeAspect="1"/>
          </p:cNvPicPr>
          <p:nvPr/>
        </p:nvPicPr>
        <p:blipFill>
          <a:blip r:embed="rId3" cstate="print"/>
          <a:stretch>
            <a:fillRect/>
          </a:stretch>
        </p:blipFill>
        <p:spPr>
          <a:xfrm>
            <a:off x="656565" y="207535"/>
            <a:ext cx="8127435" cy="5153986"/>
          </a:xfrm>
          <a:prstGeom prst="rect">
            <a:avLst/>
          </a:prstGeom>
        </p:spPr>
      </p:pic>
      <p:sp>
        <p:nvSpPr>
          <p:cNvPr id="12" name="Rectangle 11">
            <a:extLst>
              <a:ext uri="{FF2B5EF4-FFF2-40B4-BE49-F238E27FC236}">
                <a16:creationId xmlns:a16="http://schemas.microsoft.com/office/drawing/2014/main" id="{1509273E-1089-486D-8022-393AF5BF9A6B}"/>
              </a:ext>
            </a:extLst>
          </p:cNvPr>
          <p:cNvSpPr/>
          <p:nvPr/>
        </p:nvSpPr>
        <p:spPr>
          <a:xfrm>
            <a:off x="6012160" y="1176595"/>
            <a:ext cx="135015" cy="180020"/>
          </a:xfrm>
          <a:prstGeom prst="rect">
            <a:avLst/>
          </a:prstGeom>
          <a:solidFill>
            <a:schemeClr val="bg1"/>
          </a:solidFill>
          <a:ln w="31750">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3" name="Plus Sign 12">
            <a:extLst>
              <a:ext uri="{FF2B5EF4-FFF2-40B4-BE49-F238E27FC236}">
                <a16:creationId xmlns:a16="http://schemas.microsoft.com/office/drawing/2014/main" id="{B859B523-7943-4156-8541-4EB522A7B7EA}"/>
              </a:ext>
            </a:extLst>
          </p:cNvPr>
          <p:cNvSpPr/>
          <p:nvPr/>
        </p:nvSpPr>
        <p:spPr>
          <a:xfrm>
            <a:off x="6012160" y="1348379"/>
            <a:ext cx="147711" cy="180020"/>
          </a:xfrm>
          <a:prstGeom prst="mathPlus">
            <a:avLst/>
          </a:prstGeom>
          <a:solidFill>
            <a:schemeClr val="bg1"/>
          </a:solidFill>
          <a:ln w="19050">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4" name="Rectangle 13">
            <a:extLst>
              <a:ext uri="{FF2B5EF4-FFF2-40B4-BE49-F238E27FC236}">
                <a16:creationId xmlns:a16="http://schemas.microsoft.com/office/drawing/2014/main" id="{A31B9E44-CE44-4C4D-813F-709B7053F5F2}"/>
              </a:ext>
            </a:extLst>
          </p:cNvPr>
          <p:cNvSpPr/>
          <p:nvPr/>
        </p:nvSpPr>
        <p:spPr>
          <a:xfrm>
            <a:off x="2906815" y="3289971"/>
            <a:ext cx="135015" cy="180020"/>
          </a:xfrm>
          <a:prstGeom prst="rect">
            <a:avLst/>
          </a:prstGeom>
          <a:solidFill>
            <a:schemeClr val="bg1"/>
          </a:solidFill>
          <a:ln w="31750">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5" name="Plus Sign 14">
            <a:extLst>
              <a:ext uri="{FF2B5EF4-FFF2-40B4-BE49-F238E27FC236}">
                <a16:creationId xmlns:a16="http://schemas.microsoft.com/office/drawing/2014/main" id="{78DFA73E-451B-44AA-BB23-3A9CEACA2387}"/>
              </a:ext>
            </a:extLst>
          </p:cNvPr>
          <p:cNvSpPr/>
          <p:nvPr/>
        </p:nvSpPr>
        <p:spPr>
          <a:xfrm>
            <a:off x="2906815" y="3461755"/>
            <a:ext cx="147711" cy="180020"/>
          </a:xfrm>
          <a:prstGeom prst="mathPlus">
            <a:avLst/>
          </a:prstGeom>
          <a:solidFill>
            <a:schemeClr val="bg1"/>
          </a:solidFill>
          <a:ln w="19050">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6" name="Rectangle 15">
            <a:extLst>
              <a:ext uri="{FF2B5EF4-FFF2-40B4-BE49-F238E27FC236}">
                <a16:creationId xmlns:a16="http://schemas.microsoft.com/office/drawing/2014/main" id="{96520B0C-B424-42D6-86BB-A06DDB4CB5C7}"/>
              </a:ext>
            </a:extLst>
          </p:cNvPr>
          <p:cNvSpPr/>
          <p:nvPr/>
        </p:nvSpPr>
        <p:spPr>
          <a:xfrm>
            <a:off x="4977045" y="1631279"/>
            <a:ext cx="135015" cy="180020"/>
          </a:xfrm>
          <a:prstGeom prst="rect">
            <a:avLst/>
          </a:prstGeom>
          <a:solidFill>
            <a:schemeClr val="bg1"/>
          </a:solidFill>
          <a:ln w="31750">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7" name="Plus Sign 16">
            <a:extLst>
              <a:ext uri="{FF2B5EF4-FFF2-40B4-BE49-F238E27FC236}">
                <a16:creationId xmlns:a16="http://schemas.microsoft.com/office/drawing/2014/main" id="{53B61234-D716-4EE7-B2CB-44976D051E11}"/>
              </a:ext>
            </a:extLst>
          </p:cNvPr>
          <p:cNvSpPr/>
          <p:nvPr/>
        </p:nvSpPr>
        <p:spPr>
          <a:xfrm>
            <a:off x="4977045" y="1803063"/>
            <a:ext cx="147711" cy="180020"/>
          </a:xfrm>
          <a:prstGeom prst="mathPlus">
            <a:avLst/>
          </a:prstGeom>
          <a:solidFill>
            <a:schemeClr val="bg1"/>
          </a:solidFill>
          <a:ln w="19050">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0" name="Rectangle 19">
            <a:extLst>
              <a:ext uri="{FF2B5EF4-FFF2-40B4-BE49-F238E27FC236}">
                <a16:creationId xmlns:a16="http://schemas.microsoft.com/office/drawing/2014/main" id="{3378B2A3-4F66-4473-9D1C-026A36B70E4F}"/>
              </a:ext>
            </a:extLst>
          </p:cNvPr>
          <p:cNvSpPr/>
          <p:nvPr/>
        </p:nvSpPr>
        <p:spPr>
          <a:xfrm>
            <a:off x="4577230" y="2899177"/>
            <a:ext cx="135015" cy="180020"/>
          </a:xfrm>
          <a:prstGeom prst="rect">
            <a:avLst/>
          </a:prstGeom>
          <a:solidFill>
            <a:schemeClr val="bg1"/>
          </a:solidFill>
          <a:ln w="31750">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1" name="Plus Sign 20">
            <a:extLst>
              <a:ext uri="{FF2B5EF4-FFF2-40B4-BE49-F238E27FC236}">
                <a16:creationId xmlns:a16="http://schemas.microsoft.com/office/drawing/2014/main" id="{334F1114-17DD-4791-B933-1F264649E135}"/>
              </a:ext>
            </a:extLst>
          </p:cNvPr>
          <p:cNvSpPr/>
          <p:nvPr/>
        </p:nvSpPr>
        <p:spPr>
          <a:xfrm>
            <a:off x="4577230" y="3070961"/>
            <a:ext cx="147711" cy="180020"/>
          </a:xfrm>
          <a:prstGeom prst="mathPlus">
            <a:avLst/>
          </a:prstGeom>
          <a:solidFill>
            <a:schemeClr val="bg1"/>
          </a:solidFill>
          <a:ln w="19050">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2" name="Rectangle 21">
            <a:extLst>
              <a:ext uri="{FF2B5EF4-FFF2-40B4-BE49-F238E27FC236}">
                <a16:creationId xmlns:a16="http://schemas.microsoft.com/office/drawing/2014/main" id="{CDAFE486-EC68-4ED1-A6A2-164D76DE0DCC}"/>
              </a:ext>
            </a:extLst>
          </p:cNvPr>
          <p:cNvSpPr/>
          <p:nvPr/>
        </p:nvSpPr>
        <p:spPr>
          <a:xfrm>
            <a:off x="680285" y="1503111"/>
            <a:ext cx="135015" cy="180020"/>
          </a:xfrm>
          <a:prstGeom prst="rect">
            <a:avLst/>
          </a:prstGeom>
          <a:solidFill>
            <a:schemeClr val="bg1"/>
          </a:solidFill>
          <a:ln w="31750">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3" name="Plus Sign 22">
            <a:extLst>
              <a:ext uri="{FF2B5EF4-FFF2-40B4-BE49-F238E27FC236}">
                <a16:creationId xmlns:a16="http://schemas.microsoft.com/office/drawing/2014/main" id="{F81F0676-ABCD-473B-B8AC-B8530F3F2049}"/>
              </a:ext>
            </a:extLst>
          </p:cNvPr>
          <p:cNvSpPr/>
          <p:nvPr/>
        </p:nvSpPr>
        <p:spPr>
          <a:xfrm>
            <a:off x="680285" y="1674895"/>
            <a:ext cx="147711" cy="180020"/>
          </a:xfrm>
          <a:prstGeom prst="mathPlus">
            <a:avLst/>
          </a:prstGeom>
          <a:solidFill>
            <a:schemeClr val="bg1"/>
          </a:solidFill>
          <a:ln w="19050">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pic>
        <p:nvPicPr>
          <p:cNvPr id="24" name="Kuva 65">
            <a:extLst>
              <a:ext uri="{FF2B5EF4-FFF2-40B4-BE49-F238E27FC236}">
                <a16:creationId xmlns:a16="http://schemas.microsoft.com/office/drawing/2014/main" id="{A6CF37BB-5BA5-4041-97ED-45E866EE64F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rot="3600000">
            <a:off x="563320" y="2348615"/>
            <a:ext cx="456520" cy="172487"/>
          </a:xfrm>
          <a:prstGeom prst="rect">
            <a:avLst/>
          </a:prstGeom>
        </p:spPr>
      </p:pic>
      <p:sp>
        <p:nvSpPr>
          <p:cNvPr id="10" name="Rectangle 9">
            <a:extLst>
              <a:ext uri="{FF2B5EF4-FFF2-40B4-BE49-F238E27FC236}">
                <a16:creationId xmlns:a16="http://schemas.microsoft.com/office/drawing/2014/main" id="{732A8F78-69FD-49F2-A29F-77E63140882F}"/>
              </a:ext>
            </a:extLst>
          </p:cNvPr>
          <p:cNvSpPr/>
          <p:nvPr/>
        </p:nvSpPr>
        <p:spPr>
          <a:xfrm>
            <a:off x="616743" y="1932113"/>
            <a:ext cx="137398" cy="180000"/>
          </a:xfrm>
          <a:prstGeom prst="rect">
            <a:avLst/>
          </a:prstGeom>
          <a:solidFill>
            <a:srgbClr val="FFC000"/>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5" name="Rectangle 24">
            <a:extLst>
              <a:ext uri="{FF2B5EF4-FFF2-40B4-BE49-F238E27FC236}">
                <a16:creationId xmlns:a16="http://schemas.microsoft.com/office/drawing/2014/main" id="{4A6051FF-DDE1-473E-913F-0D59F98F35A1}"/>
              </a:ext>
            </a:extLst>
          </p:cNvPr>
          <p:cNvSpPr/>
          <p:nvPr/>
        </p:nvSpPr>
        <p:spPr>
          <a:xfrm>
            <a:off x="754141" y="1983083"/>
            <a:ext cx="165018" cy="129030"/>
          </a:xfrm>
          <a:prstGeom prst="rect">
            <a:avLst/>
          </a:prstGeom>
          <a:solidFill>
            <a:srgbClr val="FFC000"/>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6" name="Rectangle 25">
            <a:extLst>
              <a:ext uri="{FF2B5EF4-FFF2-40B4-BE49-F238E27FC236}">
                <a16:creationId xmlns:a16="http://schemas.microsoft.com/office/drawing/2014/main" id="{D3052E4A-05C0-49B8-BF32-86D34FD3D9A7}"/>
              </a:ext>
            </a:extLst>
          </p:cNvPr>
          <p:cNvSpPr/>
          <p:nvPr/>
        </p:nvSpPr>
        <p:spPr>
          <a:xfrm>
            <a:off x="5316783" y="3724218"/>
            <a:ext cx="137398" cy="180000"/>
          </a:xfrm>
          <a:prstGeom prst="rect">
            <a:avLst/>
          </a:prstGeom>
          <a:solidFill>
            <a:srgbClr val="FFC000"/>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7" name="Rectangle 26">
            <a:extLst>
              <a:ext uri="{FF2B5EF4-FFF2-40B4-BE49-F238E27FC236}">
                <a16:creationId xmlns:a16="http://schemas.microsoft.com/office/drawing/2014/main" id="{C61CFE40-5F9F-4237-B34B-DF7D52F7AEFE}"/>
              </a:ext>
            </a:extLst>
          </p:cNvPr>
          <p:cNvSpPr/>
          <p:nvPr/>
        </p:nvSpPr>
        <p:spPr>
          <a:xfrm>
            <a:off x="5454181" y="3775188"/>
            <a:ext cx="165018" cy="129030"/>
          </a:xfrm>
          <a:prstGeom prst="rect">
            <a:avLst/>
          </a:prstGeom>
          <a:solidFill>
            <a:srgbClr val="FFC000"/>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8" name="Rectangle 27">
            <a:extLst>
              <a:ext uri="{FF2B5EF4-FFF2-40B4-BE49-F238E27FC236}">
                <a16:creationId xmlns:a16="http://schemas.microsoft.com/office/drawing/2014/main" id="{11ADEEBC-8BBE-40DC-BEBA-471BCCAA53F6}"/>
              </a:ext>
            </a:extLst>
          </p:cNvPr>
          <p:cNvSpPr/>
          <p:nvPr/>
        </p:nvSpPr>
        <p:spPr>
          <a:xfrm>
            <a:off x="1130110" y="3829558"/>
            <a:ext cx="137398" cy="180000"/>
          </a:xfrm>
          <a:prstGeom prst="rect">
            <a:avLst/>
          </a:prstGeom>
          <a:solidFill>
            <a:srgbClr val="FFC000"/>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9" name="Rectangle 28">
            <a:extLst>
              <a:ext uri="{FF2B5EF4-FFF2-40B4-BE49-F238E27FC236}">
                <a16:creationId xmlns:a16="http://schemas.microsoft.com/office/drawing/2014/main" id="{8C8CECFB-B64F-442D-B472-5B7735A587D8}"/>
              </a:ext>
            </a:extLst>
          </p:cNvPr>
          <p:cNvSpPr/>
          <p:nvPr/>
        </p:nvSpPr>
        <p:spPr>
          <a:xfrm>
            <a:off x="1267508" y="3880528"/>
            <a:ext cx="165018" cy="129030"/>
          </a:xfrm>
          <a:prstGeom prst="rect">
            <a:avLst/>
          </a:prstGeom>
          <a:solidFill>
            <a:srgbClr val="FFC000"/>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1" name="TextBox 10">
            <a:extLst>
              <a:ext uri="{FF2B5EF4-FFF2-40B4-BE49-F238E27FC236}">
                <a16:creationId xmlns:a16="http://schemas.microsoft.com/office/drawing/2014/main" id="{CB2FE11A-A86A-41B8-A021-7FEC3A047CF7}"/>
              </a:ext>
            </a:extLst>
          </p:cNvPr>
          <p:cNvSpPr txBox="1"/>
          <p:nvPr/>
        </p:nvSpPr>
        <p:spPr>
          <a:xfrm>
            <a:off x="1004499" y="1486871"/>
            <a:ext cx="2655295" cy="369332"/>
          </a:xfrm>
          <a:prstGeom prst="rect">
            <a:avLst/>
          </a:prstGeom>
          <a:noFill/>
        </p:spPr>
        <p:txBody>
          <a:bodyPr wrap="square" rtlCol="0">
            <a:spAutoFit/>
          </a:bodyPr>
          <a:lstStyle/>
          <a:p>
            <a:r>
              <a:rPr lang="en-GB" dirty="0"/>
              <a:t>Wi-Fi Access Points</a:t>
            </a:r>
            <a:endParaRPr lang="en-IE" dirty="0"/>
          </a:p>
        </p:txBody>
      </p:sp>
      <p:sp>
        <p:nvSpPr>
          <p:cNvPr id="30" name="TextBox 29">
            <a:extLst>
              <a:ext uri="{FF2B5EF4-FFF2-40B4-BE49-F238E27FC236}">
                <a16:creationId xmlns:a16="http://schemas.microsoft.com/office/drawing/2014/main" id="{52FD76BE-F9EA-4236-B0F3-E120CB5F9E77}"/>
              </a:ext>
            </a:extLst>
          </p:cNvPr>
          <p:cNvSpPr txBox="1"/>
          <p:nvPr/>
        </p:nvSpPr>
        <p:spPr>
          <a:xfrm>
            <a:off x="1004501" y="2211015"/>
            <a:ext cx="2655295" cy="369332"/>
          </a:xfrm>
          <a:prstGeom prst="rect">
            <a:avLst/>
          </a:prstGeom>
          <a:noFill/>
        </p:spPr>
        <p:txBody>
          <a:bodyPr wrap="square" rtlCol="0">
            <a:spAutoFit/>
          </a:bodyPr>
          <a:lstStyle/>
          <a:p>
            <a:r>
              <a:rPr lang="en-GB" dirty="0"/>
              <a:t>Lazer Gate Barrier</a:t>
            </a:r>
            <a:endParaRPr lang="en-IE" dirty="0"/>
          </a:p>
        </p:txBody>
      </p:sp>
      <p:sp>
        <p:nvSpPr>
          <p:cNvPr id="31" name="TextBox 30">
            <a:extLst>
              <a:ext uri="{FF2B5EF4-FFF2-40B4-BE49-F238E27FC236}">
                <a16:creationId xmlns:a16="http://schemas.microsoft.com/office/drawing/2014/main" id="{C605FDBA-53B1-4395-AF62-C69D04B80FD1}"/>
              </a:ext>
            </a:extLst>
          </p:cNvPr>
          <p:cNvSpPr txBox="1"/>
          <p:nvPr/>
        </p:nvSpPr>
        <p:spPr>
          <a:xfrm>
            <a:off x="1004500" y="1874256"/>
            <a:ext cx="2655295" cy="369332"/>
          </a:xfrm>
          <a:prstGeom prst="rect">
            <a:avLst/>
          </a:prstGeom>
          <a:noFill/>
        </p:spPr>
        <p:txBody>
          <a:bodyPr wrap="square" rtlCol="0">
            <a:spAutoFit/>
          </a:bodyPr>
          <a:lstStyle/>
          <a:p>
            <a:r>
              <a:rPr lang="en-GB" dirty="0"/>
              <a:t>Interface Field Cabinets</a:t>
            </a:r>
            <a:endParaRPr lang="en-IE" dirty="0"/>
          </a:p>
        </p:txBody>
      </p:sp>
      <p:pic>
        <p:nvPicPr>
          <p:cNvPr id="32" name="Kuva 65">
            <a:extLst>
              <a:ext uri="{FF2B5EF4-FFF2-40B4-BE49-F238E27FC236}">
                <a16:creationId xmlns:a16="http://schemas.microsoft.com/office/drawing/2014/main" id="{C1403D6C-FFD6-4860-B8A4-3B139F871C8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rot="3600000">
            <a:off x="1583830" y="3458886"/>
            <a:ext cx="558825" cy="598927"/>
          </a:xfrm>
          <a:prstGeom prst="rect">
            <a:avLst/>
          </a:prstGeom>
        </p:spPr>
      </p:pic>
      <p:pic>
        <p:nvPicPr>
          <p:cNvPr id="33" name="Kuva 65">
            <a:extLst>
              <a:ext uri="{FF2B5EF4-FFF2-40B4-BE49-F238E27FC236}">
                <a16:creationId xmlns:a16="http://schemas.microsoft.com/office/drawing/2014/main" id="{D9358D48-7A05-4CCD-A549-531350A4C2E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rot="8689766">
            <a:off x="4601633" y="3497833"/>
            <a:ext cx="541098" cy="204443"/>
          </a:xfrm>
          <a:prstGeom prst="rect">
            <a:avLst/>
          </a:prstGeom>
        </p:spPr>
      </p:pic>
    </p:spTree>
    <p:extLst>
      <p:ext uri="{BB962C8B-B14F-4D97-AF65-F5344CB8AC3E}">
        <p14:creationId xmlns:p14="http://schemas.microsoft.com/office/powerpoint/2010/main" val="847826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8">
                                            <p:txEl>
                                              <p:pRg st="0" end="0"/>
                                            </p:txEl>
                                          </p:spTgt>
                                        </p:tgtEl>
                                        <p:attrNameLst>
                                          <p:attrName>style.visibility</p:attrName>
                                        </p:attrNameLst>
                                      </p:cBhvr>
                                      <p:to>
                                        <p:strVal val="visible"/>
                                      </p:to>
                                    </p:set>
                                    <p:animEffect transition="in" filter="fade">
                                      <p:cBhvr>
                                        <p:cTn id="10" dur="500"/>
                                        <p:tgtEl>
                                          <p:spTgt spid="18">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8">
                                            <p:txEl>
                                              <p:pRg st="1" end="1"/>
                                            </p:txEl>
                                          </p:spTgt>
                                        </p:tgtEl>
                                        <p:attrNameLst>
                                          <p:attrName>style.visibility</p:attrName>
                                        </p:attrNameLst>
                                      </p:cBhvr>
                                      <p:to>
                                        <p:strVal val="visible"/>
                                      </p:to>
                                    </p:set>
                                    <p:animEffect transition="in" filter="fade">
                                      <p:cBhvr>
                                        <p:cTn id="15" dur="500"/>
                                        <p:tgtEl>
                                          <p:spTgt spid="18">
                                            <p:txEl>
                                              <p:pRg st="1" end="1"/>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7"/>
                                        </p:tgtEl>
                                        <p:attrNameLst>
                                          <p:attrName>style.visibility</p:attrName>
                                        </p:attrNameLst>
                                      </p:cBhvr>
                                      <p:to>
                                        <p:strVal val="visible"/>
                                      </p:to>
                                    </p:set>
                                    <p:animEffect transition="in" filter="fade">
                                      <p:cBhvr>
                                        <p:cTn id="20" dur="500"/>
                                        <p:tgtEl>
                                          <p:spTgt spid="7"/>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22"/>
                                        </p:tgtEl>
                                        <p:attrNameLst>
                                          <p:attrName>style.visibility</p:attrName>
                                        </p:attrNameLst>
                                      </p:cBhvr>
                                      <p:to>
                                        <p:strVal val="visible"/>
                                      </p:to>
                                    </p:set>
                                    <p:animEffect transition="in" filter="fade">
                                      <p:cBhvr>
                                        <p:cTn id="25" dur="500"/>
                                        <p:tgtEl>
                                          <p:spTgt spid="22"/>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23"/>
                                        </p:tgtEl>
                                        <p:attrNameLst>
                                          <p:attrName>style.visibility</p:attrName>
                                        </p:attrNameLst>
                                      </p:cBhvr>
                                      <p:to>
                                        <p:strVal val="visible"/>
                                      </p:to>
                                    </p:set>
                                    <p:animEffect transition="in" filter="fade">
                                      <p:cBhvr>
                                        <p:cTn id="28" dur="500"/>
                                        <p:tgtEl>
                                          <p:spTgt spid="23"/>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11"/>
                                        </p:tgtEl>
                                        <p:attrNameLst>
                                          <p:attrName>style.visibility</p:attrName>
                                        </p:attrNameLst>
                                      </p:cBhvr>
                                      <p:to>
                                        <p:strVal val="visible"/>
                                      </p:to>
                                    </p:set>
                                    <p:animEffect transition="in" filter="fade">
                                      <p:cBhvr>
                                        <p:cTn id="33" dur="500"/>
                                        <p:tgtEl>
                                          <p:spTgt spid="11"/>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12"/>
                                        </p:tgtEl>
                                        <p:attrNameLst>
                                          <p:attrName>style.visibility</p:attrName>
                                        </p:attrNameLst>
                                      </p:cBhvr>
                                      <p:to>
                                        <p:strVal val="visible"/>
                                      </p:to>
                                    </p:set>
                                    <p:animEffect transition="in" filter="fade">
                                      <p:cBhvr>
                                        <p:cTn id="38" dur="500"/>
                                        <p:tgtEl>
                                          <p:spTgt spid="12"/>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3"/>
                                        </p:tgtEl>
                                        <p:attrNameLst>
                                          <p:attrName>style.visibility</p:attrName>
                                        </p:attrNameLst>
                                      </p:cBhvr>
                                      <p:to>
                                        <p:strVal val="visible"/>
                                      </p:to>
                                    </p:set>
                                    <p:animEffect transition="in" filter="fade">
                                      <p:cBhvr>
                                        <p:cTn id="41" dur="500"/>
                                        <p:tgtEl>
                                          <p:spTgt spid="13"/>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16"/>
                                        </p:tgtEl>
                                        <p:attrNameLst>
                                          <p:attrName>style.visibility</p:attrName>
                                        </p:attrNameLst>
                                      </p:cBhvr>
                                      <p:to>
                                        <p:strVal val="visible"/>
                                      </p:to>
                                    </p:set>
                                    <p:animEffect transition="in" filter="fade">
                                      <p:cBhvr>
                                        <p:cTn id="44" dur="500"/>
                                        <p:tgtEl>
                                          <p:spTgt spid="16"/>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17"/>
                                        </p:tgtEl>
                                        <p:attrNameLst>
                                          <p:attrName>style.visibility</p:attrName>
                                        </p:attrNameLst>
                                      </p:cBhvr>
                                      <p:to>
                                        <p:strVal val="visible"/>
                                      </p:to>
                                    </p:set>
                                    <p:animEffect transition="in" filter="fade">
                                      <p:cBhvr>
                                        <p:cTn id="47" dur="500"/>
                                        <p:tgtEl>
                                          <p:spTgt spid="17"/>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20"/>
                                        </p:tgtEl>
                                        <p:attrNameLst>
                                          <p:attrName>style.visibility</p:attrName>
                                        </p:attrNameLst>
                                      </p:cBhvr>
                                      <p:to>
                                        <p:strVal val="visible"/>
                                      </p:to>
                                    </p:set>
                                    <p:animEffect transition="in" filter="fade">
                                      <p:cBhvr>
                                        <p:cTn id="50" dur="500"/>
                                        <p:tgtEl>
                                          <p:spTgt spid="20"/>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500"/>
                                        <p:tgtEl>
                                          <p:spTgt spid="21"/>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14"/>
                                        </p:tgtEl>
                                        <p:attrNameLst>
                                          <p:attrName>style.visibility</p:attrName>
                                        </p:attrNameLst>
                                      </p:cBhvr>
                                      <p:to>
                                        <p:strVal val="visible"/>
                                      </p:to>
                                    </p:set>
                                    <p:animEffect transition="in" filter="fade">
                                      <p:cBhvr>
                                        <p:cTn id="56" dur="500"/>
                                        <p:tgtEl>
                                          <p:spTgt spid="14"/>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15"/>
                                        </p:tgtEl>
                                        <p:attrNameLst>
                                          <p:attrName>style.visibility</p:attrName>
                                        </p:attrNameLst>
                                      </p:cBhvr>
                                      <p:to>
                                        <p:strVal val="visible"/>
                                      </p:to>
                                    </p:set>
                                    <p:animEffect transition="in" filter="fade">
                                      <p:cBhvr>
                                        <p:cTn id="59" dur="500"/>
                                        <p:tgtEl>
                                          <p:spTgt spid="15"/>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0"/>
                                        </p:tgtEl>
                                        <p:attrNameLst>
                                          <p:attrName>style.visibility</p:attrName>
                                        </p:attrNameLst>
                                      </p:cBhvr>
                                      <p:to>
                                        <p:strVal val="visible"/>
                                      </p:to>
                                    </p:set>
                                    <p:animEffect transition="in" filter="fade">
                                      <p:cBhvr>
                                        <p:cTn id="64" dur="500"/>
                                        <p:tgtEl>
                                          <p:spTgt spid="10"/>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25"/>
                                        </p:tgtEl>
                                        <p:attrNameLst>
                                          <p:attrName>style.visibility</p:attrName>
                                        </p:attrNameLst>
                                      </p:cBhvr>
                                      <p:to>
                                        <p:strVal val="visible"/>
                                      </p:to>
                                    </p:set>
                                    <p:animEffect transition="in" filter="fade">
                                      <p:cBhvr>
                                        <p:cTn id="67" dur="500"/>
                                        <p:tgtEl>
                                          <p:spTgt spid="25"/>
                                        </p:tgtEl>
                                      </p:cBhvr>
                                    </p:animEffect>
                                  </p:childTnLst>
                                </p:cTn>
                              </p:par>
                            </p:childTnLst>
                          </p:cTn>
                        </p:par>
                      </p:childTnLst>
                    </p:cTn>
                  </p:par>
                  <p:par>
                    <p:cTn id="68" fill="hold">
                      <p:stCondLst>
                        <p:cond delay="indefinite"/>
                      </p:stCondLst>
                      <p:childTnLst>
                        <p:par>
                          <p:cTn id="69" fill="hold">
                            <p:stCondLst>
                              <p:cond delay="0"/>
                            </p:stCondLst>
                            <p:childTnLst>
                              <p:par>
                                <p:cTn id="70" presetID="10" presetClass="entr" presetSubtype="0" fill="hold" grpId="0" nodeType="clickEffect">
                                  <p:stCondLst>
                                    <p:cond delay="0"/>
                                  </p:stCondLst>
                                  <p:childTnLst>
                                    <p:set>
                                      <p:cBhvr>
                                        <p:cTn id="71" dur="1" fill="hold">
                                          <p:stCondLst>
                                            <p:cond delay="0"/>
                                          </p:stCondLst>
                                        </p:cTn>
                                        <p:tgtEl>
                                          <p:spTgt spid="31"/>
                                        </p:tgtEl>
                                        <p:attrNameLst>
                                          <p:attrName>style.visibility</p:attrName>
                                        </p:attrNameLst>
                                      </p:cBhvr>
                                      <p:to>
                                        <p:strVal val="visible"/>
                                      </p:to>
                                    </p:set>
                                    <p:animEffect transition="in" filter="fade">
                                      <p:cBhvr>
                                        <p:cTn id="72" dur="500"/>
                                        <p:tgtEl>
                                          <p:spTgt spid="31"/>
                                        </p:tgtEl>
                                      </p:cBhvr>
                                    </p:animEffect>
                                  </p:childTnLst>
                                </p:cTn>
                              </p:par>
                            </p:childTnLst>
                          </p:cTn>
                        </p:par>
                      </p:childTnLst>
                    </p:cTn>
                  </p:par>
                  <p:par>
                    <p:cTn id="73" fill="hold">
                      <p:stCondLst>
                        <p:cond delay="indefinite"/>
                      </p:stCondLst>
                      <p:childTnLst>
                        <p:par>
                          <p:cTn id="74" fill="hold">
                            <p:stCondLst>
                              <p:cond delay="0"/>
                            </p:stCondLst>
                            <p:childTnLst>
                              <p:par>
                                <p:cTn id="75" presetID="10" presetClass="entr" presetSubtype="0" fill="hold" grpId="0" nodeType="clickEffect">
                                  <p:stCondLst>
                                    <p:cond delay="0"/>
                                  </p:stCondLst>
                                  <p:childTnLst>
                                    <p:set>
                                      <p:cBhvr>
                                        <p:cTn id="76" dur="1" fill="hold">
                                          <p:stCondLst>
                                            <p:cond delay="0"/>
                                          </p:stCondLst>
                                        </p:cTn>
                                        <p:tgtEl>
                                          <p:spTgt spid="27"/>
                                        </p:tgtEl>
                                        <p:attrNameLst>
                                          <p:attrName>style.visibility</p:attrName>
                                        </p:attrNameLst>
                                      </p:cBhvr>
                                      <p:to>
                                        <p:strVal val="visible"/>
                                      </p:to>
                                    </p:set>
                                    <p:animEffect transition="in" filter="fade">
                                      <p:cBhvr>
                                        <p:cTn id="77" dur="500"/>
                                        <p:tgtEl>
                                          <p:spTgt spid="27"/>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26"/>
                                        </p:tgtEl>
                                        <p:attrNameLst>
                                          <p:attrName>style.visibility</p:attrName>
                                        </p:attrNameLst>
                                      </p:cBhvr>
                                      <p:to>
                                        <p:strVal val="visible"/>
                                      </p:to>
                                    </p:set>
                                    <p:animEffect transition="in" filter="fade">
                                      <p:cBhvr>
                                        <p:cTn id="80" dur="500"/>
                                        <p:tgtEl>
                                          <p:spTgt spid="26"/>
                                        </p:tgtEl>
                                      </p:cBhvr>
                                    </p:animEffect>
                                  </p:childTnLst>
                                </p:cTn>
                              </p:par>
                              <p:par>
                                <p:cTn id="81" presetID="10" presetClass="entr" presetSubtype="0" fill="hold" grpId="0" nodeType="withEffect">
                                  <p:stCondLst>
                                    <p:cond delay="0"/>
                                  </p:stCondLst>
                                  <p:childTnLst>
                                    <p:set>
                                      <p:cBhvr>
                                        <p:cTn id="82" dur="1" fill="hold">
                                          <p:stCondLst>
                                            <p:cond delay="0"/>
                                          </p:stCondLst>
                                        </p:cTn>
                                        <p:tgtEl>
                                          <p:spTgt spid="29"/>
                                        </p:tgtEl>
                                        <p:attrNameLst>
                                          <p:attrName>style.visibility</p:attrName>
                                        </p:attrNameLst>
                                      </p:cBhvr>
                                      <p:to>
                                        <p:strVal val="visible"/>
                                      </p:to>
                                    </p:set>
                                    <p:animEffect transition="in" filter="fade">
                                      <p:cBhvr>
                                        <p:cTn id="83" dur="500"/>
                                        <p:tgtEl>
                                          <p:spTgt spid="29"/>
                                        </p:tgtEl>
                                      </p:cBhvr>
                                    </p:animEffect>
                                  </p:childTnLst>
                                </p:cTn>
                              </p:par>
                              <p:par>
                                <p:cTn id="84" presetID="10" presetClass="entr" presetSubtype="0" fill="hold" grpId="0" nodeType="withEffect">
                                  <p:stCondLst>
                                    <p:cond delay="0"/>
                                  </p:stCondLst>
                                  <p:childTnLst>
                                    <p:set>
                                      <p:cBhvr>
                                        <p:cTn id="85" dur="1" fill="hold">
                                          <p:stCondLst>
                                            <p:cond delay="0"/>
                                          </p:stCondLst>
                                        </p:cTn>
                                        <p:tgtEl>
                                          <p:spTgt spid="28"/>
                                        </p:tgtEl>
                                        <p:attrNameLst>
                                          <p:attrName>style.visibility</p:attrName>
                                        </p:attrNameLst>
                                      </p:cBhvr>
                                      <p:to>
                                        <p:strVal val="visible"/>
                                      </p:to>
                                    </p:set>
                                    <p:animEffect transition="in" filter="fade">
                                      <p:cBhvr>
                                        <p:cTn id="86" dur="500"/>
                                        <p:tgtEl>
                                          <p:spTgt spid="28"/>
                                        </p:tgtEl>
                                      </p:cBhvr>
                                    </p:animEffect>
                                  </p:childTnLst>
                                </p:cTn>
                              </p:par>
                            </p:childTnLst>
                          </p:cTn>
                        </p:par>
                      </p:childTnLst>
                    </p:cTn>
                  </p:par>
                  <p:par>
                    <p:cTn id="87" fill="hold">
                      <p:stCondLst>
                        <p:cond delay="indefinite"/>
                      </p:stCondLst>
                      <p:childTnLst>
                        <p:par>
                          <p:cTn id="88" fill="hold">
                            <p:stCondLst>
                              <p:cond delay="0"/>
                            </p:stCondLst>
                            <p:childTnLst>
                              <p:par>
                                <p:cTn id="89" presetID="10" presetClass="entr" presetSubtype="0" fill="hold" nodeType="clickEffect">
                                  <p:stCondLst>
                                    <p:cond delay="0"/>
                                  </p:stCondLst>
                                  <p:childTnLst>
                                    <p:set>
                                      <p:cBhvr>
                                        <p:cTn id="90" dur="1" fill="hold">
                                          <p:stCondLst>
                                            <p:cond delay="0"/>
                                          </p:stCondLst>
                                        </p:cTn>
                                        <p:tgtEl>
                                          <p:spTgt spid="24"/>
                                        </p:tgtEl>
                                        <p:attrNameLst>
                                          <p:attrName>style.visibility</p:attrName>
                                        </p:attrNameLst>
                                      </p:cBhvr>
                                      <p:to>
                                        <p:strVal val="visible"/>
                                      </p:to>
                                    </p:set>
                                    <p:animEffect transition="in" filter="fade">
                                      <p:cBhvr>
                                        <p:cTn id="91" dur="500"/>
                                        <p:tgtEl>
                                          <p:spTgt spid="24"/>
                                        </p:tgtEl>
                                      </p:cBhvr>
                                    </p:animEffect>
                                  </p:childTnLst>
                                </p:cTn>
                              </p:par>
                            </p:childTnLst>
                          </p:cTn>
                        </p:par>
                      </p:childTnLst>
                    </p:cTn>
                  </p:par>
                  <p:par>
                    <p:cTn id="92" fill="hold">
                      <p:stCondLst>
                        <p:cond delay="indefinite"/>
                      </p:stCondLst>
                      <p:childTnLst>
                        <p:par>
                          <p:cTn id="93" fill="hold">
                            <p:stCondLst>
                              <p:cond delay="0"/>
                            </p:stCondLst>
                            <p:childTnLst>
                              <p:par>
                                <p:cTn id="94" presetID="10" presetClass="entr" presetSubtype="0" fill="hold" grpId="0" nodeType="clickEffect">
                                  <p:stCondLst>
                                    <p:cond delay="0"/>
                                  </p:stCondLst>
                                  <p:childTnLst>
                                    <p:set>
                                      <p:cBhvr>
                                        <p:cTn id="95" dur="1" fill="hold">
                                          <p:stCondLst>
                                            <p:cond delay="0"/>
                                          </p:stCondLst>
                                        </p:cTn>
                                        <p:tgtEl>
                                          <p:spTgt spid="30"/>
                                        </p:tgtEl>
                                        <p:attrNameLst>
                                          <p:attrName>style.visibility</p:attrName>
                                        </p:attrNameLst>
                                      </p:cBhvr>
                                      <p:to>
                                        <p:strVal val="visible"/>
                                      </p:to>
                                    </p:set>
                                    <p:animEffect transition="in" filter="fade">
                                      <p:cBhvr>
                                        <p:cTn id="96" dur="500"/>
                                        <p:tgtEl>
                                          <p:spTgt spid="30"/>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nodeType="clickEffect">
                                  <p:stCondLst>
                                    <p:cond delay="0"/>
                                  </p:stCondLst>
                                  <p:childTnLst>
                                    <p:set>
                                      <p:cBhvr>
                                        <p:cTn id="100" dur="1" fill="hold">
                                          <p:stCondLst>
                                            <p:cond delay="0"/>
                                          </p:stCondLst>
                                        </p:cTn>
                                        <p:tgtEl>
                                          <p:spTgt spid="32"/>
                                        </p:tgtEl>
                                        <p:attrNameLst>
                                          <p:attrName>style.visibility</p:attrName>
                                        </p:attrNameLst>
                                      </p:cBhvr>
                                      <p:to>
                                        <p:strVal val="visible"/>
                                      </p:to>
                                    </p:set>
                                    <p:animEffect transition="in" filter="fade">
                                      <p:cBhvr>
                                        <p:cTn id="101" dur="500"/>
                                        <p:tgtEl>
                                          <p:spTgt spid="32"/>
                                        </p:tgtEl>
                                      </p:cBhvr>
                                    </p:animEffect>
                                  </p:childTnLst>
                                </p:cTn>
                              </p:par>
                              <p:par>
                                <p:cTn id="102" presetID="10" presetClass="entr" presetSubtype="0" fill="hold" nodeType="withEffect">
                                  <p:stCondLst>
                                    <p:cond delay="0"/>
                                  </p:stCondLst>
                                  <p:childTnLst>
                                    <p:set>
                                      <p:cBhvr>
                                        <p:cTn id="103" dur="1" fill="hold">
                                          <p:stCondLst>
                                            <p:cond delay="0"/>
                                          </p:stCondLst>
                                        </p:cTn>
                                        <p:tgtEl>
                                          <p:spTgt spid="33"/>
                                        </p:tgtEl>
                                        <p:attrNameLst>
                                          <p:attrName>style.visibility</p:attrName>
                                        </p:attrNameLst>
                                      </p:cBhvr>
                                      <p:to>
                                        <p:strVal val="visible"/>
                                      </p:to>
                                    </p:set>
                                    <p:animEffect transition="in" filter="fade">
                                      <p:cBhvr>
                                        <p:cTn id="104"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build="p"/>
      <p:bldP spid="19" grpId="0"/>
      <p:bldP spid="12" grpId="0" animBg="1"/>
      <p:bldP spid="13" grpId="0" animBg="1"/>
      <p:bldP spid="14" grpId="0" animBg="1"/>
      <p:bldP spid="15" grpId="0" animBg="1"/>
      <p:bldP spid="16" grpId="0" animBg="1"/>
      <p:bldP spid="17" grpId="0" animBg="1"/>
      <p:bldP spid="20" grpId="0" animBg="1"/>
      <p:bldP spid="21" grpId="0" animBg="1"/>
      <p:bldP spid="22" grpId="0" animBg="1"/>
      <p:bldP spid="23" grpId="0" animBg="1"/>
      <p:bldP spid="10" grpId="0" animBg="1"/>
      <p:bldP spid="25" grpId="0" animBg="1"/>
      <p:bldP spid="26" grpId="0" animBg="1"/>
      <p:bldP spid="27" grpId="0" animBg="1"/>
      <p:bldP spid="28" grpId="0" animBg="1"/>
      <p:bldP spid="29" grpId="0" animBg="1"/>
      <p:bldP spid="11" grpId="0"/>
      <p:bldP spid="30" grpId="0"/>
      <p:bldP spid="31"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Platshållare för text 17"/>
          <p:cNvSpPr>
            <a:spLocks noGrp="1"/>
          </p:cNvSpPr>
          <p:nvPr>
            <p:ph type="body" sz="quarter" idx="13"/>
          </p:nvPr>
        </p:nvSpPr>
        <p:spPr>
          <a:xfrm>
            <a:off x="360000" y="696565"/>
            <a:ext cx="8424000" cy="270000"/>
          </a:xfrm>
        </p:spPr>
        <p:txBody>
          <a:bodyPr/>
          <a:lstStyle/>
          <a:p>
            <a:r>
              <a:rPr lang="sv-SE" dirty="0" err="1"/>
              <a:t>How</a:t>
            </a:r>
            <a:r>
              <a:rPr lang="sv-SE" dirty="0"/>
              <a:t> to </a:t>
            </a:r>
            <a:r>
              <a:rPr lang="sv-SE" dirty="0" err="1"/>
              <a:t>automate</a:t>
            </a:r>
            <a:r>
              <a:rPr lang="sv-SE" dirty="0"/>
              <a:t> underground?</a:t>
            </a:r>
          </a:p>
          <a:p>
            <a:r>
              <a:rPr lang="sv-SE" dirty="0"/>
              <a:t>Equipment</a:t>
            </a:r>
          </a:p>
        </p:txBody>
      </p:sp>
      <p:sp>
        <p:nvSpPr>
          <p:cNvPr id="19" name="Rubrik 18"/>
          <p:cNvSpPr>
            <a:spLocks noGrp="1"/>
          </p:cNvSpPr>
          <p:nvPr>
            <p:ph type="title"/>
          </p:nvPr>
        </p:nvSpPr>
        <p:spPr>
          <a:xfrm>
            <a:off x="360000" y="207535"/>
            <a:ext cx="8424000" cy="360000"/>
          </a:xfrm>
        </p:spPr>
        <p:txBody>
          <a:bodyPr/>
          <a:lstStyle/>
          <a:p>
            <a:r>
              <a:rPr lang="sv-SE" dirty="0"/>
              <a:t>Automation in mining</a:t>
            </a:r>
          </a:p>
        </p:txBody>
      </p:sp>
      <p:pic>
        <p:nvPicPr>
          <p:cNvPr id="5" name="Picture 4">
            <a:extLst>
              <a:ext uri="{FF2B5EF4-FFF2-40B4-BE49-F238E27FC236}">
                <a16:creationId xmlns:a16="http://schemas.microsoft.com/office/drawing/2014/main" id="{16CE536D-439E-4220-832D-F90AC94FBDD5}"/>
              </a:ext>
            </a:extLst>
          </p:cNvPr>
          <p:cNvPicPr>
            <a:picLocks noChangeAspect="1"/>
          </p:cNvPicPr>
          <p:nvPr/>
        </p:nvPicPr>
        <p:blipFill>
          <a:blip r:embed="rId3"/>
          <a:stretch>
            <a:fillRect/>
          </a:stretch>
        </p:blipFill>
        <p:spPr>
          <a:xfrm>
            <a:off x="656565" y="1369495"/>
            <a:ext cx="5025106" cy="2880320"/>
          </a:xfrm>
          <a:prstGeom prst="rect">
            <a:avLst/>
          </a:prstGeom>
        </p:spPr>
      </p:pic>
      <p:pic>
        <p:nvPicPr>
          <p:cNvPr id="6" name="Picture 5">
            <a:extLst>
              <a:ext uri="{FF2B5EF4-FFF2-40B4-BE49-F238E27FC236}">
                <a16:creationId xmlns:a16="http://schemas.microsoft.com/office/drawing/2014/main" id="{A7C01CD5-62D8-4233-BE5F-2D0516D0203F}"/>
              </a:ext>
            </a:extLst>
          </p:cNvPr>
          <p:cNvPicPr>
            <a:picLocks noChangeAspect="1"/>
          </p:cNvPicPr>
          <p:nvPr/>
        </p:nvPicPr>
        <p:blipFill>
          <a:blip r:embed="rId4"/>
          <a:stretch>
            <a:fillRect/>
          </a:stretch>
        </p:blipFill>
        <p:spPr>
          <a:xfrm>
            <a:off x="5787135" y="1266605"/>
            <a:ext cx="3133725" cy="3086100"/>
          </a:xfrm>
          <a:prstGeom prst="rect">
            <a:avLst/>
          </a:prstGeom>
        </p:spPr>
      </p:pic>
    </p:spTree>
    <p:extLst>
      <p:ext uri="{BB962C8B-B14F-4D97-AF65-F5344CB8AC3E}">
        <p14:creationId xmlns:p14="http://schemas.microsoft.com/office/powerpoint/2010/main" val="541756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8">
                                            <p:txEl>
                                              <p:pRg st="1" end="1"/>
                                            </p:txEl>
                                          </p:spTgt>
                                        </p:tgtEl>
                                        <p:attrNameLst>
                                          <p:attrName>style.visibility</p:attrName>
                                        </p:attrNameLst>
                                      </p:cBhvr>
                                      <p:to>
                                        <p:strVal val="visible"/>
                                      </p:to>
                                    </p:set>
                                    <p:animEffect transition="in" filter="fade">
                                      <p:cBhvr>
                                        <p:cTn id="7" dur="500"/>
                                        <p:tgtEl>
                                          <p:spTgt spid="18">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Platshållare för text 17"/>
          <p:cNvSpPr>
            <a:spLocks noGrp="1"/>
          </p:cNvSpPr>
          <p:nvPr>
            <p:ph type="body" sz="quarter" idx="13"/>
          </p:nvPr>
        </p:nvSpPr>
        <p:spPr>
          <a:xfrm>
            <a:off x="360000" y="696565"/>
            <a:ext cx="8424000" cy="270000"/>
          </a:xfrm>
        </p:spPr>
        <p:txBody>
          <a:bodyPr/>
          <a:lstStyle/>
          <a:p>
            <a:r>
              <a:rPr lang="sv-SE" dirty="0" err="1"/>
              <a:t>How</a:t>
            </a:r>
            <a:r>
              <a:rPr lang="sv-SE" dirty="0"/>
              <a:t> to </a:t>
            </a:r>
            <a:r>
              <a:rPr lang="sv-SE" dirty="0" err="1"/>
              <a:t>automate</a:t>
            </a:r>
            <a:r>
              <a:rPr lang="sv-SE" dirty="0"/>
              <a:t> underground?</a:t>
            </a:r>
          </a:p>
          <a:p>
            <a:r>
              <a:rPr lang="sv-SE" dirty="0"/>
              <a:t>Control station</a:t>
            </a:r>
          </a:p>
        </p:txBody>
      </p:sp>
      <p:sp>
        <p:nvSpPr>
          <p:cNvPr id="19" name="Rubrik 18"/>
          <p:cNvSpPr>
            <a:spLocks noGrp="1"/>
          </p:cNvSpPr>
          <p:nvPr>
            <p:ph type="title"/>
          </p:nvPr>
        </p:nvSpPr>
        <p:spPr>
          <a:xfrm>
            <a:off x="360000" y="207535"/>
            <a:ext cx="8424000" cy="360000"/>
          </a:xfrm>
        </p:spPr>
        <p:txBody>
          <a:bodyPr/>
          <a:lstStyle/>
          <a:p>
            <a:r>
              <a:rPr lang="sv-SE" dirty="0"/>
              <a:t>Automation in mining</a:t>
            </a:r>
          </a:p>
        </p:txBody>
      </p:sp>
      <p:pic>
        <p:nvPicPr>
          <p:cNvPr id="2" name="Picture 1">
            <a:extLst>
              <a:ext uri="{FF2B5EF4-FFF2-40B4-BE49-F238E27FC236}">
                <a16:creationId xmlns:a16="http://schemas.microsoft.com/office/drawing/2014/main" id="{A644DBFB-C4E5-4A43-BB58-BA80152FEF0F}"/>
              </a:ext>
            </a:extLst>
          </p:cNvPr>
          <p:cNvPicPr>
            <a:picLocks noChangeAspect="1"/>
          </p:cNvPicPr>
          <p:nvPr/>
        </p:nvPicPr>
        <p:blipFill>
          <a:blip r:embed="rId3"/>
          <a:stretch>
            <a:fillRect/>
          </a:stretch>
        </p:blipFill>
        <p:spPr>
          <a:xfrm>
            <a:off x="942378" y="1356615"/>
            <a:ext cx="3633531" cy="2536156"/>
          </a:xfrm>
          <a:prstGeom prst="rect">
            <a:avLst/>
          </a:prstGeom>
        </p:spPr>
      </p:pic>
      <p:pic>
        <p:nvPicPr>
          <p:cNvPr id="4" name="Picture 3">
            <a:extLst>
              <a:ext uri="{FF2B5EF4-FFF2-40B4-BE49-F238E27FC236}">
                <a16:creationId xmlns:a16="http://schemas.microsoft.com/office/drawing/2014/main" id="{A768F415-34D4-4510-BA98-030FA3E5C15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481990" y="1761660"/>
            <a:ext cx="3549013" cy="2661760"/>
          </a:xfrm>
          <a:prstGeom prst="rect">
            <a:avLst/>
          </a:prstGeom>
        </p:spPr>
      </p:pic>
      <p:pic>
        <p:nvPicPr>
          <p:cNvPr id="3" name="Picture 2">
            <a:extLst>
              <a:ext uri="{FF2B5EF4-FFF2-40B4-BE49-F238E27FC236}">
                <a16:creationId xmlns:a16="http://schemas.microsoft.com/office/drawing/2014/main" id="{227F9F76-C3B1-4FFB-84AB-E91977BA67C6}"/>
              </a:ext>
            </a:extLst>
          </p:cNvPr>
          <p:cNvPicPr>
            <a:picLocks noChangeAspect="1"/>
          </p:cNvPicPr>
          <p:nvPr/>
        </p:nvPicPr>
        <p:blipFill>
          <a:blip r:embed="rId5"/>
          <a:stretch>
            <a:fillRect/>
          </a:stretch>
        </p:blipFill>
        <p:spPr>
          <a:xfrm>
            <a:off x="4369074" y="1574858"/>
            <a:ext cx="3774843" cy="2848562"/>
          </a:xfrm>
          <a:prstGeom prst="rect">
            <a:avLst/>
          </a:prstGeom>
        </p:spPr>
      </p:pic>
      <p:sp>
        <p:nvSpPr>
          <p:cNvPr id="7" name="Rectangle 6">
            <a:hlinkClick r:id="rId6" action="ppaction://hlinkfile"/>
            <a:extLst>
              <a:ext uri="{FF2B5EF4-FFF2-40B4-BE49-F238E27FC236}">
                <a16:creationId xmlns:a16="http://schemas.microsoft.com/office/drawing/2014/main" id="{0FB8FFC4-CE9A-4173-B950-AEF26101DBF6}"/>
              </a:ext>
            </a:extLst>
          </p:cNvPr>
          <p:cNvSpPr/>
          <p:nvPr/>
        </p:nvSpPr>
        <p:spPr>
          <a:xfrm>
            <a:off x="6005778" y="940889"/>
            <a:ext cx="2025225" cy="309411"/>
          </a:xfrm>
          <a:prstGeom prst="rect">
            <a:avLst/>
          </a:prstGeom>
          <a:solidFill>
            <a:schemeClr val="accent1">
              <a:lumMod val="20000"/>
              <a:lumOff val="80000"/>
            </a:schemeClr>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tx1"/>
                </a:solidFill>
              </a:rPr>
              <a:t>High Speed Mucking Video</a:t>
            </a:r>
            <a:endParaRPr lang="en-IE" sz="1200" dirty="0">
              <a:solidFill>
                <a:schemeClr val="tx1"/>
              </a:solidFill>
            </a:endParaRPr>
          </a:p>
        </p:txBody>
      </p:sp>
    </p:spTree>
    <p:extLst>
      <p:ext uri="{BB962C8B-B14F-4D97-AF65-F5344CB8AC3E}">
        <p14:creationId xmlns:p14="http://schemas.microsoft.com/office/powerpoint/2010/main" val="2398738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8">
                                            <p:txEl>
                                              <p:pRg st="1" end="1"/>
                                            </p:txEl>
                                          </p:spTgt>
                                        </p:tgtEl>
                                        <p:attrNameLst>
                                          <p:attrName>style.visibility</p:attrName>
                                        </p:attrNameLst>
                                      </p:cBhvr>
                                      <p:to>
                                        <p:strVal val="visible"/>
                                      </p:to>
                                    </p:set>
                                    <p:animEffect transition="in" filter="fade">
                                      <p:cBhvr>
                                        <p:cTn id="7" dur="500"/>
                                        <p:tgtEl>
                                          <p:spTgt spid="18">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0"/>
                                        <p:tgtEl>
                                          <p:spTgt spid="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
                                        </p:tgtEl>
                                        <p:attrNameLst>
                                          <p:attrName>style.visibility</p:attrName>
                                        </p:attrNameLst>
                                      </p:cBhvr>
                                      <p:to>
                                        <p:strVal val="visible"/>
                                      </p:to>
                                    </p:set>
                                    <p:animEffect transition="in" filter="fade">
                                      <p:cBhvr>
                                        <p:cTn id="17" dur="500"/>
                                        <p:tgtEl>
                                          <p:spTgt spid="4"/>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500"/>
                                        <p:tgtEl>
                                          <p:spTgt spid="3"/>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7"/>
                                        </p:tgtEl>
                                        <p:attrNameLst>
                                          <p:attrName>style.visibility</p:attrName>
                                        </p:attrNameLst>
                                      </p:cBhvr>
                                      <p:to>
                                        <p:strVal val="visible"/>
                                      </p:to>
                                    </p:set>
                                    <p:animEffect transition="in" filter="fade">
                                      <p:cBhvr>
                                        <p:cTn id="2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Platshållare för text 17"/>
          <p:cNvSpPr>
            <a:spLocks noGrp="1"/>
          </p:cNvSpPr>
          <p:nvPr>
            <p:ph type="body" sz="quarter" idx="13"/>
          </p:nvPr>
        </p:nvSpPr>
        <p:spPr>
          <a:xfrm>
            <a:off x="360000" y="696565"/>
            <a:ext cx="8424000" cy="270000"/>
          </a:xfrm>
        </p:spPr>
        <p:txBody>
          <a:bodyPr/>
          <a:lstStyle/>
          <a:p>
            <a:r>
              <a:rPr lang="sv-SE" dirty="0" err="1"/>
              <a:t>Key</a:t>
            </a:r>
            <a:r>
              <a:rPr lang="sv-SE" dirty="0"/>
              <a:t> </a:t>
            </a:r>
            <a:r>
              <a:rPr lang="sv-SE" dirty="0" err="1"/>
              <a:t>safety</a:t>
            </a:r>
            <a:r>
              <a:rPr lang="sv-SE" dirty="0"/>
              <a:t> </a:t>
            </a:r>
            <a:r>
              <a:rPr lang="sv-SE" dirty="0" err="1"/>
              <a:t>benefits</a:t>
            </a:r>
            <a:endParaRPr lang="sv-SE" dirty="0"/>
          </a:p>
        </p:txBody>
      </p:sp>
      <p:sp>
        <p:nvSpPr>
          <p:cNvPr id="19" name="Rubrik 18"/>
          <p:cNvSpPr>
            <a:spLocks noGrp="1"/>
          </p:cNvSpPr>
          <p:nvPr>
            <p:ph type="title"/>
          </p:nvPr>
        </p:nvSpPr>
        <p:spPr>
          <a:xfrm>
            <a:off x="360000" y="207535"/>
            <a:ext cx="8424000" cy="360000"/>
          </a:xfrm>
        </p:spPr>
        <p:txBody>
          <a:bodyPr/>
          <a:lstStyle/>
          <a:p>
            <a:r>
              <a:rPr lang="sv-SE" dirty="0"/>
              <a:t>Automation in mining</a:t>
            </a:r>
          </a:p>
        </p:txBody>
      </p:sp>
      <p:sp>
        <p:nvSpPr>
          <p:cNvPr id="2" name="TextBox 1">
            <a:extLst>
              <a:ext uri="{FF2B5EF4-FFF2-40B4-BE49-F238E27FC236}">
                <a16:creationId xmlns:a16="http://schemas.microsoft.com/office/drawing/2014/main" id="{B4619F67-3BFD-478D-AF07-796E718FBCF0}"/>
              </a:ext>
            </a:extLst>
          </p:cNvPr>
          <p:cNvSpPr txBox="1"/>
          <p:nvPr/>
        </p:nvSpPr>
        <p:spPr>
          <a:xfrm>
            <a:off x="566555" y="1311610"/>
            <a:ext cx="8280920" cy="4832092"/>
          </a:xfrm>
          <a:prstGeom prst="rect">
            <a:avLst/>
          </a:prstGeom>
          <a:noFill/>
        </p:spPr>
        <p:txBody>
          <a:bodyPr wrap="square" rtlCol="0">
            <a:spAutoFit/>
          </a:bodyPr>
          <a:lstStyle/>
          <a:p>
            <a:pPr marL="285750" indent="-285750">
              <a:buFont typeface="Arial" panose="020B0604020202020204" pitchFamily="34" charset="0"/>
              <a:buChar char="•"/>
            </a:pPr>
            <a:r>
              <a:rPr lang="en-GB" sz="1600" dirty="0"/>
              <a:t>Operator taken away from area of potential danger</a:t>
            </a:r>
          </a:p>
          <a:p>
            <a:pPr marL="285750" indent="-285750">
              <a:buFont typeface="Arial" panose="020B0604020202020204" pitchFamily="34" charset="0"/>
              <a:buChar char="•"/>
            </a:pPr>
            <a:endParaRPr lang="en-GB" sz="1600" dirty="0"/>
          </a:p>
          <a:p>
            <a:pPr marL="285750" indent="-285750">
              <a:buFont typeface="Arial" panose="020B0604020202020204" pitchFamily="34" charset="0"/>
              <a:buChar char="•"/>
            </a:pPr>
            <a:r>
              <a:rPr lang="en-GB" sz="1600" dirty="0"/>
              <a:t>Reduced stresses on the operator in working environment</a:t>
            </a:r>
          </a:p>
          <a:p>
            <a:pPr marL="285750" indent="-285750">
              <a:buFont typeface="Arial" panose="020B0604020202020204" pitchFamily="34" charset="0"/>
              <a:buChar char="•"/>
            </a:pPr>
            <a:endParaRPr lang="en-GB" sz="1600" dirty="0"/>
          </a:p>
          <a:p>
            <a:pPr marL="285750" indent="-285750">
              <a:buFont typeface="Arial" panose="020B0604020202020204" pitchFamily="34" charset="0"/>
              <a:buChar char="•"/>
            </a:pPr>
            <a:r>
              <a:rPr lang="en-GB" sz="1600" dirty="0"/>
              <a:t>Reduced risks, hazards and dangers for the operator and operations</a:t>
            </a:r>
          </a:p>
          <a:p>
            <a:pPr marL="285750" indent="-285750">
              <a:buFont typeface="Arial" panose="020B0604020202020204" pitchFamily="34" charset="0"/>
              <a:buChar char="•"/>
            </a:pPr>
            <a:endParaRPr lang="en-GB" sz="1600" dirty="0"/>
          </a:p>
          <a:p>
            <a:pPr marL="285750" indent="-285750">
              <a:buFont typeface="Arial" panose="020B0604020202020204" pitchFamily="34" charset="0"/>
              <a:buChar char="•"/>
            </a:pPr>
            <a:r>
              <a:rPr lang="en-GB" sz="1600" dirty="0"/>
              <a:t>Area isolated and locked down to prevent any potential incidents (area for machine only, no personnel)</a:t>
            </a:r>
          </a:p>
          <a:p>
            <a:pPr marL="285750" indent="-285750">
              <a:buFont typeface="Arial" panose="020B0604020202020204" pitchFamily="34" charset="0"/>
              <a:buChar char="•"/>
            </a:pPr>
            <a:endParaRPr lang="en-GB" sz="1600" dirty="0"/>
          </a:p>
          <a:p>
            <a:pPr marL="285750" indent="-285750">
              <a:buFont typeface="Arial" panose="020B0604020202020204" pitchFamily="34" charset="0"/>
              <a:buChar char="•"/>
            </a:pPr>
            <a:r>
              <a:rPr lang="en-GB" sz="1600" dirty="0"/>
              <a:t>Eliminates exposure to dust and exhaust fumes</a:t>
            </a:r>
          </a:p>
          <a:p>
            <a:pPr marL="285750" indent="-285750">
              <a:buFont typeface="Arial" panose="020B0604020202020204" pitchFamily="34" charset="0"/>
              <a:buChar char="•"/>
            </a:pPr>
            <a:endParaRPr lang="en-GB" sz="1600" dirty="0"/>
          </a:p>
          <a:p>
            <a:pPr marL="285750" indent="-285750">
              <a:buFont typeface="Arial" panose="020B0604020202020204" pitchFamily="34" charset="0"/>
              <a:buChar char="•"/>
            </a:pPr>
            <a:r>
              <a:rPr lang="en-GB" sz="1600" dirty="0"/>
              <a:t>Eliminates exposure to noise</a:t>
            </a:r>
          </a:p>
          <a:p>
            <a:pPr marL="285750" indent="-285750">
              <a:buFont typeface="Arial" panose="020B0604020202020204" pitchFamily="34" charset="0"/>
              <a:buChar char="•"/>
            </a:pPr>
            <a:endParaRPr lang="en-GB" sz="1600" dirty="0"/>
          </a:p>
          <a:p>
            <a:pPr marL="285750" indent="-285750">
              <a:buFont typeface="Arial" panose="020B0604020202020204" pitchFamily="34" charset="0"/>
              <a:buChar char="•"/>
            </a:pPr>
            <a:r>
              <a:rPr lang="en-GB" sz="1600" dirty="0"/>
              <a:t>Potentially more time on surface in fresh air and sunshine</a:t>
            </a:r>
          </a:p>
          <a:p>
            <a:endParaRPr lang="en-GB" dirty="0"/>
          </a:p>
          <a:p>
            <a:endParaRPr lang="en-GB" dirty="0"/>
          </a:p>
          <a:p>
            <a:endParaRPr lang="en-GB" dirty="0"/>
          </a:p>
          <a:p>
            <a:endParaRPr lang="en-IE" dirty="0"/>
          </a:p>
        </p:txBody>
      </p:sp>
    </p:spTree>
    <p:extLst>
      <p:ext uri="{BB962C8B-B14F-4D97-AF65-F5344CB8AC3E}">
        <p14:creationId xmlns:p14="http://schemas.microsoft.com/office/powerpoint/2010/main" val="3323581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
                                            <p:txEl>
                                              <p:pRg st="2" end="2"/>
                                            </p:txEl>
                                          </p:spTgt>
                                        </p:tgtEl>
                                        <p:attrNameLst>
                                          <p:attrName>style.visibility</p:attrName>
                                        </p:attrNameLst>
                                      </p:cBhvr>
                                      <p:to>
                                        <p:strVal val="visible"/>
                                      </p:to>
                                    </p:set>
                                    <p:animEffect transition="in" filter="fade">
                                      <p:cBhvr>
                                        <p:cTn id="12" dur="500"/>
                                        <p:tgtEl>
                                          <p:spTgt spid="2">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
                                            <p:txEl>
                                              <p:pRg st="4" end="4"/>
                                            </p:txEl>
                                          </p:spTgt>
                                        </p:tgtEl>
                                        <p:attrNameLst>
                                          <p:attrName>style.visibility</p:attrName>
                                        </p:attrNameLst>
                                      </p:cBhvr>
                                      <p:to>
                                        <p:strVal val="visible"/>
                                      </p:to>
                                    </p:set>
                                    <p:animEffect transition="in" filter="fade">
                                      <p:cBhvr>
                                        <p:cTn id="17" dur="500"/>
                                        <p:tgtEl>
                                          <p:spTgt spid="2">
                                            <p:txEl>
                                              <p:pRg st="4" end="4"/>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
                                            <p:txEl>
                                              <p:pRg st="6" end="6"/>
                                            </p:txEl>
                                          </p:spTgt>
                                        </p:tgtEl>
                                        <p:attrNameLst>
                                          <p:attrName>style.visibility</p:attrName>
                                        </p:attrNameLst>
                                      </p:cBhvr>
                                      <p:to>
                                        <p:strVal val="visible"/>
                                      </p:to>
                                    </p:set>
                                    <p:animEffect transition="in" filter="fade">
                                      <p:cBhvr>
                                        <p:cTn id="22" dur="500"/>
                                        <p:tgtEl>
                                          <p:spTgt spid="2">
                                            <p:txEl>
                                              <p:pRg st="6" end="6"/>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
                                            <p:txEl>
                                              <p:pRg st="8" end="8"/>
                                            </p:txEl>
                                          </p:spTgt>
                                        </p:tgtEl>
                                        <p:attrNameLst>
                                          <p:attrName>style.visibility</p:attrName>
                                        </p:attrNameLst>
                                      </p:cBhvr>
                                      <p:to>
                                        <p:strVal val="visible"/>
                                      </p:to>
                                    </p:set>
                                    <p:animEffect transition="in" filter="fade">
                                      <p:cBhvr>
                                        <p:cTn id="27" dur="500"/>
                                        <p:tgtEl>
                                          <p:spTgt spid="2">
                                            <p:txEl>
                                              <p:pRg st="8" end="8"/>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2">
                                            <p:txEl>
                                              <p:pRg st="10" end="10"/>
                                            </p:txEl>
                                          </p:spTgt>
                                        </p:tgtEl>
                                        <p:attrNameLst>
                                          <p:attrName>style.visibility</p:attrName>
                                        </p:attrNameLst>
                                      </p:cBhvr>
                                      <p:to>
                                        <p:strVal val="visible"/>
                                      </p:to>
                                    </p:set>
                                    <p:animEffect transition="in" filter="fade">
                                      <p:cBhvr>
                                        <p:cTn id="32" dur="500"/>
                                        <p:tgtEl>
                                          <p:spTgt spid="2">
                                            <p:txEl>
                                              <p:pRg st="10" end="10"/>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2">
                                            <p:txEl>
                                              <p:pRg st="12" end="12"/>
                                            </p:txEl>
                                          </p:spTgt>
                                        </p:tgtEl>
                                        <p:attrNameLst>
                                          <p:attrName>style.visibility</p:attrName>
                                        </p:attrNameLst>
                                      </p:cBhvr>
                                      <p:to>
                                        <p:strVal val="visible"/>
                                      </p:to>
                                    </p:set>
                                    <p:animEffect transition="in" filter="fade">
                                      <p:cBhvr>
                                        <p:cTn id="37" dur="500"/>
                                        <p:tgtEl>
                                          <p:spTgt spid="2">
                                            <p:txEl>
                                              <p:pRg st="12" end="1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Platshållare för text 17"/>
          <p:cNvSpPr>
            <a:spLocks noGrp="1"/>
          </p:cNvSpPr>
          <p:nvPr>
            <p:ph type="body" sz="quarter" idx="13"/>
          </p:nvPr>
        </p:nvSpPr>
        <p:spPr>
          <a:xfrm>
            <a:off x="360000" y="696565"/>
            <a:ext cx="8424000" cy="270000"/>
          </a:xfrm>
        </p:spPr>
        <p:txBody>
          <a:bodyPr/>
          <a:lstStyle/>
          <a:p>
            <a:r>
              <a:rPr lang="sv-SE" dirty="0"/>
              <a:t>The </a:t>
            </a:r>
            <a:r>
              <a:rPr lang="sv-SE" dirty="0" err="1"/>
              <a:t>future</a:t>
            </a:r>
            <a:r>
              <a:rPr lang="sv-SE" dirty="0"/>
              <a:t>…</a:t>
            </a:r>
          </a:p>
        </p:txBody>
      </p:sp>
      <p:sp>
        <p:nvSpPr>
          <p:cNvPr id="19" name="Rubrik 18"/>
          <p:cNvSpPr>
            <a:spLocks noGrp="1"/>
          </p:cNvSpPr>
          <p:nvPr>
            <p:ph type="title"/>
          </p:nvPr>
        </p:nvSpPr>
        <p:spPr>
          <a:xfrm>
            <a:off x="360000" y="207535"/>
            <a:ext cx="8424000" cy="360000"/>
          </a:xfrm>
        </p:spPr>
        <p:txBody>
          <a:bodyPr/>
          <a:lstStyle/>
          <a:p>
            <a:r>
              <a:rPr lang="sv-SE" dirty="0"/>
              <a:t>Automation in mining</a:t>
            </a:r>
          </a:p>
        </p:txBody>
      </p:sp>
      <p:sp>
        <p:nvSpPr>
          <p:cNvPr id="3" name="TextBox 2">
            <a:extLst>
              <a:ext uri="{FF2B5EF4-FFF2-40B4-BE49-F238E27FC236}">
                <a16:creationId xmlns:a16="http://schemas.microsoft.com/office/drawing/2014/main" id="{60D18164-6FFC-467C-B38D-9D5967F907EF}"/>
              </a:ext>
            </a:extLst>
          </p:cNvPr>
          <p:cNvSpPr txBox="1"/>
          <p:nvPr/>
        </p:nvSpPr>
        <p:spPr>
          <a:xfrm>
            <a:off x="360000" y="1095595"/>
            <a:ext cx="8532480" cy="3693319"/>
          </a:xfrm>
          <a:prstGeom prst="rect">
            <a:avLst/>
          </a:prstGeom>
          <a:noFill/>
        </p:spPr>
        <p:txBody>
          <a:bodyPr wrap="square" rtlCol="0">
            <a:spAutoFit/>
          </a:bodyPr>
          <a:lstStyle/>
          <a:p>
            <a:r>
              <a:rPr lang="en-GB" dirty="0"/>
              <a:t>AI (Artificially Intelligent) machines</a:t>
            </a:r>
          </a:p>
          <a:p>
            <a:endParaRPr lang="en-GB" dirty="0"/>
          </a:p>
          <a:p>
            <a:r>
              <a:rPr lang="en-GB" dirty="0"/>
              <a:t>“Robotic” Equipment working along side reduced UG personnel</a:t>
            </a:r>
          </a:p>
          <a:p>
            <a:endParaRPr lang="en-GB" dirty="0"/>
          </a:p>
          <a:p>
            <a:r>
              <a:rPr lang="en-GB" dirty="0"/>
              <a:t>More and more personnel working from remote areas (underground or on surface)</a:t>
            </a:r>
          </a:p>
          <a:p>
            <a:endParaRPr lang="en-GB" dirty="0"/>
          </a:p>
          <a:p>
            <a:r>
              <a:rPr lang="en-GB" dirty="0"/>
              <a:t>Higher skilled IT jobs in the industry</a:t>
            </a:r>
          </a:p>
          <a:p>
            <a:endParaRPr lang="en-GB" dirty="0"/>
          </a:p>
          <a:p>
            <a:r>
              <a:rPr lang="en-GB" dirty="0"/>
              <a:t>Self analytical equipment diagnosing and alerting of breakdowns before they occur</a:t>
            </a:r>
          </a:p>
          <a:p>
            <a:endParaRPr lang="en-GB" dirty="0"/>
          </a:p>
          <a:p>
            <a:r>
              <a:rPr lang="en-GB" dirty="0"/>
              <a:t>Healthier and safer workforce</a:t>
            </a:r>
          </a:p>
          <a:p>
            <a:endParaRPr lang="en-GB" dirty="0"/>
          </a:p>
          <a:p>
            <a:endParaRPr lang="en-GB" dirty="0"/>
          </a:p>
        </p:txBody>
      </p:sp>
    </p:spTree>
    <p:extLst>
      <p:ext uri="{BB962C8B-B14F-4D97-AF65-F5344CB8AC3E}">
        <p14:creationId xmlns:p14="http://schemas.microsoft.com/office/powerpoint/2010/main" val="139652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fade">
                                      <p:cBhvr>
                                        <p:cTn id="12" dur="500"/>
                                        <p:tgtEl>
                                          <p:spTgt spid="3">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animEffect transition="in" filter="fade">
                                      <p:cBhvr>
                                        <p:cTn id="17" dur="500"/>
                                        <p:tgtEl>
                                          <p:spTgt spid="3">
                                            <p:txEl>
                                              <p:pRg st="4" end="4"/>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6" end="6"/>
                                            </p:txEl>
                                          </p:spTgt>
                                        </p:tgtEl>
                                        <p:attrNameLst>
                                          <p:attrName>style.visibility</p:attrName>
                                        </p:attrNameLst>
                                      </p:cBhvr>
                                      <p:to>
                                        <p:strVal val="visible"/>
                                      </p:to>
                                    </p:set>
                                    <p:animEffect transition="in" filter="fade">
                                      <p:cBhvr>
                                        <p:cTn id="22" dur="500"/>
                                        <p:tgtEl>
                                          <p:spTgt spid="3">
                                            <p:txEl>
                                              <p:pRg st="6" end="6"/>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8" end="8"/>
                                            </p:txEl>
                                          </p:spTgt>
                                        </p:tgtEl>
                                        <p:attrNameLst>
                                          <p:attrName>style.visibility</p:attrName>
                                        </p:attrNameLst>
                                      </p:cBhvr>
                                      <p:to>
                                        <p:strVal val="visible"/>
                                      </p:to>
                                    </p:set>
                                    <p:animEffect transition="in" filter="fade">
                                      <p:cBhvr>
                                        <p:cTn id="27" dur="500"/>
                                        <p:tgtEl>
                                          <p:spTgt spid="3">
                                            <p:txEl>
                                              <p:pRg st="8" end="8"/>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10" end="10"/>
                                            </p:txEl>
                                          </p:spTgt>
                                        </p:tgtEl>
                                        <p:attrNameLst>
                                          <p:attrName>style.visibility</p:attrName>
                                        </p:attrNameLst>
                                      </p:cBhvr>
                                      <p:to>
                                        <p:strVal val="visible"/>
                                      </p:to>
                                    </p:set>
                                    <p:animEffect transition="in" filter="fade">
                                      <p:cBhvr>
                                        <p:cTn id="32" dur="500"/>
                                        <p:tgtEl>
                                          <p:spTgt spid="3">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Platshållare för text 17"/>
          <p:cNvSpPr>
            <a:spLocks noGrp="1"/>
          </p:cNvSpPr>
          <p:nvPr>
            <p:ph type="body" sz="quarter" idx="13"/>
          </p:nvPr>
        </p:nvSpPr>
        <p:spPr>
          <a:xfrm>
            <a:off x="360000" y="696565"/>
            <a:ext cx="8424000" cy="270000"/>
          </a:xfrm>
        </p:spPr>
        <p:txBody>
          <a:bodyPr/>
          <a:lstStyle/>
          <a:p>
            <a:r>
              <a:rPr lang="sv-SE" dirty="0"/>
              <a:t>The </a:t>
            </a:r>
            <a:r>
              <a:rPr lang="sv-SE" dirty="0" err="1"/>
              <a:t>future</a:t>
            </a:r>
            <a:r>
              <a:rPr lang="sv-SE" dirty="0"/>
              <a:t>…</a:t>
            </a:r>
          </a:p>
        </p:txBody>
      </p:sp>
      <p:sp>
        <p:nvSpPr>
          <p:cNvPr id="19" name="Rubrik 18"/>
          <p:cNvSpPr>
            <a:spLocks noGrp="1"/>
          </p:cNvSpPr>
          <p:nvPr>
            <p:ph type="title"/>
          </p:nvPr>
        </p:nvSpPr>
        <p:spPr>
          <a:xfrm>
            <a:off x="360000" y="207535"/>
            <a:ext cx="8424000" cy="360000"/>
          </a:xfrm>
        </p:spPr>
        <p:txBody>
          <a:bodyPr/>
          <a:lstStyle/>
          <a:p>
            <a:r>
              <a:rPr lang="sv-SE" dirty="0"/>
              <a:t>Automation in mining</a:t>
            </a:r>
          </a:p>
        </p:txBody>
      </p:sp>
      <p:pic>
        <p:nvPicPr>
          <p:cNvPr id="2" name="Picture 1">
            <a:extLst>
              <a:ext uri="{FF2B5EF4-FFF2-40B4-BE49-F238E27FC236}">
                <a16:creationId xmlns:a16="http://schemas.microsoft.com/office/drawing/2014/main" id="{30A7E2DA-4CA7-4DE0-B9A2-14D1F9F180AC}"/>
              </a:ext>
            </a:extLst>
          </p:cNvPr>
          <p:cNvPicPr>
            <a:picLocks noChangeAspect="1"/>
          </p:cNvPicPr>
          <p:nvPr/>
        </p:nvPicPr>
        <p:blipFill>
          <a:blip r:embed="rId3"/>
          <a:stretch>
            <a:fillRect/>
          </a:stretch>
        </p:blipFill>
        <p:spPr>
          <a:xfrm>
            <a:off x="566555" y="966565"/>
            <a:ext cx="7155795" cy="3849193"/>
          </a:xfrm>
          <a:prstGeom prst="rect">
            <a:avLst/>
          </a:prstGeom>
        </p:spPr>
      </p:pic>
    </p:spTree>
    <p:extLst>
      <p:ext uri="{BB962C8B-B14F-4D97-AF65-F5344CB8AC3E}">
        <p14:creationId xmlns:p14="http://schemas.microsoft.com/office/powerpoint/2010/main" val="1538585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8"/>
          <p:cNvSpPr>
            <a:spLocks noGrp="1"/>
          </p:cNvSpPr>
          <p:nvPr>
            <p:ph type="title"/>
          </p:nvPr>
        </p:nvSpPr>
        <p:spPr>
          <a:xfrm>
            <a:off x="359999" y="414000"/>
            <a:ext cx="8563867" cy="360000"/>
          </a:xfrm>
        </p:spPr>
        <p:txBody>
          <a:bodyPr/>
          <a:lstStyle/>
          <a:p>
            <a:r>
              <a:rPr lang="fi-FI" dirty="0"/>
              <a:t>Optimine</a:t>
            </a:r>
            <a:r>
              <a:rPr lang="fi-FI" baseline="30000" dirty="0"/>
              <a:t>®</a:t>
            </a:r>
            <a:r>
              <a:rPr lang="fi-FI" dirty="0"/>
              <a:t> – information anywhere anytime </a:t>
            </a:r>
            <a:endParaRPr lang="en-US" dirty="0"/>
          </a:p>
        </p:txBody>
      </p:sp>
      <p:sp>
        <p:nvSpPr>
          <p:cNvPr id="4" name="Dian numeron paikkamerkki 3"/>
          <p:cNvSpPr>
            <a:spLocks noGrp="1"/>
          </p:cNvSpPr>
          <p:nvPr>
            <p:ph type="sldNum" sz="quarter" idx="12"/>
          </p:nvPr>
        </p:nvSpPr>
        <p:spPr/>
        <p:txBody>
          <a:bodyPr/>
          <a:lstStyle/>
          <a:p>
            <a:fld id="{469B62F1-B431-48B6-8270-02431A1685B7}" type="slidenum">
              <a:rPr lang="en-US" smtClean="0"/>
              <a:pPr/>
              <a:t>19</a:t>
            </a:fld>
            <a:endParaRPr lang="en-US"/>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478088" y="946893"/>
            <a:ext cx="3998911" cy="39473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4" name="Picture Placeholder 13"/>
          <p:cNvPicPr>
            <a:picLocks noChangeAspect="1"/>
          </p:cNvPicPr>
          <p:nvPr/>
        </p:nvPicPr>
        <p:blipFill>
          <a:blip r:embed="rId3" cstate="print">
            <a:extLst>
              <a:ext uri="{28A0092B-C50C-407E-A947-70E740481C1C}">
                <a14:useLocalDpi xmlns:a14="http://schemas.microsoft.com/office/drawing/2010/main" val="0"/>
              </a:ext>
            </a:extLst>
          </a:blip>
          <a:srcRect l="15210" r="15210"/>
          <a:stretch>
            <a:fillRect/>
          </a:stretch>
        </p:blipFill>
        <p:spPr>
          <a:xfrm>
            <a:off x="479467" y="2840786"/>
            <a:ext cx="1374017" cy="1316348"/>
          </a:xfrm>
          <a:prstGeom prst="rect">
            <a:avLst/>
          </a:prstGeom>
          <a:ln>
            <a:noFill/>
          </a:ln>
          <a:effectLst>
            <a:outerShdw blurRad="292100" dist="139700" dir="2700000" algn="tl" rotWithShape="0">
              <a:srgbClr val="333333">
                <a:alpha val="65000"/>
              </a:srgbClr>
            </a:outerShdw>
          </a:effectLst>
        </p:spPr>
      </p:pic>
      <p:pic>
        <p:nvPicPr>
          <p:cNvPr id="25" name="Picture Placeholder 10"/>
          <p:cNvPicPr>
            <a:picLocks noChangeAspect="1"/>
          </p:cNvPicPr>
          <p:nvPr/>
        </p:nvPicPr>
        <p:blipFill>
          <a:blip r:embed="rId4" cstate="print">
            <a:extLst>
              <a:ext uri="{28A0092B-C50C-407E-A947-70E740481C1C}">
                <a14:useLocalDpi xmlns:a14="http://schemas.microsoft.com/office/drawing/2010/main" val="0"/>
              </a:ext>
            </a:extLst>
          </a:blip>
          <a:srcRect l="15123" r="15123"/>
          <a:stretch>
            <a:fillRect/>
          </a:stretch>
        </p:blipFill>
        <p:spPr>
          <a:xfrm>
            <a:off x="479466" y="1343428"/>
            <a:ext cx="1374017" cy="1316348"/>
          </a:xfrm>
          <a:prstGeom prst="rect">
            <a:avLst/>
          </a:prstGeom>
          <a:ln>
            <a:noFill/>
          </a:ln>
          <a:effectLst>
            <a:outerShdw blurRad="292100" dist="139700" dir="2700000" algn="tl" rotWithShape="0">
              <a:srgbClr val="333333">
                <a:alpha val="65000"/>
              </a:srgbClr>
            </a:outerShdw>
          </a:effectLst>
        </p:spPr>
      </p:pic>
      <p:pic>
        <p:nvPicPr>
          <p:cNvPr id="26" name="Picture Placeholder 15"/>
          <p:cNvPicPr>
            <a:picLocks noChangeAspect="1"/>
          </p:cNvPicPr>
          <p:nvPr/>
        </p:nvPicPr>
        <p:blipFill>
          <a:blip r:embed="rId5" cstate="print">
            <a:extLst>
              <a:ext uri="{28A0092B-C50C-407E-A947-70E740481C1C}">
                <a14:useLocalDpi xmlns:a14="http://schemas.microsoft.com/office/drawing/2010/main" val="0"/>
              </a:ext>
            </a:extLst>
          </a:blip>
          <a:srcRect l="15210" r="15210"/>
          <a:stretch>
            <a:fillRect/>
          </a:stretch>
        </p:blipFill>
        <p:spPr>
          <a:xfrm>
            <a:off x="6951573" y="1348306"/>
            <a:ext cx="1375200" cy="1318234"/>
          </a:xfrm>
          <a:prstGeom prst="rect">
            <a:avLst/>
          </a:prstGeom>
          <a:ln>
            <a:noFill/>
          </a:ln>
          <a:effectLst>
            <a:outerShdw blurRad="292100" dist="139700" dir="2700000" algn="tl" rotWithShape="0">
              <a:srgbClr val="333333">
                <a:alpha val="65000"/>
              </a:srgbClr>
            </a:outerShdw>
          </a:effectLst>
        </p:spPr>
      </p:pic>
      <p:pic>
        <p:nvPicPr>
          <p:cNvPr id="10" name="Picture Placeholder 2"/>
          <p:cNvPicPr>
            <a:picLocks noChangeAspect="1"/>
          </p:cNvPicPr>
          <p:nvPr/>
        </p:nvPicPr>
        <p:blipFill>
          <a:blip r:embed="rId6" cstate="print">
            <a:extLst>
              <a:ext uri="{28A0092B-C50C-407E-A947-70E740481C1C}">
                <a14:useLocalDpi xmlns:a14="http://schemas.microsoft.com/office/drawing/2010/main" val="0"/>
              </a:ext>
            </a:extLst>
          </a:blip>
          <a:srcRect l="15167" r="15167"/>
          <a:stretch>
            <a:fillRect/>
          </a:stretch>
        </p:blipFill>
        <p:spPr>
          <a:xfrm>
            <a:off x="6951573" y="2835616"/>
            <a:ext cx="1375200" cy="131748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1337310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469B62F1-B431-48B6-8270-02431A1685B7}" type="slidenum">
              <a:rPr lang="en-US" smtClean="0"/>
              <a:t>2</a:t>
            </a:fld>
            <a:endParaRPr lang="en-US"/>
          </a:p>
        </p:txBody>
      </p:sp>
      <p:sp>
        <p:nvSpPr>
          <p:cNvPr id="4" name="Content Placeholder 2"/>
          <p:cNvSpPr txBox="1">
            <a:spLocks/>
          </p:cNvSpPr>
          <p:nvPr/>
        </p:nvSpPr>
        <p:spPr>
          <a:xfrm>
            <a:off x="360000" y="1260000"/>
            <a:ext cx="3923968" cy="1311749"/>
          </a:xfrm>
          <a:prstGeom prst="rect">
            <a:avLst/>
          </a:prstGeom>
        </p:spPr>
        <p:txBody>
          <a:bodyPr lIns="0" tIns="0" rIns="0" bIns="0"/>
          <a:lstStyle>
            <a:lvl1pPr marL="162000" indent="-162000" algn="l" defTabSz="914400" rtl="0" eaLnBrk="1" latinLnBrk="0" hangingPunct="1">
              <a:lnSpc>
                <a:spcPct val="108000"/>
              </a:lnSpc>
              <a:spcBef>
                <a:spcPts val="0"/>
              </a:spcBef>
              <a:spcAft>
                <a:spcPts val="700"/>
              </a:spcAft>
              <a:buFont typeface="Arial" panose="020B0604020202020204" pitchFamily="34" charset="0"/>
              <a:buChar char="•"/>
              <a:defRPr sz="1800" kern="1200">
                <a:solidFill>
                  <a:schemeClr val="tx1"/>
                </a:solidFill>
                <a:latin typeface="+mn-lt"/>
                <a:ea typeface="+mn-ea"/>
                <a:cs typeface="+mn-cs"/>
              </a:defRPr>
            </a:lvl1pPr>
            <a:lvl2pPr marL="540000" indent="-162000" algn="l" defTabSz="914400" rtl="0" eaLnBrk="1" latinLnBrk="0" hangingPunct="1">
              <a:lnSpc>
                <a:spcPct val="108000"/>
              </a:lnSpc>
              <a:spcBef>
                <a:spcPts val="0"/>
              </a:spcBef>
              <a:spcAft>
                <a:spcPts val="400"/>
              </a:spcAft>
              <a:buFont typeface="Arial" panose="020B0604020202020204" pitchFamily="34" charset="0"/>
              <a:buChar char="•"/>
              <a:defRPr sz="1600" kern="1200">
                <a:solidFill>
                  <a:schemeClr val="tx1"/>
                </a:solidFill>
                <a:latin typeface="+mn-lt"/>
                <a:ea typeface="+mn-ea"/>
                <a:cs typeface="+mn-cs"/>
              </a:defRPr>
            </a:lvl2pPr>
            <a:lvl3pPr marL="900000" indent="-162000" algn="l" defTabSz="914400" rtl="0" eaLnBrk="1" latinLnBrk="0" hangingPunct="1">
              <a:lnSpc>
                <a:spcPct val="108000"/>
              </a:lnSpc>
              <a:spcBef>
                <a:spcPts val="0"/>
              </a:spcBef>
              <a:spcAft>
                <a:spcPts val="300"/>
              </a:spcAft>
              <a:buFont typeface="Arial" panose="020B0604020202020204" pitchFamily="34" charset="0"/>
              <a:buChar char="•"/>
              <a:defRPr sz="1200" kern="1200">
                <a:solidFill>
                  <a:schemeClr val="tx1"/>
                </a:solidFill>
                <a:latin typeface="+mn-lt"/>
                <a:ea typeface="+mn-ea"/>
                <a:cs typeface="+mn-cs"/>
              </a:defRPr>
            </a:lvl3pPr>
            <a:lvl4pPr marL="1260000" indent="-162000" algn="l" defTabSz="914400" rtl="0" eaLnBrk="1" latinLnBrk="0" hangingPunct="1">
              <a:lnSpc>
                <a:spcPct val="108000"/>
              </a:lnSpc>
              <a:spcBef>
                <a:spcPts val="0"/>
              </a:spcBef>
              <a:spcAft>
                <a:spcPts val="300"/>
              </a:spcAft>
              <a:buFont typeface="Arial" panose="020B0604020202020204" pitchFamily="34" charset="0"/>
              <a:buChar char="•"/>
              <a:defRPr sz="1100" kern="1200">
                <a:solidFill>
                  <a:schemeClr val="tx1"/>
                </a:solidFill>
                <a:latin typeface="+mn-lt"/>
                <a:ea typeface="+mn-ea"/>
                <a:cs typeface="+mn-cs"/>
              </a:defRPr>
            </a:lvl4pPr>
            <a:lvl5pPr marL="1627200" indent="-158400" algn="l" defTabSz="914400" rtl="0" eaLnBrk="1" latinLnBrk="0" hangingPunct="1">
              <a:lnSpc>
                <a:spcPct val="108000"/>
              </a:lnSpc>
              <a:spcBef>
                <a:spcPts val="0"/>
              </a:spcBef>
              <a:spcAft>
                <a:spcPts val="240"/>
              </a:spcAft>
              <a:buFont typeface="Arial" panose="020B0604020202020204"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US"/>
              <a:t>Sandvik’s objective is zero harm to </a:t>
            </a:r>
            <a:br>
              <a:rPr lang="en-US"/>
            </a:br>
            <a:r>
              <a:rPr lang="en-US"/>
              <a:t>our people, the environment we work in, our customers and our suppliers.</a:t>
            </a:r>
          </a:p>
        </p:txBody>
      </p:sp>
      <p:sp>
        <p:nvSpPr>
          <p:cNvPr id="5" name="TextBox 4"/>
          <p:cNvSpPr txBox="1"/>
          <p:nvPr/>
        </p:nvSpPr>
        <p:spPr>
          <a:xfrm>
            <a:off x="268474" y="338223"/>
            <a:ext cx="8424936" cy="523220"/>
          </a:xfrm>
          <a:prstGeom prst="rect">
            <a:avLst/>
          </a:prstGeom>
          <a:noFill/>
        </p:spPr>
        <p:txBody>
          <a:bodyPr wrap="square" rtlCol="0">
            <a:spAutoFit/>
          </a:bodyPr>
          <a:lstStyle/>
          <a:p>
            <a:r>
              <a:rPr lang="en-US" sz="2800">
                <a:solidFill>
                  <a:schemeClr val="tx2"/>
                </a:solidFill>
              </a:rPr>
              <a:t>SAFETY FIRST</a:t>
            </a:r>
          </a:p>
        </p:txBody>
      </p:sp>
      <p:sp>
        <p:nvSpPr>
          <p:cNvPr id="6" name="Platshållare för text 8"/>
          <p:cNvSpPr txBox="1">
            <a:spLocks/>
          </p:cNvSpPr>
          <p:nvPr/>
        </p:nvSpPr>
        <p:spPr>
          <a:xfrm>
            <a:off x="931342" y="2883940"/>
            <a:ext cx="805261" cy="552146"/>
          </a:xfrm>
          <a:prstGeom prst="rect">
            <a:avLst/>
          </a:prstGeom>
          <a:noFill/>
        </p:spPr>
        <p:txBody>
          <a:bodyPr lIns="36000" rIns="36000" anchor="ctr" anchorCtr="0">
            <a:normAutofit/>
          </a:bodyPr>
          <a:lstStyle>
            <a:lvl1pPr marL="87313" indent="-87313"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1pPr>
            <a:lvl2pPr marL="269875" indent="-88900"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2pPr>
            <a:lvl3pPr marL="444500" indent="-87313"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3pPr>
            <a:lvl4pPr marL="627063" indent="-88900"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4pPr>
            <a:lvl5pPr marL="808038" indent="-87313"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buNone/>
            </a:pPr>
            <a:r>
              <a:rPr lang="en-US" sz="800" b="1">
                <a:solidFill>
                  <a:srgbClr val="333333"/>
                </a:solidFill>
              </a:rPr>
              <a:t> PROTECTIVE   </a:t>
            </a:r>
            <a:br>
              <a:rPr lang="en-US" sz="800" b="1">
                <a:solidFill>
                  <a:srgbClr val="333333"/>
                </a:solidFill>
              </a:rPr>
            </a:br>
            <a:r>
              <a:rPr lang="en-US" sz="800" b="1">
                <a:solidFill>
                  <a:srgbClr val="333333"/>
                </a:solidFill>
              </a:rPr>
              <a:t> EQUIPMENT</a:t>
            </a:r>
          </a:p>
        </p:txBody>
      </p:sp>
      <p:sp>
        <p:nvSpPr>
          <p:cNvPr id="7" name="Platshållare för text 9"/>
          <p:cNvSpPr txBox="1">
            <a:spLocks/>
          </p:cNvSpPr>
          <p:nvPr/>
        </p:nvSpPr>
        <p:spPr>
          <a:xfrm>
            <a:off x="3660248" y="3594967"/>
            <a:ext cx="768951" cy="556086"/>
          </a:xfrm>
          <a:prstGeom prst="rect">
            <a:avLst/>
          </a:prstGeom>
          <a:noFill/>
        </p:spPr>
        <p:txBody>
          <a:bodyPr lIns="36000" rIns="36000" anchor="ctr" anchorCtr="0">
            <a:normAutofit/>
          </a:bodyPr>
          <a:lstStyle>
            <a:lvl1pPr marL="87313" indent="-87313"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1pPr>
            <a:lvl2pPr marL="269875" indent="-88900"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2pPr>
            <a:lvl3pPr marL="444500" indent="-87313"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3pPr>
            <a:lvl4pPr marL="627063" indent="-88900"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4pPr>
            <a:lvl5pPr marL="808038" indent="-87313"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buNone/>
            </a:pPr>
            <a:r>
              <a:rPr lang="en-US" sz="800" b="1">
                <a:solidFill>
                  <a:srgbClr val="333333"/>
                </a:solidFill>
              </a:rPr>
              <a:t> ASSEMBLY</a:t>
            </a:r>
            <a:br>
              <a:rPr lang="en-US" sz="800" b="1">
                <a:solidFill>
                  <a:srgbClr val="333333"/>
                </a:solidFill>
              </a:rPr>
            </a:br>
            <a:r>
              <a:rPr lang="en-US" sz="800" b="1">
                <a:solidFill>
                  <a:srgbClr val="333333"/>
                </a:solidFill>
              </a:rPr>
              <a:t> POINT</a:t>
            </a:r>
          </a:p>
        </p:txBody>
      </p:sp>
      <p:sp>
        <p:nvSpPr>
          <p:cNvPr id="8" name="Platshållare för text 10"/>
          <p:cNvSpPr txBox="1">
            <a:spLocks/>
          </p:cNvSpPr>
          <p:nvPr/>
        </p:nvSpPr>
        <p:spPr>
          <a:xfrm>
            <a:off x="2292097" y="3594967"/>
            <a:ext cx="805260" cy="556086"/>
          </a:xfrm>
          <a:prstGeom prst="rect">
            <a:avLst/>
          </a:prstGeom>
          <a:noFill/>
        </p:spPr>
        <p:txBody>
          <a:bodyPr lIns="36000" rIns="36000" anchor="ctr" anchorCtr="0">
            <a:normAutofit/>
          </a:bodyPr>
          <a:lstStyle>
            <a:lvl1pPr marL="87313" indent="-87313"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1pPr>
            <a:lvl2pPr marL="269875" indent="-88900"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2pPr>
            <a:lvl3pPr marL="444500" indent="-87313"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3pPr>
            <a:lvl4pPr marL="627063" indent="-88900"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4pPr>
            <a:lvl5pPr marL="808038" indent="-87313"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buNone/>
            </a:pPr>
            <a:r>
              <a:rPr lang="en-US" sz="800" b="1">
                <a:solidFill>
                  <a:srgbClr val="333333"/>
                </a:solidFill>
              </a:rPr>
              <a:t> EMERGENCY</a:t>
            </a:r>
            <a:br>
              <a:rPr lang="en-US" sz="800" b="1">
                <a:solidFill>
                  <a:srgbClr val="333333"/>
                </a:solidFill>
              </a:rPr>
            </a:br>
            <a:r>
              <a:rPr lang="en-US" sz="800" b="1">
                <a:solidFill>
                  <a:srgbClr val="333333"/>
                </a:solidFill>
              </a:rPr>
              <a:t> EXIT</a:t>
            </a:r>
          </a:p>
        </p:txBody>
      </p:sp>
      <p:sp>
        <p:nvSpPr>
          <p:cNvPr id="9" name="Platshållare för text 12"/>
          <p:cNvSpPr txBox="1">
            <a:spLocks/>
          </p:cNvSpPr>
          <p:nvPr/>
        </p:nvSpPr>
        <p:spPr>
          <a:xfrm>
            <a:off x="930147" y="3594967"/>
            <a:ext cx="802808" cy="556086"/>
          </a:xfrm>
          <a:prstGeom prst="rect">
            <a:avLst/>
          </a:prstGeom>
          <a:noFill/>
        </p:spPr>
        <p:txBody>
          <a:bodyPr lIns="36000" rIns="36000" anchor="ctr" anchorCtr="0">
            <a:normAutofit/>
          </a:bodyPr>
          <a:lstStyle>
            <a:lvl1pPr marL="87313" indent="-87313"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1pPr>
            <a:lvl2pPr marL="269875" indent="-88900"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2pPr>
            <a:lvl3pPr marL="444500" indent="-87313"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3pPr>
            <a:lvl4pPr marL="627063" indent="-88900"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4pPr>
            <a:lvl5pPr marL="808038" indent="-87313"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buNone/>
            </a:pPr>
            <a:r>
              <a:rPr lang="en-US" sz="800" b="1">
                <a:solidFill>
                  <a:srgbClr val="333333"/>
                </a:solidFill>
              </a:rPr>
              <a:t> EMERGENCY</a:t>
            </a:r>
            <a:br>
              <a:rPr lang="en-US" sz="800" b="1">
                <a:solidFill>
                  <a:srgbClr val="333333"/>
                </a:solidFill>
              </a:rPr>
            </a:br>
            <a:r>
              <a:rPr lang="en-US" sz="800" b="1">
                <a:solidFill>
                  <a:srgbClr val="333333"/>
                </a:solidFill>
              </a:rPr>
              <a:t> NUMBER</a:t>
            </a:r>
          </a:p>
        </p:txBody>
      </p:sp>
      <p:sp>
        <p:nvSpPr>
          <p:cNvPr id="10" name="Platshållare för text 13"/>
          <p:cNvSpPr txBox="1">
            <a:spLocks/>
          </p:cNvSpPr>
          <p:nvPr/>
        </p:nvSpPr>
        <p:spPr>
          <a:xfrm>
            <a:off x="3657193" y="2883940"/>
            <a:ext cx="704054" cy="552146"/>
          </a:xfrm>
          <a:prstGeom prst="rect">
            <a:avLst/>
          </a:prstGeom>
          <a:noFill/>
        </p:spPr>
        <p:txBody>
          <a:bodyPr lIns="36000" rIns="36000" anchor="ctr" anchorCtr="0">
            <a:normAutofit/>
          </a:bodyPr>
          <a:lstStyle>
            <a:lvl1pPr marL="87313" indent="-87313"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1pPr>
            <a:lvl2pPr marL="269875" indent="-88900"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2pPr>
            <a:lvl3pPr marL="444500" indent="-87313"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3pPr>
            <a:lvl4pPr marL="627063" indent="-88900"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4pPr>
            <a:lvl5pPr marL="808038" indent="-87313"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buNone/>
            </a:pPr>
            <a:r>
              <a:rPr lang="en-US" sz="800" b="1">
                <a:solidFill>
                  <a:srgbClr val="333333"/>
                </a:solidFill>
              </a:rPr>
              <a:t> ALARM</a:t>
            </a:r>
          </a:p>
        </p:txBody>
      </p:sp>
      <p:sp>
        <p:nvSpPr>
          <p:cNvPr id="16" name="Platshållare för text 10"/>
          <p:cNvSpPr txBox="1">
            <a:spLocks/>
          </p:cNvSpPr>
          <p:nvPr/>
        </p:nvSpPr>
        <p:spPr>
          <a:xfrm>
            <a:off x="2292097" y="2880592"/>
            <a:ext cx="805260" cy="556086"/>
          </a:xfrm>
          <a:prstGeom prst="rect">
            <a:avLst/>
          </a:prstGeom>
          <a:noFill/>
        </p:spPr>
        <p:txBody>
          <a:bodyPr lIns="36000" rIns="36000" anchor="ctr" anchorCtr="0">
            <a:normAutofit/>
          </a:bodyPr>
          <a:lstStyle>
            <a:lvl1pPr marL="87313" indent="-87313"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1pPr>
            <a:lvl2pPr marL="269875" indent="-88900"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2pPr>
            <a:lvl3pPr marL="444500" indent="-87313"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3pPr>
            <a:lvl4pPr marL="627063" indent="-88900"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4pPr>
            <a:lvl5pPr marL="808038" indent="-87313"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buNone/>
            </a:pPr>
            <a:r>
              <a:rPr lang="en-US" sz="800" b="1">
                <a:solidFill>
                  <a:srgbClr val="333333"/>
                </a:solidFill>
              </a:rPr>
              <a:t> FIRST</a:t>
            </a:r>
            <a:r>
              <a:rPr lang="en-US" sz="800" b="1" baseline="0">
                <a:solidFill>
                  <a:srgbClr val="333333"/>
                </a:solidFill>
              </a:rPr>
              <a:t> AID </a:t>
            </a:r>
            <a:br>
              <a:rPr lang="en-US" sz="800" b="1" baseline="0">
                <a:solidFill>
                  <a:srgbClr val="333333"/>
                </a:solidFill>
              </a:rPr>
            </a:br>
            <a:r>
              <a:rPr lang="en-US" sz="800" b="1" baseline="0">
                <a:solidFill>
                  <a:srgbClr val="333333"/>
                </a:solidFill>
              </a:rPr>
              <a:t> KIT</a:t>
            </a:r>
            <a:endParaRPr lang="en-US" sz="800" b="1">
              <a:solidFill>
                <a:srgbClr val="333333"/>
              </a:solidFill>
            </a:endParaRPr>
          </a:p>
        </p:txBody>
      </p:sp>
      <p:sp>
        <p:nvSpPr>
          <p:cNvPr id="20" name="Freeform 1"/>
          <p:cNvSpPr>
            <a:spLocks noChangeArrowheads="1"/>
          </p:cNvSpPr>
          <p:nvPr/>
        </p:nvSpPr>
        <p:spPr bwMode="auto">
          <a:xfrm>
            <a:off x="4958392" y="1212352"/>
            <a:ext cx="3790072" cy="2727550"/>
          </a:xfrm>
          <a:custGeom>
            <a:avLst/>
            <a:gdLst>
              <a:gd name="T0" fmla="*/ 18791 w 19003"/>
              <a:gd name="T1" fmla="*/ 11243 h 13676"/>
              <a:gd name="T2" fmla="*/ 7337 w 19003"/>
              <a:gd name="T3" fmla="*/ 138 h 13676"/>
              <a:gd name="T4" fmla="*/ 8160 w 19003"/>
              <a:gd name="T5" fmla="*/ 308 h 13676"/>
              <a:gd name="T6" fmla="*/ 9458 w 19003"/>
              <a:gd name="T7" fmla="*/ 563 h 13676"/>
              <a:gd name="T8" fmla="*/ 6241 w 19003"/>
              <a:gd name="T9" fmla="*/ 796 h 13676"/>
              <a:gd name="T10" fmla="*/ 3745 w 19003"/>
              <a:gd name="T11" fmla="*/ 859 h 13676"/>
              <a:gd name="T12" fmla="*/ 7542 w 19003"/>
              <a:gd name="T13" fmla="*/ 1309 h 13676"/>
              <a:gd name="T14" fmla="*/ 5586 w 19003"/>
              <a:gd name="T15" fmla="*/ 1165 h 13676"/>
              <a:gd name="T16" fmla="*/ 4729 w 19003"/>
              <a:gd name="T17" fmla="*/ 1345 h 13676"/>
              <a:gd name="T18" fmla="*/ 10364 w 19003"/>
              <a:gd name="T19" fmla="*/ 1373 h 13676"/>
              <a:gd name="T20" fmla="*/ 3181 w 19003"/>
              <a:gd name="T21" fmla="*/ 1381 h 13676"/>
              <a:gd name="T22" fmla="*/ 5833 w 19003"/>
              <a:gd name="T23" fmla="*/ 1489 h 13676"/>
              <a:gd name="T24" fmla="*/ 7650 w 19003"/>
              <a:gd name="T25" fmla="*/ 1730 h 13676"/>
              <a:gd name="T26" fmla="*/ 3345 w 19003"/>
              <a:gd name="T27" fmla="*/ 1791 h 13676"/>
              <a:gd name="T28" fmla="*/ 6091 w 19003"/>
              <a:gd name="T29" fmla="*/ 2033 h 13676"/>
              <a:gd name="T30" fmla="*/ 5653 w 19003"/>
              <a:gd name="T31" fmla="*/ 2485 h 13676"/>
              <a:gd name="T32" fmla="*/ 4277 w 19003"/>
              <a:gd name="T33" fmla="*/ 2105 h 13676"/>
              <a:gd name="T34" fmla="*/ 7300 w 19003"/>
              <a:gd name="T35" fmla="*/ 2415 h 13676"/>
              <a:gd name="T36" fmla="*/ 5453 w 19003"/>
              <a:gd name="T37" fmla="*/ 2440 h 13676"/>
              <a:gd name="T38" fmla="*/ 5947 w 19003"/>
              <a:gd name="T39" fmla="*/ 2618 h 13676"/>
              <a:gd name="T40" fmla="*/ 8060 w 19003"/>
              <a:gd name="T41" fmla="*/ 3137 h 13676"/>
              <a:gd name="T42" fmla="*/ 9492 w 19003"/>
              <a:gd name="T43" fmla="*/ 4185 h 13676"/>
              <a:gd name="T44" fmla="*/ 899 w 19003"/>
              <a:gd name="T45" fmla="*/ 4437 h 13676"/>
              <a:gd name="T46" fmla="*/ 3861 w 19003"/>
              <a:gd name="T47" fmla="*/ 5125 h 13676"/>
              <a:gd name="T48" fmla="*/ 10009 w 19003"/>
              <a:gd name="T49" fmla="*/ 5092 h 13676"/>
              <a:gd name="T50" fmla="*/ 12131 w 19003"/>
              <a:gd name="T51" fmla="*/ 5009 h 13676"/>
              <a:gd name="T52" fmla="*/ 11391 w 19003"/>
              <a:gd name="T53" fmla="*/ 5691 h 13676"/>
              <a:gd name="T54" fmla="*/ 14003 w 19003"/>
              <a:gd name="T55" fmla="*/ 5355 h 13676"/>
              <a:gd name="T56" fmla="*/ 11047 w 19003"/>
              <a:gd name="T57" fmla="*/ 5685 h 13676"/>
              <a:gd name="T58" fmla="*/ 10839 w 19003"/>
              <a:gd name="T59" fmla="*/ 5882 h 13676"/>
              <a:gd name="T60" fmla="*/ 12730 w 19003"/>
              <a:gd name="T61" fmla="*/ 6068 h 13676"/>
              <a:gd name="T62" fmla="*/ 252 w 19003"/>
              <a:gd name="T63" fmla="*/ 6254 h 13676"/>
              <a:gd name="T64" fmla="*/ 13696 w 19003"/>
              <a:gd name="T65" fmla="*/ 7659 h 13676"/>
              <a:gd name="T66" fmla="*/ 341 w 19003"/>
              <a:gd name="T67" fmla="*/ 6498 h 13676"/>
              <a:gd name="T68" fmla="*/ 4541 w 19003"/>
              <a:gd name="T69" fmla="*/ 6645 h 13676"/>
              <a:gd name="T70" fmla="*/ 3523 w 19003"/>
              <a:gd name="T71" fmla="*/ 6836 h 13676"/>
              <a:gd name="T72" fmla="*/ 3209 w 19003"/>
              <a:gd name="T73" fmla="*/ 6999 h 13676"/>
              <a:gd name="T74" fmla="*/ 11829 w 19003"/>
              <a:gd name="T75" fmla="*/ 7626 h 13676"/>
              <a:gd name="T76" fmla="*/ 14320 w 19003"/>
              <a:gd name="T77" fmla="*/ 9146 h 13676"/>
              <a:gd name="T78" fmla="*/ 724 w 19003"/>
              <a:gd name="T79" fmla="*/ 7529 h 13676"/>
              <a:gd name="T80" fmla="*/ 527 w 19003"/>
              <a:gd name="T81" fmla="*/ 7906 h 13676"/>
              <a:gd name="T82" fmla="*/ 3722 w 19003"/>
              <a:gd name="T83" fmla="*/ 9210 h 13676"/>
              <a:gd name="T84" fmla="*/ 1376 w 19003"/>
              <a:gd name="T85" fmla="*/ 8316 h 13676"/>
              <a:gd name="T86" fmla="*/ 4363 w 19003"/>
              <a:gd name="T87" fmla="*/ 8946 h 13676"/>
              <a:gd name="T88" fmla="*/ 2463 w 19003"/>
              <a:gd name="T89" fmla="*/ 8799 h 13676"/>
              <a:gd name="T90" fmla="*/ 12508 w 19003"/>
              <a:gd name="T91" fmla="*/ 9559 h 13676"/>
              <a:gd name="T92" fmla="*/ 3678 w 19003"/>
              <a:gd name="T93" fmla="*/ 9229 h 13676"/>
              <a:gd name="T94" fmla="*/ 6696 w 19003"/>
              <a:gd name="T95" fmla="*/ 9420 h 13676"/>
              <a:gd name="T96" fmla="*/ 5167 w 19003"/>
              <a:gd name="T97" fmla="*/ 9809 h 13676"/>
              <a:gd name="T98" fmla="*/ 5747 w 19003"/>
              <a:gd name="T99" fmla="*/ 9994 h 13676"/>
              <a:gd name="T100" fmla="*/ 7040 w 19003"/>
              <a:gd name="T101" fmla="*/ 10114 h 13676"/>
              <a:gd name="T102" fmla="*/ 13160 w 19003"/>
              <a:gd name="T103" fmla="*/ 10227 h 13676"/>
              <a:gd name="T104" fmla="*/ 8787 w 19003"/>
              <a:gd name="T105" fmla="*/ 10552 h 13676"/>
              <a:gd name="T106" fmla="*/ 12686 w 19003"/>
              <a:gd name="T107" fmla="*/ 10460 h 13676"/>
              <a:gd name="T108" fmla="*/ 3972 w 19003"/>
              <a:gd name="T109" fmla="*/ 10777 h 13676"/>
              <a:gd name="T110" fmla="*/ 15021 w 19003"/>
              <a:gd name="T111" fmla="*/ 13104 h 13676"/>
              <a:gd name="T112" fmla="*/ 14628 w 19003"/>
              <a:gd name="T113" fmla="*/ 12405 h 13676"/>
              <a:gd name="T114" fmla="*/ 14353 w 19003"/>
              <a:gd name="T115" fmla="*/ 13436 h 13676"/>
              <a:gd name="T116" fmla="*/ 17110 w 19003"/>
              <a:gd name="T117" fmla="*/ 12366 h 13676"/>
              <a:gd name="T118" fmla="*/ 17548 w 19003"/>
              <a:gd name="T119" fmla="*/ 12654 h 13676"/>
              <a:gd name="T120" fmla="*/ 16841 w 19003"/>
              <a:gd name="T121" fmla="*/ 13043 h 13676"/>
              <a:gd name="T122" fmla="*/ 13268 w 19003"/>
              <a:gd name="T123" fmla="*/ 13420 h 13676"/>
              <a:gd name="T124" fmla="*/ 15069 w 19003"/>
              <a:gd name="T125" fmla="*/ 13492 h 13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9003" h="13676">
                <a:moveTo>
                  <a:pt x="7594" y="14"/>
                </a:moveTo>
                <a:lnTo>
                  <a:pt x="7594" y="14"/>
                </a:lnTo>
                <a:cubicBezTo>
                  <a:pt x="7531" y="16"/>
                  <a:pt x="7411" y="19"/>
                  <a:pt x="7234" y="19"/>
                </a:cubicBezTo>
                <a:cubicBezTo>
                  <a:pt x="6945" y="22"/>
                  <a:pt x="6862" y="25"/>
                  <a:pt x="6712" y="41"/>
                </a:cubicBezTo>
                <a:cubicBezTo>
                  <a:pt x="6671" y="47"/>
                  <a:pt x="6502" y="61"/>
                  <a:pt x="6332" y="75"/>
                </a:cubicBezTo>
                <a:cubicBezTo>
                  <a:pt x="6027" y="100"/>
                  <a:pt x="6027" y="100"/>
                  <a:pt x="6027" y="100"/>
                </a:cubicBezTo>
                <a:cubicBezTo>
                  <a:pt x="5975" y="113"/>
                  <a:pt x="5975" y="113"/>
                  <a:pt x="5975" y="113"/>
                </a:cubicBezTo>
                <a:cubicBezTo>
                  <a:pt x="5922" y="130"/>
                  <a:pt x="5922" y="130"/>
                  <a:pt x="5922" y="130"/>
                </a:cubicBezTo>
                <a:cubicBezTo>
                  <a:pt x="5839" y="138"/>
                  <a:pt x="5839" y="138"/>
                  <a:pt x="5839" y="138"/>
                </a:cubicBezTo>
                <a:cubicBezTo>
                  <a:pt x="5753" y="147"/>
                  <a:pt x="5753" y="147"/>
                  <a:pt x="5753" y="147"/>
                </a:cubicBezTo>
                <a:cubicBezTo>
                  <a:pt x="5650" y="188"/>
                  <a:pt x="5650" y="188"/>
                  <a:pt x="5650" y="188"/>
                </a:cubicBezTo>
                <a:cubicBezTo>
                  <a:pt x="5547" y="230"/>
                  <a:pt x="5547" y="230"/>
                  <a:pt x="5547" y="230"/>
                </a:cubicBezTo>
                <a:cubicBezTo>
                  <a:pt x="4837" y="418"/>
                  <a:pt x="4837" y="418"/>
                  <a:pt x="4837" y="418"/>
                </a:cubicBezTo>
                <a:cubicBezTo>
                  <a:pt x="4130" y="610"/>
                  <a:pt x="4130" y="610"/>
                  <a:pt x="4130" y="610"/>
                </a:cubicBezTo>
                <a:cubicBezTo>
                  <a:pt x="3650" y="807"/>
                  <a:pt x="3650" y="807"/>
                  <a:pt x="3650" y="807"/>
                </a:cubicBezTo>
                <a:cubicBezTo>
                  <a:pt x="3168" y="1006"/>
                  <a:pt x="3168" y="1006"/>
                  <a:pt x="3168" y="1006"/>
                </a:cubicBezTo>
                <a:cubicBezTo>
                  <a:pt x="3082" y="1076"/>
                  <a:pt x="3082" y="1076"/>
                  <a:pt x="3082" y="1076"/>
                </a:cubicBezTo>
                <a:cubicBezTo>
                  <a:pt x="2996" y="1145"/>
                  <a:pt x="2996" y="1145"/>
                  <a:pt x="2996" y="1145"/>
                </a:cubicBezTo>
                <a:cubicBezTo>
                  <a:pt x="2868" y="1201"/>
                  <a:pt x="2868" y="1201"/>
                  <a:pt x="2868" y="1201"/>
                </a:cubicBezTo>
                <a:cubicBezTo>
                  <a:pt x="2738" y="1259"/>
                  <a:pt x="2738" y="1259"/>
                  <a:pt x="2738" y="1259"/>
                </a:cubicBezTo>
                <a:cubicBezTo>
                  <a:pt x="2435" y="1442"/>
                  <a:pt x="2435" y="1442"/>
                  <a:pt x="2435" y="1442"/>
                </a:cubicBezTo>
                <a:cubicBezTo>
                  <a:pt x="2130" y="1622"/>
                  <a:pt x="2130" y="1622"/>
                  <a:pt x="2130" y="1622"/>
                </a:cubicBezTo>
                <a:cubicBezTo>
                  <a:pt x="1853" y="1908"/>
                  <a:pt x="1853" y="1908"/>
                  <a:pt x="1853" y="1908"/>
                </a:cubicBezTo>
                <a:cubicBezTo>
                  <a:pt x="1575" y="2194"/>
                  <a:pt x="1575" y="2194"/>
                  <a:pt x="1575" y="2194"/>
                </a:cubicBezTo>
                <a:cubicBezTo>
                  <a:pt x="1390" y="2493"/>
                  <a:pt x="1390" y="2493"/>
                  <a:pt x="1390" y="2493"/>
                </a:cubicBezTo>
                <a:cubicBezTo>
                  <a:pt x="1207" y="2793"/>
                  <a:pt x="1207" y="2793"/>
                  <a:pt x="1207" y="2793"/>
                </a:cubicBezTo>
                <a:cubicBezTo>
                  <a:pt x="1012" y="3322"/>
                  <a:pt x="1012" y="3322"/>
                  <a:pt x="1012" y="3322"/>
                </a:cubicBezTo>
                <a:cubicBezTo>
                  <a:pt x="818" y="3849"/>
                  <a:pt x="818" y="3849"/>
                  <a:pt x="818" y="3849"/>
                </a:cubicBezTo>
                <a:cubicBezTo>
                  <a:pt x="779" y="4010"/>
                  <a:pt x="779" y="4010"/>
                  <a:pt x="779" y="4010"/>
                </a:cubicBezTo>
                <a:cubicBezTo>
                  <a:pt x="760" y="4096"/>
                  <a:pt x="732" y="4221"/>
                  <a:pt x="718" y="4285"/>
                </a:cubicBezTo>
                <a:cubicBezTo>
                  <a:pt x="707" y="4346"/>
                  <a:pt x="693" y="4410"/>
                  <a:pt x="688" y="4426"/>
                </a:cubicBezTo>
                <a:cubicBezTo>
                  <a:pt x="680" y="4454"/>
                  <a:pt x="627" y="4695"/>
                  <a:pt x="602" y="4840"/>
                </a:cubicBezTo>
                <a:cubicBezTo>
                  <a:pt x="558" y="5061"/>
                  <a:pt x="519" y="5328"/>
                  <a:pt x="480" y="5635"/>
                </a:cubicBezTo>
                <a:cubicBezTo>
                  <a:pt x="444" y="5943"/>
                  <a:pt x="444" y="5943"/>
                  <a:pt x="444" y="5943"/>
                </a:cubicBezTo>
                <a:cubicBezTo>
                  <a:pt x="416" y="5971"/>
                  <a:pt x="416" y="5971"/>
                  <a:pt x="416" y="5971"/>
                </a:cubicBezTo>
                <a:cubicBezTo>
                  <a:pt x="350" y="6043"/>
                  <a:pt x="327" y="6068"/>
                  <a:pt x="297" y="6107"/>
                </a:cubicBezTo>
                <a:cubicBezTo>
                  <a:pt x="272" y="6143"/>
                  <a:pt x="208" y="6221"/>
                  <a:pt x="83" y="6368"/>
                </a:cubicBezTo>
                <a:cubicBezTo>
                  <a:pt x="78" y="6373"/>
                  <a:pt x="78" y="6373"/>
                  <a:pt x="78" y="6373"/>
                </a:cubicBezTo>
                <a:cubicBezTo>
                  <a:pt x="83" y="6404"/>
                  <a:pt x="83" y="6404"/>
                  <a:pt x="83" y="6404"/>
                </a:cubicBezTo>
                <a:cubicBezTo>
                  <a:pt x="89" y="6431"/>
                  <a:pt x="89" y="6431"/>
                  <a:pt x="89" y="6431"/>
                </a:cubicBezTo>
                <a:cubicBezTo>
                  <a:pt x="47" y="6487"/>
                  <a:pt x="47" y="6487"/>
                  <a:pt x="47" y="6487"/>
                </a:cubicBezTo>
                <a:cubicBezTo>
                  <a:pt x="8" y="6545"/>
                  <a:pt x="8" y="6545"/>
                  <a:pt x="8" y="6545"/>
                </a:cubicBezTo>
                <a:cubicBezTo>
                  <a:pt x="6" y="6825"/>
                  <a:pt x="6" y="6825"/>
                  <a:pt x="6" y="6825"/>
                </a:cubicBezTo>
                <a:cubicBezTo>
                  <a:pt x="0" y="7104"/>
                  <a:pt x="0" y="7104"/>
                  <a:pt x="0" y="7104"/>
                </a:cubicBezTo>
                <a:cubicBezTo>
                  <a:pt x="94" y="8214"/>
                  <a:pt x="94" y="8214"/>
                  <a:pt x="94" y="8214"/>
                </a:cubicBezTo>
                <a:cubicBezTo>
                  <a:pt x="186" y="9321"/>
                  <a:pt x="186" y="9321"/>
                  <a:pt x="186" y="9321"/>
                </a:cubicBezTo>
                <a:cubicBezTo>
                  <a:pt x="172" y="9362"/>
                  <a:pt x="172" y="9362"/>
                  <a:pt x="172" y="9362"/>
                </a:cubicBezTo>
                <a:cubicBezTo>
                  <a:pt x="158" y="9404"/>
                  <a:pt x="158" y="9404"/>
                  <a:pt x="158" y="9404"/>
                </a:cubicBezTo>
                <a:cubicBezTo>
                  <a:pt x="161" y="9487"/>
                  <a:pt x="161" y="9487"/>
                  <a:pt x="161" y="9487"/>
                </a:cubicBezTo>
                <a:cubicBezTo>
                  <a:pt x="164" y="9576"/>
                  <a:pt x="166" y="9612"/>
                  <a:pt x="172" y="9620"/>
                </a:cubicBezTo>
                <a:cubicBezTo>
                  <a:pt x="175" y="9620"/>
                  <a:pt x="180" y="9656"/>
                  <a:pt x="189" y="9695"/>
                </a:cubicBezTo>
                <a:cubicBezTo>
                  <a:pt x="203" y="9764"/>
                  <a:pt x="211" y="9781"/>
                  <a:pt x="236" y="9842"/>
                </a:cubicBezTo>
                <a:cubicBezTo>
                  <a:pt x="241" y="9850"/>
                  <a:pt x="250" y="9872"/>
                  <a:pt x="258" y="9892"/>
                </a:cubicBezTo>
                <a:cubicBezTo>
                  <a:pt x="272" y="9922"/>
                  <a:pt x="272" y="9922"/>
                  <a:pt x="272" y="9922"/>
                </a:cubicBezTo>
                <a:cubicBezTo>
                  <a:pt x="452" y="10136"/>
                  <a:pt x="452" y="10136"/>
                  <a:pt x="452" y="10136"/>
                </a:cubicBezTo>
                <a:cubicBezTo>
                  <a:pt x="552" y="10255"/>
                  <a:pt x="638" y="10358"/>
                  <a:pt x="643" y="10363"/>
                </a:cubicBezTo>
                <a:cubicBezTo>
                  <a:pt x="657" y="10377"/>
                  <a:pt x="757" y="10435"/>
                  <a:pt x="771" y="10435"/>
                </a:cubicBezTo>
                <a:cubicBezTo>
                  <a:pt x="777" y="10435"/>
                  <a:pt x="813" y="10435"/>
                  <a:pt x="852" y="10433"/>
                </a:cubicBezTo>
                <a:cubicBezTo>
                  <a:pt x="890" y="10433"/>
                  <a:pt x="1182" y="10433"/>
                  <a:pt x="1498" y="10433"/>
                </a:cubicBezTo>
                <a:cubicBezTo>
                  <a:pt x="2075" y="10438"/>
                  <a:pt x="2075" y="10438"/>
                  <a:pt x="2075" y="10438"/>
                </a:cubicBezTo>
                <a:cubicBezTo>
                  <a:pt x="2768" y="10560"/>
                  <a:pt x="2768" y="10560"/>
                  <a:pt x="2768" y="10560"/>
                </a:cubicBezTo>
                <a:cubicBezTo>
                  <a:pt x="3462" y="10682"/>
                  <a:pt x="3462" y="10682"/>
                  <a:pt x="3462" y="10682"/>
                </a:cubicBezTo>
                <a:cubicBezTo>
                  <a:pt x="3575" y="10729"/>
                  <a:pt x="3575" y="10729"/>
                  <a:pt x="3575" y="10729"/>
                </a:cubicBezTo>
                <a:cubicBezTo>
                  <a:pt x="3689" y="10779"/>
                  <a:pt x="3689" y="10779"/>
                  <a:pt x="3689" y="10779"/>
                </a:cubicBezTo>
                <a:cubicBezTo>
                  <a:pt x="3709" y="10771"/>
                  <a:pt x="3709" y="10771"/>
                  <a:pt x="3709" y="10771"/>
                </a:cubicBezTo>
                <a:cubicBezTo>
                  <a:pt x="3731" y="10766"/>
                  <a:pt x="3731" y="10766"/>
                  <a:pt x="3731" y="10766"/>
                </a:cubicBezTo>
                <a:cubicBezTo>
                  <a:pt x="3761" y="10779"/>
                  <a:pt x="3761" y="10779"/>
                  <a:pt x="3761" y="10779"/>
                </a:cubicBezTo>
                <a:cubicBezTo>
                  <a:pt x="3781" y="10785"/>
                  <a:pt x="3983" y="10882"/>
                  <a:pt x="4216" y="10987"/>
                </a:cubicBezTo>
                <a:cubicBezTo>
                  <a:pt x="4640" y="11184"/>
                  <a:pt x="4640" y="11184"/>
                  <a:pt x="4640" y="11184"/>
                </a:cubicBezTo>
                <a:cubicBezTo>
                  <a:pt x="5830" y="11917"/>
                  <a:pt x="5830" y="11917"/>
                  <a:pt x="5830" y="11917"/>
                </a:cubicBezTo>
                <a:cubicBezTo>
                  <a:pt x="6760" y="12485"/>
                  <a:pt x="7023" y="12649"/>
                  <a:pt x="7026" y="12657"/>
                </a:cubicBezTo>
                <a:cubicBezTo>
                  <a:pt x="7026" y="12663"/>
                  <a:pt x="7042" y="12674"/>
                  <a:pt x="7084" y="12696"/>
                </a:cubicBezTo>
                <a:cubicBezTo>
                  <a:pt x="7115" y="12715"/>
                  <a:pt x="7178" y="12754"/>
                  <a:pt x="7223" y="12785"/>
                </a:cubicBezTo>
                <a:cubicBezTo>
                  <a:pt x="7306" y="12840"/>
                  <a:pt x="7306" y="12840"/>
                  <a:pt x="7306" y="12840"/>
                </a:cubicBezTo>
                <a:cubicBezTo>
                  <a:pt x="7353" y="12854"/>
                  <a:pt x="7353" y="12854"/>
                  <a:pt x="7353" y="12854"/>
                </a:cubicBezTo>
                <a:cubicBezTo>
                  <a:pt x="7378" y="12862"/>
                  <a:pt x="7417" y="12882"/>
                  <a:pt x="7445" y="12896"/>
                </a:cubicBezTo>
                <a:cubicBezTo>
                  <a:pt x="7492" y="12923"/>
                  <a:pt x="7492" y="12923"/>
                  <a:pt x="7492" y="12923"/>
                </a:cubicBezTo>
                <a:cubicBezTo>
                  <a:pt x="7705" y="12984"/>
                  <a:pt x="7705" y="12984"/>
                  <a:pt x="7705" y="12984"/>
                </a:cubicBezTo>
                <a:cubicBezTo>
                  <a:pt x="7822" y="13018"/>
                  <a:pt x="7919" y="13045"/>
                  <a:pt x="7925" y="13048"/>
                </a:cubicBezTo>
                <a:cubicBezTo>
                  <a:pt x="7927" y="13048"/>
                  <a:pt x="7933" y="13045"/>
                  <a:pt x="7938" y="13043"/>
                </a:cubicBezTo>
                <a:cubicBezTo>
                  <a:pt x="7944" y="13034"/>
                  <a:pt x="7944" y="13034"/>
                  <a:pt x="7944" y="13034"/>
                </a:cubicBezTo>
                <a:cubicBezTo>
                  <a:pt x="8601" y="13117"/>
                  <a:pt x="8601" y="13117"/>
                  <a:pt x="8601" y="13117"/>
                </a:cubicBezTo>
                <a:cubicBezTo>
                  <a:pt x="8962" y="13165"/>
                  <a:pt x="9259" y="13201"/>
                  <a:pt x="9261" y="13203"/>
                </a:cubicBezTo>
                <a:cubicBezTo>
                  <a:pt x="9264" y="13203"/>
                  <a:pt x="9267" y="13206"/>
                  <a:pt x="9261" y="13209"/>
                </a:cubicBezTo>
                <a:cubicBezTo>
                  <a:pt x="9256" y="13215"/>
                  <a:pt x="9256" y="13228"/>
                  <a:pt x="9264" y="13234"/>
                </a:cubicBezTo>
                <a:cubicBezTo>
                  <a:pt x="9267" y="13237"/>
                  <a:pt x="9732" y="13298"/>
                  <a:pt x="10206" y="13356"/>
                </a:cubicBezTo>
                <a:cubicBezTo>
                  <a:pt x="10453" y="13389"/>
                  <a:pt x="11041" y="13448"/>
                  <a:pt x="11410" y="13478"/>
                </a:cubicBezTo>
                <a:cubicBezTo>
                  <a:pt x="11693" y="13500"/>
                  <a:pt x="11807" y="13511"/>
                  <a:pt x="11959" y="13531"/>
                </a:cubicBezTo>
                <a:cubicBezTo>
                  <a:pt x="12153" y="13556"/>
                  <a:pt x="12153" y="13556"/>
                  <a:pt x="12153" y="13556"/>
                </a:cubicBezTo>
                <a:cubicBezTo>
                  <a:pt x="12891" y="13597"/>
                  <a:pt x="12891" y="13597"/>
                  <a:pt x="12891" y="13597"/>
                </a:cubicBezTo>
                <a:cubicBezTo>
                  <a:pt x="13629" y="13636"/>
                  <a:pt x="13629" y="13636"/>
                  <a:pt x="13629" y="13636"/>
                </a:cubicBezTo>
                <a:cubicBezTo>
                  <a:pt x="14497" y="13655"/>
                  <a:pt x="14497" y="13655"/>
                  <a:pt x="14497" y="13655"/>
                </a:cubicBezTo>
                <a:cubicBezTo>
                  <a:pt x="15365" y="13675"/>
                  <a:pt x="15365" y="13675"/>
                  <a:pt x="15365" y="13675"/>
                </a:cubicBezTo>
                <a:cubicBezTo>
                  <a:pt x="15565" y="13667"/>
                  <a:pt x="15565" y="13667"/>
                  <a:pt x="15565" y="13667"/>
                </a:cubicBezTo>
                <a:cubicBezTo>
                  <a:pt x="15765" y="13658"/>
                  <a:pt x="15765" y="13658"/>
                  <a:pt x="15765" y="13658"/>
                </a:cubicBezTo>
                <a:cubicBezTo>
                  <a:pt x="15967" y="13614"/>
                  <a:pt x="15967" y="13614"/>
                  <a:pt x="15967" y="13614"/>
                </a:cubicBezTo>
                <a:cubicBezTo>
                  <a:pt x="16170" y="13570"/>
                  <a:pt x="16170" y="13570"/>
                  <a:pt x="16170" y="13570"/>
                </a:cubicBezTo>
                <a:cubicBezTo>
                  <a:pt x="16247" y="13539"/>
                  <a:pt x="16247" y="13539"/>
                  <a:pt x="16247" y="13539"/>
                </a:cubicBezTo>
                <a:cubicBezTo>
                  <a:pt x="16339" y="13500"/>
                  <a:pt x="16342" y="13500"/>
                  <a:pt x="16569" y="13370"/>
                </a:cubicBezTo>
                <a:cubicBezTo>
                  <a:pt x="16683" y="13306"/>
                  <a:pt x="16777" y="13251"/>
                  <a:pt x="16841" y="13209"/>
                </a:cubicBezTo>
                <a:cubicBezTo>
                  <a:pt x="16894" y="13173"/>
                  <a:pt x="16971" y="13126"/>
                  <a:pt x="17010" y="13101"/>
                </a:cubicBezTo>
                <a:cubicBezTo>
                  <a:pt x="17068" y="13067"/>
                  <a:pt x="17296" y="12915"/>
                  <a:pt x="17365" y="12865"/>
                </a:cubicBezTo>
                <a:cubicBezTo>
                  <a:pt x="17454" y="12798"/>
                  <a:pt x="17637" y="12657"/>
                  <a:pt x="17665" y="12632"/>
                </a:cubicBezTo>
                <a:cubicBezTo>
                  <a:pt x="17681" y="12613"/>
                  <a:pt x="17773" y="12532"/>
                  <a:pt x="17864" y="12452"/>
                </a:cubicBezTo>
                <a:cubicBezTo>
                  <a:pt x="17978" y="12352"/>
                  <a:pt x="18042" y="12291"/>
                  <a:pt x="18064" y="12266"/>
                </a:cubicBezTo>
                <a:cubicBezTo>
                  <a:pt x="18081" y="12247"/>
                  <a:pt x="18128" y="12199"/>
                  <a:pt x="18167" y="12163"/>
                </a:cubicBezTo>
                <a:cubicBezTo>
                  <a:pt x="18239" y="12094"/>
                  <a:pt x="18239" y="12094"/>
                  <a:pt x="18239" y="12094"/>
                </a:cubicBezTo>
                <a:cubicBezTo>
                  <a:pt x="18380" y="11914"/>
                  <a:pt x="18380" y="11914"/>
                  <a:pt x="18380" y="11914"/>
                </a:cubicBezTo>
                <a:cubicBezTo>
                  <a:pt x="18458" y="11814"/>
                  <a:pt x="18527" y="11725"/>
                  <a:pt x="18533" y="11720"/>
                </a:cubicBezTo>
                <a:cubicBezTo>
                  <a:pt x="18538" y="11714"/>
                  <a:pt x="18591" y="11623"/>
                  <a:pt x="18652" y="11517"/>
                </a:cubicBezTo>
                <a:cubicBezTo>
                  <a:pt x="18763" y="11326"/>
                  <a:pt x="18763" y="11326"/>
                  <a:pt x="18763" y="11326"/>
                </a:cubicBezTo>
                <a:cubicBezTo>
                  <a:pt x="18791" y="11243"/>
                  <a:pt x="18791" y="11243"/>
                  <a:pt x="18791" y="11243"/>
                </a:cubicBezTo>
                <a:cubicBezTo>
                  <a:pt x="18805" y="11198"/>
                  <a:pt x="18821" y="11148"/>
                  <a:pt x="18827" y="11134"/>
                </a:cubicBezTo>
                <a:cubicBezTo>
                  <a:pt x="18832" y="11118"/>
                  <a:pt x="18863" y="11029"/>
                  <a:pt x="18893" y="10935"/>
                </a:cubicBezTo>
                <a:cubicBezTo>
                  <a:pt x="18949" y="10766"/>
                  <a:pt x="18949" y="10766"/>
                  <a:pt x="18949" y="10766"/>
                </a:cubicBezTo>
                <a:cubicBezTo>
                  <a:pt x="18963" y="10680"/>
                  <a:pt x="18963" y="10680"/>
                  <a:pt x="18963" y="10680"/>
                </a:cubicBezTo>
                <a:cubicBezTo>
                  <a:pt x="18993" y="10474"/>
                  <a:pt x="19002" y="10383"/>
                  <a:pt x="18996" y="10222"/>
                </a:cubicBezTo>
                <a:cubicBezTo>
                  <a:pt x="18993" y="10111"/>
                  <a:pt x="18993" y="10111"/>
                  <a:pt x="18993" y="10111"/>
                </a:cubicBezTo>
                <a:cubicBezTo>
                  <a:pt x="18977" y="9994"/>
                  <a:pt x="18977" y="9994"/>
                  <a:pt x="18977" y="9994"/>
                </a:cubicBezTo>
                <a:cubicBezTo>
                  <a:pt x="18968" y="9931"/>
                  <a:pt x="18960" y="9872"/>
                  <a:pt x="18957" y="9864"/>
                </a:cubicBezTo>
                <a:cubicBezTo>
                  <a:pt x="18957" y="9859"/>
                  <a:pt x="18943" y="9831"/>
                  <a:pt x="18932" y="9806"/>
                </a:cubicBezTo>
                <a:cubicBezTo>
                  <a:pt x="18910" y="9761"/>
                  <a:pt x="18910" y="9761"/>
                  <a:pt x="18910" y="9761"/>
                </a:cubicBezTo>
                <a:cubicBezTo>
                  <a:pt x="18860" y="9706"/>
                  <a:pt x="18860" y="9706"/>
                  <a:pt x="18860" y="9706"/>
                </a:cubicBezTo>
                <a:cubicBezTo>
                  <a:pt x="18785" y="9626"/>
                  <a:pt x="18738" y="9590"/>
                  <a:pt x="18608" y="9520"/>
                </a:cubicBezTo>
                <a:cubicBezTo>
                  <a:pt x="18469" y="9448"/>
                  <a:pt x="18084" y="9268"/>
                  <a:pt x="17778" y="9132"/>
                </a:cubicBezTo>
                <a:cubicBezTo>
                  <a:pt x="17587" y="9046"/>
                  <a:pt x="17587" y="9046"/>
                  <a:pt x="17587" y="9046"/>
                </a:cubicBezTo>
                <a:cubicBezTo>
                  <a:pt x="17116" y="8860"/>
                  <a:pt x="17116" y="8860"/>
                  <a:pt x="17116" y="8860"/>
                </a:cubicBezTo>
                <a:cubicBezTo>
                  <a:pt x="16641" y="8674"/>
                  <a:pt x="16641" y="8674"/>
                  <a:pt x="16641" y="8674"/>
                </a:cubicBezTo>
                <a:cubicBezTo>
                  <a:pt x="15856" y="6902"/>
                  <a:pt x="15856" y="6902"/>
                  <a:pt x="15856" y="6902"/>
                </a:cubicBezTo>
                <a:cubicBezTo>
                  <a:pt x="15071" y="5131"/>
                  <a:pt x="15071" y="5131"/>
                  <a:pt x="15071" y="5131"/>
                </a:cubicBezTo>
                <a:cubicBezTo>
                  <a:pt x="15058" y="5117"/>
                  <a:pt x="15058" y="5117"/>
                  <a:pt x="15058" y="5117"/>
                </a:cubicBezTo>
                <a:cubicBezTo>
                  <a:pt x="15049" y="5109"/>
                  <a:pt x="15038" y="5095"/>
                  <a:pt x="15035" y="5086"/>
                </a:cubicBezTo>
                <a:cubicBezTo>
                  <a:pt x="15030" y="5075"/>
                  <a:pt x="15024" y="5070"/>
                  <a:pt x="15021" y="5070"/>
                </a:cubicBezTo>
                <a:cubicBezTo>
                  <a:pt x="15021" y="5070"/>
                  <a:pt x="14996" y="5050"/>
                  <a:pt x="14971" y="5025"/>
                </a:cubicBezTo>
                <a:cubicBezTo>
                  <a:pt x="14924" y="4981"/>
                  <a:pt x="14924" y="4981"/>
                  <a:pt x="14924" y="4981"/>
                </a:cubicBezTo>
                <a:cubicBezTo>
                  <a:pt x="14866" y="4967"/>
                  <a:pt x="14866" y="4967"/>
                  <a:pt x="14866" y="4967"/>
                </a:cubicBezTo>
                <a:cubicBezTo>
                  <a:pt x="14686" y="4925"/>
                  <a:pt x="14661" y="4917"/>
                  <a:pt x="14655" y="4914"/>
                </a:cubicBezTo>
                <a:cubicBezTo>
                  <a:pt x="14652" y="4912"/>
                  <a:pt x="14608" y="4834"/>
                  <a:pt x="14555" y="4745"/>
                </a:cubicBezTo>
                <a:cubicBezTo>
                  <a:pt x="14464" y="4579"/>
                  <a:pt x="14464" y="4579"/>
                  <a:pt x="14464" y="4579"/>
                </a:cubicBezTo>
                <a:cubicBezTo>
                  <a:pt x="14228" y="4213"/>
                  <a:pt x="14228" y="4213"/>
                  <a:pt x="14228" y="4213"/>
                </a:cubicBezTo>
                <a:cubicBezTo>
                  <a:pt x="13992" y="3844"/>
                  <a:pt x="13992" y="3844"/>
                  <a:pt x="13992" y="3844"/>
                </a:cubicBezTo>
                <a:cubicBezTo>
                  <a:pt x="13646" y="3397"/>
                  <a:pt x="13646" y="3397"/>
                  <a:pt x="13646" y="3397"/>
                </a:cubicBezTo>
                <a:cubicBezTo>
                  <a:pt x="13299" y="2948"/>
                  <a:pt x="13299" y="2948"/>
                  <a:pt x="13299" y="2948"/>
                </a:cubicBezTo>
                <a:cubicBezTo>
                  <a:pt x="13177" y="2840"/>
                  <a:pt x="13177" y="2840"/>
                  <a:pt x="13177" y="2840"/>
                </a:cubicBezTo>
                <a:cubicBezTo>
                  <a:pt x="13055" y="2732"/>
                  <a:pt x="13055" y="2732"/>
                  <a:pt x="13055" y="2732"/>
                </a:cubicBezTo>
                <a:cubicBezTo>
                  <a:pt x="12911" y="2557"/>
                  <a:pt x="12911" y="2557"/>
                  <a:pt x="12911" y="2557"/>
                </a:cubicBezTo>
                <a:cubicBezTo>
                  <a:pt x="12764" y="2385"/>
                  <a:pt x="12764" y="2385"/>
                  <a:pt x="12764" y="2385"/>
                </a:cubicBezTo>
                <a:cubicBezTo>
                  <a:pt x="12162" y="1886"/>
                  <a:pt x="12162" y="1886"/>
                  <a:pt x="12162" y="1886"/>
                </a:cubicBezTo>
                <a:cubicBezTo>
                  <a:pt x="11560" y="1384"/>
                  <a:pt x="11560" y="1384"/>
                  <a:pt x="11560" y="1384"/>
                </a:cubicBezTo>
                <a:cubicBezTo>
                  <a:pt x="11454" y="1317"/>
                  <a:pt x="11454" y="1317"/>
                  <a:pt x="11454" y="1317"/>
                </a:cubicBezTo>
                <a:cubicBezTo>
                  <a:pt x="11399" y="1278"/>
                  <a:pt x="11282" y="1201"/>
                  <a:pt x="11197" y="1145"/>
                </a:cubicBezTo>
                <a:cubicBezTo>
                  <a:pt x="11074" y="1062"/>
                  <a:pt x="11013" y="1026"/>
                  <a:pt x="10900" y="962"/>
                </a:cubicBezTo>
                <a:cubicBezTo>
                  <a:pt x="10825" y="918"/>
                  <a:pt x="10736" y="868"/>
                  <a:pt x="10705" y="851"/>
                </a:cubicBezTo>
                <a:cubicBezTo>
                  <a:pt x="10542" y="754"/>
                  <a:pt x="10423" y="693"/>
                  <a:pt x="10192" y="588"/>
                </a:cubicBezTo>
                <a:cubicBezTo>
                  <a:pt x="10032" y="516"/>
                  <a:pt x="10032" y="516"/>
                  <a:pt x="10032" y="516"/>
                </a:cubicBezTo>
                <a:cubicBezTo>
                  <a:pt x="9940" y="485"/>
                  <a:pt x="9940" y="485"/>
                  <a:pt x="9940" y="485"/>
                </a:cubicBezTo>
                <a:cubicBezTo>
                  <a:pt x="9887" y="466"/>
                  <a:pt x="9785" y="427"/>
                  <a:pt x="9710" y="396"/>
                </a:cubicBezTo>
                <a:cubicBezTo>
                  <a:pt x="9574" y="341"/>
                  <a:pt x="9574" y="341"/>
                  <a:pt x="9574" y="341"/>
                </a:cubicBezTo>
                <a:cubicBezTo>
                  <a:pt x="9359" y="280"/>
                  <a:pt x="9359" y="280"/>
                  <a:pt x="9359" y="280"/>
                </a:cubicBezTo>
                <a:cubicBezTo>
                  <a:pt x="9239" y="244"/>
                  <a:pt x="9112" y="208"/>
                  <a:pt x="9076" y="194"/>
                </a:cubicBezTo>
                <a:cubicBezTo>
                  <a:pt x="8990" y="166"/>
                  <a:pt x="8917" y="149"/>
                  <a:pt x="8748" y="116"/>
                </a:cubicBezTo>
                <a:cubicBezTo>
                  <a:pt x="8612" y="88"/>
                  <a:pt x="8612" y="88"/>
                  <a:pt x="8612" y="88"/>
                </a:cubicBezTo>
                <a:cubicBezTo>
                  <a:pt x="8379" y="58"/>
                  <a:pt x="8379" y="58"/>
                  <a:pt x="8379" y="58"/>
                </a:cubicBezTo>
                <a:cubicBezTo>
                  <a:pt x="8010" y="11"/>
                  <a:pt x="7814" y="0"/>
                  <a:pt x="7594" y="14"/>
                </a:cubicBezTo>
                <a:close/>
                <a:moveTo>
                  <a:pt x="7694" y="44"/>
                </a:moveTo>
                <a:lnTo>
                  <a:pt x="7694" y="44"/>
                </a:lnTo>
                <a:cubicBezTo>
                  <a:pt x="7694" y="47"/>
                  <a:pt x="7655" y="77"/>
                  <a:pt x="7647" y="83"/>
                </a:cubicBezTo>
                <a:cubicBezTo>
                  <a:pt x="7644" y="83"/>
                  <a:pt x="7636" y="80"/>
                  <a:pt x="7628" y="75"/>
                </a:cubicBezTo>
                <a:cubicBezTo>
                  <a:pt x="7617" y="69"/>
                  <a:pt x="7603" y="63"/>
                  <a:pt x="7592" y="61"/>
                </a:cubicBezTo>
                <a:cubicBezTo>
                  <a:pt x="7553" y="52"/>
                  <a:pt x="7556" y="50"/>
                  <a:pt x="7606" y="47"/>
                </a:cubicBezTo>
                <a:cubicBezTo>
                  <a:pt x="7680" y="44"/>
                  <a:pt x="7694" y="44"/>
                  <a:pt x="7694" y="44"/>
                </a:cubicBezTo>
                <a:close/>
                <a:moveTo>
                  <a:pt x="7961" y="75"/>
                </a:moveTo>
                <a:lnTo>
                  <a:pt x="7961" y="75"/>
                </a:lnTo>
                <a:cubicBezTo>
                  <a:pt x="8066" y="88"/>
                  <a:pt x="8152" y="105"/>
                  <a:pt x="8155" y="105"/>
                </a:cubicBezTo>
                <a:cubicBezTo>
                  <a:pt x="8158" y="105"/>
                  <a:pt x="8127" y="105"/>
                  <a:pt x="8091" y="105"/>
                </a:cubicBezTo>
                <a:cubicBezTo>
                  <a:pt x="8055" y="102"/>
                  <a:pt x="7955" y="102"/>
                  <a:pt x="7866" y="100"/>
                </a:cubicBezTo>
                <a:cubicBezTo>
                  <a:pt x="7780" y="97"/>
                  <a:pt x="7705" y="94"/>
                  <a:pt x="7703" y="94"/>
                </a:cubicBezTo>
                <a:cubicBezTo>
                  <a:pt x="7694" y="91"/>
                  <a:pt x="7694" y="91"/>
                  <a:pt x="7694" y="91"/>
                </a:cubicBezTo>
                <a:cubicBezTo>
                  <a:pt x="7725" y="69"/>
                  <a:pt x="7725" y="69"/>
                  <a:pt x="7725" y="69"/>
                </a:cubicBezTo>
                <a:cubicBezTo>
                  <a:pt x="7741" y="55"/>
                  <a:pt x="7758" y="44"/>
                  <a:pt x="7764" y="44"/>
                </a:cubicBezTo>
                <a:cubicBezTo>
                  <a:pt x="7769" y="44"/>
                  <a:pt x="7858" y="58"/>
                  <a:pt x="7961" y="75"/>
                </a:cubicBezTo>
                <a:close/>
                <a:moveTo>
                  <a:pt x="7456" y="83"/>
                </a:moveTo>
                <a:lnTo>
                  <a:pt x="7456" y="83"/>
                </a:lnTo>
                <a:cubicBezTo>
                  <a:pt x="7461" y="86"/>
                  <a:pt x="7442" y="88"/>
                  <a:pt x="7400" y="88"/>
                </a:cubicBezTo>
                <a:cubicBezTo>
                  <a:pt x="7367" y="91"/>
                  <a:pt x="7337" y="91"/>
                  <a:pt x="7337" y="91"/>
                </a:cubicBezTo>
                <a:cubicBezTo>
                  <a:pt x="7334" y="88"/>
                  <a:pt x="7339" y="83"/>
                  <a:pt x="7348" y="75"/>
                </a:cubicBezTo>
                <a:cubicBezTo>
                  <a:pt x="7361" y="63"/>
                  <a:pt x="7361" y="63"/>
                  <a:pt x="7361" y="63"/>
                </a:cubicBezTo>
                <a:cubicBezTo>
                  <a:pt x="7406" y="72"/>
                  <a:pt x="7406" y="72"/>
                  <a:pt x="7406" y="72"/>
                </a:cubicBezTo>
                <a:cubicBezTo>
                  <a:pt x="7428" y="77"/>
                  <a:pt x="7450" y="83"/>
                  <a:pt x="7456" y="83"/>
                </a:cubicBezTo>
                <a:close/>
                <a:moveTo>
                  <a:pt x="7298" y="72"/>
                </a:moveTo>
                <a:lnTo>
                  <a:pt x="7298" y="72"/>
                </a:lnTo>
                <a:cubicBezTo>
                  <a:pt x="7298" y="75"/>
                  <a:pt x="7295" y="80"/>
                  <a:pt x="7289" y="86"/>
                </a:cubicBezTo>
                <a:cubicBezTo>
                  <a:pt x="7281" y="94"/>
                  <a:pt x="7281" y="94"/>
                  <a:pt x="7281" y="94"/>
                </a:cubicBezTo>
                <a:cubicBezTo>
                  <a:pt x="7245" y="91"/>
                  <a:pt x="7245" y="91"/>
                  <a:pt x="7245" y="91"/>
                </a:cubicBezTo>
                <a:cubicBezTo>
                  <a:pt x="7228" y="88"/>
                  <a:pt x="7209" y="86"/>
                  <a:pt x="7206" y="86"/>
                </a:cubicBezTo>
                <a:cubicBezTo>
                  <a:pt x="7203" y="83"/>
                  <a:pt x="7220" y="80"/>
                  <a:pt x="7245" y="77"/>
                </a:cubicBezTo>
                <a:cubicBezTo>
                  <a:pt x="7300" y="69"/>
                  <a:pt x="7298" y="69"/>
                  <a:pt x="7298" y="72"/>
                </a:cubicBezTo>
                <a:close/>
                <a:moveTo>
                  <a:pt x="6496" y="102"/>
                </a:moveTo>
                <a:lnTo>
                  <a:pt x="6496" y="102"/>
                </a:lnTo>
                <a:cubicBezTo>
                  <a:pt x="6496" y="105"/>
                  <a:pt x="6485" y="108"/>
                  <a:pt x="6474" y="108"/>
                </a:cubicBezTo>
                <a:cubicBezTo>
                  <a:pt x="6460" y="108"/>
                  <a:pt x="6452" y="105"/>
                  <a:pt x="6452" y="102"/>
                </a:cubicBezTo>
                <a:cubicBezTo>
                  <a:pt x="6454" y="100"/>
                  <a:pt x="6466" y="100"/>
                  <a:pt x="6477" y="100"/>
                </a:cubicBezTo>
                <a:cubicBezTo>
                  <a:pt x="6490" y="100"/>
                  <a:pt x="6499" y="100"/>
                  <a:pt x="6496" y="102"/>
                </a:cubicBezTo>
                <a:close/>
                <a:moveTo>
                  <a:pt x="7056" y="111"/>
                </a:moveTo>
                <a:lnTo>
                  <a:pt x="7056" y="111"/>
                </a:lnTo>
                <a:cubicBezTo>
                  <a:pt x="7051" y="111"/>
                  <a:pt x="7034" y="113"/>
                  <a:pt x="7023" y="113"/>
                </a:cubicBezTo>
                <a:cubicBezTo>
                  <a:pt x="7006" y="113"/>
                  <a:pt x="7004" y="113"/>
                  <a:pt x="7012" y="111"/>
                </a:cubicBezTo>
                <a:cubicBezTo>
                  <a:pt x="7018" y="108"/>
                  <a:pt x="7031" y="108"/>
                  <a:pt x="7045" y="108"/>
                </a:cubicBezTo>
                <a:cubicBezTo>
                  <a:pt x="7062" y="108"/>
                  <a:pt x="7065" y="108"/>
                  <a:pt x="7056" y="111"/>
                </a:cubicBezTo>
                <a:close/>
                <a:moveTo>
                  <a:pt x="7553" y="125"/>
                </a:moveTo>
                <a:lnTo>
                  <a:pt x="7553" y="125"/>
                </a:lnTo>
                <a:cubicBezTo>
                  <a:pt x="7547" y="130"/>
                  <a:pt x="7517" y="130"/>
                  <a:pt x="7500" y="125"/>
                </a:cubicBezTo>
                <a:cubicBezTo>
                  <a:pt x="7495" y="125"/>
                  <a:pt x="7503" y="122"/>
                  <a:pt x="7522" y="122"/>
                </a:cubicBezTo>
                <a:cubicBezTo>
                  <a:pt x="7542" y="119"/>
                  <a:pt x="7556" y="119"/>
                  <a:pt x="7556" y="119"/>
                </a:cubicBezTo>
                <a:cubicBezTo>
                  <a:pt x="7558" y="119"/>
                  <a:pt x="7556" y="119"/>
                  <a:pt x="7553" y="125"/>
                </a:cubicBezTo>
                <a:close/>
                <a:moveTo>
                  <a:pt x="6319" y="138"/>
                </a:moveTo>
                <a:lnTo>
                  <a:pt x="6319" y="138"/>
                </a:lnTo>
                <a:cubicBezTo>
                  <a:pt x="6399" y="141"/>
                  <a:pt x="6466" y="141"/>
                  <a:pt x="6463" y="144"/>
                </a:cubicBezTo>
                <a:cubicBezTo>
                  <a:pt x="6460" y="149"/>
                  <a:pt x="6152" y="302"/>
                  <a:pt x="6149" y="302"/>
                </a:cubicBezTo>
                <a:cubicBezTo>
                  <a:pt x="6144" y="302"/>
                  <a:pt x="6069" y="144"/>
                  <a:pt x="6069" y="136"/>
                </a:cubicBezTo>
                <a:cubicBezTo>
                  <a:pt x="6069" y="133"/>
                  <a:pt x="6069" y="133"/>
                  <a:pt x="6069" y="133"/>
                </a:cubicBezTo>
                <a:cubicBezTo>
                  <a:pt x="6119" y="133"/>
                  <a:pt x="6119" y="133"/>
                  <a:pt x="6119" y="133"/>
                </a:cubicBezTo>
                <a:cubicBezTo>
                  <a:pt x="6147" y="136"/>
                  <a:pt x="6235" y="138"/>
                  <a:pt x="6319" y="138"/>
                </a:cubicBezTo>
                <a:close/>
                <a:moveTo>
                  <a:pt x="7337" y="138"/>
                </a:moveTo>
                <a:lnTo>
                  <a:pt x="7337" y="138"/>
                </a:lnTo>
                <a:cubicBezTo>
                  <a:pt x="7353" y="138"/>
                  <a:pt x="7364" y="144"/>
                  <a:pt x="7361" y="144"/>
                </a:cubicBezTo>
                <a:cubicBezTo>
                  <a:pt x="7356" y="147"/>
                  <a:pt x="7267" y="152"/>
                  <a:pt x="7267" y="149"/>
                </a:cubicBezTo>
                <a:cubicBezTo>
                  <a:pt x="7267" y="147"/>
                  <a:pt x="7273" y="144"/>
                  <a:pt x="7275" y="138"/>
                </a:cubicBezTo>
                <a:cubicBezTo>
                  <a:pt x="7287" y="133"/>
                  <a:pt x="7295" y="130"/>
                  <a:pt x="7337" y="138"/>
                </a:cubicBezTo>
                <a:close/>
                <a:moveTo>
                  <a:pt x="7217" y="141"/>
                </a:moveTo>
                <a:lnTo>
                  <a:pt x="7217" y="141"/>
                </a:lnTo>
                <a:cubicBezTo>
                  <a:pt x="7214" y="147"/>
                  <a:pt x="7203" y="147"/>
                  <a:pt x="7167" y="147"/>
                </a:cubicBezTo>
                <a:cubicBezTo>
                  <a:pt x="7145" y="147"/>
                  <a:pt x="7123" y="147"/>
                  <a:pt x="7123" y="144"/>
                </a:cubicBezTo>
                <a:cubicBezTo>
                  <a:pt x="7120" y="141"/>
                  <a:pt x="7140" y="138"/>
                  <a:pt x="7198" y="136"/>
                </a:cubicBezTo>
                <a:cubicBezTo>
                  <a:pt x="7220" y="136"/>
                  <a:pt x="7220" y="136"/>
                  <a:pt x="7220" y="136"/>
                </a:cubicBezTo>
                <a:cubicBezTo>
                  <a:pt x="7217" y="141"/>
                  <a:pt x="7217" y="141"/>
                  <a:pt x="7217" y="141"/>
                </a:cubicBezTo>
                <a:close/>
                <a:moveTo>
                  <a:pt x="5905" y="294"/>
                </a:moveTo>
                <a:lnTo>
                  <a:pt x="5905" y="294"/>
                </a:lnTo>
                <a:cubicBezTo>
                  <a:pt x="5814" y="441"/>
                  <a:pt x="5814" y="441"/>
                  <a:pt x="5814" y="441"/>
                </a:cubicBezTo>
                <a:cubicBezTo>
                  <a:pt x="5622" y="460"/>
                  <a:pt x="5622" y="460"/>
                  <a:pt x="5622" y="460"/>
                </a:cubicBezTo>
                <a:cubicBezTo>
                  <a:pt x="5517" y="471"/>
                  <a:pt x="5198" y="502"/>
                  <a:pt x="4915" y="532"/>
                </a:cubicBezTo>
                <a:cubicBezTo>
                  <a:pt x="4629" y="560"/>
                  <a:pt x="4388" y="585"/>
                  <a:pt x="4380" y="585"/>
                </a:cubicBezTo>
                <a:cubicBezTo>
                  <a:pt x="4371" y="588"/>
                  <a:pt x="4366" y="588"/>
                  <a:pt x="4366" y="585"/>
                </a:cubicBezTo>
                <a:cubicBezTo>
                  <a:pt x="4369" y="582"/>
                  <a:pt x="5994" y="144"/>
                  <a:pt x="5997" y="147"/>
                </a:cubicBezTo>
                <a:cubicBezTo>
                  <a:pt x="5997" y="147"/>
                  <a:pt x="5955" y="213"/>
                  <a:pt x="5905" y="294"/>
                </a:cubicBezTo>
                <a:close/>
                <a:moveTo>
                  <a:pt x="6582" y="152"/>
                </a:moveTo>
                <a:lnTo>
                  <a:pt x="6582" y="152"/>
                </a:lnTo>
                <a:cubicBezTo>
                  <a:pt x="6601" y="158"/>
                  <a:pt x="6618" y="163"/>
                  <a:pt x="6613" y="163"/>
                </a:cubicBezTo>
                <a:cubicBezTo>
                  <a:pt x="6601" y="169"/>
                  <a:pt x="6355" y="244"/>
                  <a:pt x="6352" y="244"/>
                </a:cubicBezTo>
                <a:cubicBezTo>
                  <a:pt x="6352" y="244"/>
                  <a:pt x="6393" y="222"/>
                  <a:pt x="6446" y="194"/>
                </a:cubicBezTo>
                <a:cubicBezTo>
                  <a:pt x="6499" y="166"/>
                  <a:pt x="6543" y="144"/>
                  <a:pt x="6543" y="144"/>
                </a:cubicBezTo>
                <a:cubicBezTo>
                  <a:pt x="6543" y="144"/>
                  <a:pt x="6563" y="147"/>
                  <a:pt x="6582" y="152"/>
                </a:cubicBezTo>
                <a:close/>
                <a:moveTo>
                  <a:pt x="6077" y="238"/>
                </a:moveTo>
                <a:lnTo>
                  <a:pt x="6077" y="238"/>
                </a:lnTo>
                <a:cubicBezTo>
                  <a:pt x="6097" y="283"/>
                  <a:pt x="6113" y="319"/>
                  <a:pt x="6113" y="319"/>
                </a:cubicBezTo>
                <a:cubicBezTo>
                  <a:pt x="6110" y="324"/>
                  <a:pt x="5877" y="418"/>
                  <a:pt x="5875" y="416"/>
                </a:cubicBezTo>
                <a:cubicBezTo>
                  <a:pt x="5872" y="416"/>
                  <a:pt x="5908" y="358"/>
                  <a:pt x="5952" y="285"/>
                </a:cubicBezTo>
                <a:cubicBezTo>
                  <a:pt x="5997" y="213"/>
                  <a:pt x="6036" y="155"/>
                  <a:pt x="6038" y="158"/>
                </a:cubicBezTo>
                <a:cubicBezTo>
                  <a:pt x="6038" y="158"/>
                  <a:pt x="6058" y="197"/>
                  <a:pt x="6077" y="238"/>
                </a:cubicBezTo>
                <a:close/>
                <a:moveTo>
                  <a:pt x="8022" y="161"/>
                </a:moveTo>
                <a:lnTo>
                  <a:pt x="8022" y="161"/>
                </a:lnTo>
                <a:cubicBezTo>
                  <a:pt x="8022" y="161"/>
                  <a:pt x="7974" y="166"/>
                  <a:pt x="7919" y="172"/>
                </a:cubicBezTo>
                <a:cubicBezTo>
                  <a:pt x="7819" y="183"/>
                  <a:pt x="7819" y="183"/>
                  <a:pt x="7819" y="183"/>
                </a:cubicBezTo>
                <a:cubicBezTo>
                  <a:pt x="7794" y="177"/>
                  <a:pt x="7794" y="177"/>
                  <a:pt x="7794" y="177"/>
                </a:cubicBezTo>
                <a:cubicBezTo>
                  <a:pt x="7780" y="174"/>
                  <a:pt x="7761" y="172"/>
                  <a:pt x="7750" y="169"/>
                </a:cubicBezTo>
                <a:cubicBezTo>
                  <a:pt x="7728" y="163"/>
                  <a:pt x="7728" y="163"/>
                  <a:pt x="7728" y="163"/>
                </a:cubicBezTo>
                <a:cubicBezTo>
                  <a:pt x="7797" y="161"/>
                  <a:pt x="7797" y="161"/>
                  <a:pt x="7797" y="161"/>
                </a:cubicBezTo>
                <a:cubicBezTo>
                  <a:pt x="7891" y="161"/>
                  <a:pt x="8024" y="158"/>
                  <a:pt x="8022" y="161"/>
                </a:cubicBezTo>
                <a:close/>
                <a:moveTo>
                  <a:pt x="7642" y="183"/>
                </a:moveTo>
                <a:lnTo>
                  <a:pt x="7642" y="183"/>
                </a:lnTo>
                <a:cubicBezTo>
                  <a:pt x="7692" y="194"/>
                  <a:pt x="7730" y="202"/>
                  <a:pt x="7728" y="202"/>
                </a:cubicBezTo>
                <a:cubicBezTo>
                  <a:pt x="7722" y="208"/>
                  <a:pt x="7251" y="330"/>
                  <a:pt x="7248" y="327"/>
                </a:cubicBezTo>
                <a:cubicBezTo>
                  <a:pt x="7248" y="327"/>
                  <a:pt x="7542" y="166"/>
                  <a:pt x="7547" y="166"/>
                </a:cubicBezTo>
                <a:cubicBezTo>
                  <a:pt x="7550" y="166"/>
                  <a:pt x="7592" y="174"/>
                  <a:pt x="7642" y="183"/>
                </a:cubicBezTo>
                <a:close/>
                <a:moveTo>
                  <a:pt x="6934" y="174"/>
                </a:moveTo>
                <a:lnTo>
                  <a:pt x="6934" y="174"/>
                </a:lnTo>
                <a:cubicBezTo>
                  <a:pt x="7029" y="177"/>
                  <a:pt x="7067" y="180"/>
                  <a:pt x="7054" y="186"/>
                </a:cubicBezTo>
                <a:cubicBezTo>
                  <a:pt x="7051" y="188"/>
                  <a:pt x="6460" y="269"/>
                  <a:pt x="6366" y="283"/>
                </a:cubicBezTo>
                <a:cubicBezTo>
                  <a:pt x="6346" y="285"/>
                  <a:pt x="6357" y="280"/>
                  <a:pt x="6535" y="224"/>
                </a:cubicBezTo>
                <a:cubicBezTo>
                  <a:pt x="6707" y="169"/>
                  <a:pt x="6707" y="169"/>
                  <a:pt x="6707" y="169"/>
                </a:cubicBezTo>
                <a:cubicBezTo>
                  <a:pt x="6773" y="172"/>
                  <a:pt x="6773" y="172"/>
                  <a:pt x="6773" y="172"/>
                </a:cubicBezTo>
                <a:cubicBezTo>
                  <a:pt x="6809" y="172"/>
                  <a:pt x="6882" y="174"/>
                  <a:pt x="6934" y="174"/>
                </a:cubicBezTo>
                <a:close/>
                <a:moveTo>
                  <a:pt x="8518" y="174"/>
                </a:moveTo>
                <a:lnTo>
                  <a:pt x="8518" y="174"/>
                </a:lnTo>
                <a:cubicBezTo>
                  <a:pt x="8518" y="186"/>
                  <a:pt x="8507" y="371"/>
                  <a:pt x="8507" y="371"/>
                </a:cubicBezTo>
                <a:cubicBezTo>
                  <a:pt x="8504" y="374"/>
                  <a:pt x="8016" y="230"/>
                  <a:pt x="8008" y="227"/>
                </a:cubicBezTo>
                <a:cubicBezTo>
                  <a:pt x="7999" y="222"/>
                  <a:pt x="7986" y="224"/>
                  <a:pt x="8255" y="197"/>
                </a:cubicBezTo>
                <a:cubicBezTo>
                  <a:pt x="8507" y="169"/>
                  <a:pt x="8518" y="166"/>
                  <a:pt x="8518" y="174"/>
                </a:cubicBezTo>
                <a:close/>
                <a:moveTo>
                  <a:pt x="7453" y="174"/>
                </a:moveTo>
                <a:lnTo>
                  <a:pt x="7453" y="174"/>
                </a:lnTo>
                <a:cubicBezTo>
                  <a:pt x="7453" y="177"/>
                  <a:pt x="7198" y="313"/>
                  <a:pt x="7192" y="313"/>
                </a:cubicBezTo>
                <a:cubicBezTo>
                  <a:pt x="7192" y="313"/>
                  <a:pt x="7217" y="285"/>
                  <a:pt x="7251" y="249"/>
                </a:cubicBezTo>
                <a:cubicBezTo>
                  <a:pt x="7314" y="186"/>
                  <a:pt x="7314" y="186"/>
                  <a:pt x="7314" y="186"/>
                </a:cubicBezTo>
                <a:cubicBezTo>
                  <a:pt x="7373" y="180"/>
                  <a:pt x="7373" y="180"/>
                  <a:pt x="7373" y="180"/>
                </a:cubicBezTo>
                <a:cubicBezTo>
                  <a:pt x="7442" y="174"/>
                  <a:pt x="7453" y="172"/>
                  <a:pt x="7453" y="174"/>
                </a:cubicBezTo>
                <a:close/>
                <a:moveTo>
                  <a:pt x="8942" y="338"/>
                </a:moveTo>
                <a:lnTo>
                  <a:pt x="8942" y="338"/>
                </a:lnTo>
                <a:cubicBezTo>
                  <a:pt x="9153" y="424"/>
                  <a:pt x="9322" y="496"/>
                  <a:pt x="9320" y="499"/>
                </a:cubicBezTo>
                <a:cubicBezTo>
                  <a:pt x="9314" y="499"/>
                  <a:pt x="8551" y="382"/>
                  <a:pt x="8546" y="380"/>
                </a:cubicBezTo>
                <a:cubicBezTo>
                  <a:pt x="8540" y="377"/>
                  <a:pt x="8551" y="177"/>
                  <a:pt x="8557" y="177"/>
                </a:cubicBezTo>
                <a:cubicBezTo>
                  <a:pt x="8560" y="177"/>
                  <a:pt x="8732" y="249"/>
                  <a:pt x="8942" y="338"/>
                </a:cubicBezTo>
                <a:close/>
                <a:moveTo>
                  <a:pt x="8973" y="205"/>
                </a:moveTo>
                <a:lnTo>
                  <a:pt x="8973" y="205"/>
                </a:lnTo>
                <a:cubicBezTo>
                  <a:pt x="9020" y="219"/>
                  <a:pt x="9059" y="230"/>
                  <a:pt x="9056" y="230"/>
                </a:cubicBezTo>
                <a:cubicBezTo>
                  <a:pt x="9056" y="233"/>
                  <a:pt x="8812" y="186"/>
                  <a:pt x="8801" y="180"/>
                </a:cubicBezTo>
                <a:cubicBezTo>
                  <a:pt x="8798" y="180"/>
                  <a:pt x="8812" y="177"/>
                  <a:pt x="8843" y="180"/>
                </a:cubicBezTo>
                <a:cubicBezTo>
                  <a:pt x="8890" y="180"/>
                  <a:pt x="8890" y="180"/>
                  <a:pt x="8890" y="180"/>
                </a:cubicBezTo>
                <a:cubicBezTo>
                  <a:pt x="8973" y="205"/>
                  <a:pt x="8973" y="205"/>
                  <a:pt x="8973" y="205"/>
                </a:cubicBezTo>
                <a:close/>
                <a:moveTo>
                  <a:pt x="7228" y="224"/>
                </a:moveTo>
                <a:lnTo>
                  <a:pt x="7228" y="224"/>
                </a:lnTo>
                <a:cubicBezTo>
                  <a:pt x="7212" y="241"/>
                  <a:pt x="7176" y="280"/>
                  <a:pt x="7145" y="310"/>
                </a:cubicBezTo>
                <a:cubicBezTo>
                  <a:pt x="7087" y="369"/>
                  <a:pt x="7087" y="369"/>
                  <a:pt x="7087" y="369"/>
                </a:cubicBezTo>
                <a:cubicBezTo>
                  <a:pt x="6712" y="349"/>
                  <a:pt x="6712" y="349"/>
                  <a:pt x="6712" y="349"/>
                </a:cubicBezTo>
                <a:cubicBezTo>
                  <a:pt x="6507" y="338"/>
                  <a:pt x="6335" y="330"/>
                  <a:pt x="6332" y="330"/>
                </a:cubicBezTo>
                <a:cubicBezTo>
                  <a:pt x="6327" y="330"/>
                  <a:pt x="6324" y="327"/>
                  <a:pt x="6327" y="327"/>
                </a:cubicBezTo>
                <a:cubicBezTo>
                  <a:pt x="6330" y="324"/>
                  <a:pt x="7223" y="197"/>
                  <a:pt x="7242" y="197"/>
                </a:cubicBezTo>
                <a:cubicBezTo>
                  <a:pt x="7256" y="197"/>
                  <a:pt x="7256" y="197"/>
                  <a:pt x="7256" y="197"/>
                </a:cubicBezTo>
                <a:cubicBezTo>
                  <a:pt x="7228" y="224"/>
                  <a:pt x="7228" y="224"/>
                  <a:pt x="7228" y="224"/>
                </a:cubicBezTo>
                <a:close/>
                <a:moveTo>
                  <a:pt x="9098" y="277"/>
                </a:moveTo>
                <a:lnTo>
                  <a:pt x="9098" y="277"/>
                </a:lnTo>
                <a:cubicBezTo>
                  <a:pt x="9297" y="316"/>
                  <a:pt x="9461" y="349"/>
                  <a:pt x="9461" y="349"/>
                </a:cubicBezTo>
                <a:cubicBezTo>
                  <a:pt x="9464" y="352"/>
                  <a:pt x="9461" y="507"/>
                  <a:pt x="9458" y="513"/>
                </a:cubicBezTo>
                <a:cubicBezTo>
                  <a:pt x="9456" y="513"/>
                  <a:pt x="8740" y="216"/>
                  <a:pt x="8726" y="208"/>
                </a:cubicBezTo>
                <a:cubicBezTo>
                  <a:pt x="8721" y="202"/>
                  <a:pt x="8721" y="202"/>
                  <a:pt x="8721" y="202"/>
                </a:cubicBezTo>
                <a:cubicBezTo>
                  <a:pt x="8729" y="205"/>
                  <a:pt x="8729" y="205"/>
                  <a:pt x="8729" y="205"/>
                </a:cubicBezTo>
                <a:cubicBezTo>
                  <a:pt x="8734" y="205"/>
                  <a:pt x="8901" y="238"/>
                  <a:pt x="9098" y="277"/>
                </a:cubicBezTo>
                <a:close/>
                <a:moveTo>
                  <a:pt x="8160" y="308"/>
                </a:moveTo>
                <a:lnTo>
                  <a:pt x="8160" y="308"/>
                </a:lnTo>
                <a:cubicBezTo>
                  <a:pt x="8285" y="344"/>
                  <a:pt x="8388" y="377"/>
                  <a:pt x="8388" y="377"/>
                </a:cubicBezTo>
                <a:cubicBezTo>
                  <a:pt x="8388" y="380"/>
                  <a:pt x="8310" y="380"/>
                  <a:pt x="8216" y="380"/>
                </a:cubicBezTo>
                <a:cubicBezTo>
                  <a:pt x="8121" y="380"/>
                  <a:pt x="7883" y="380"/>
                  <a:pt x="7683" y="382"/>
                </a:cubicBezTo>
                <a:cubicBezTo>
                  <a:pt x="7486" y="382"/>
                  <a:pt x="7328" y="382"/>
                  <a:pt x="7331" y="382"/>
                </a:cubicBezTo>
                <a:cubicBezTo>
                  <a:pt x="7334" y="380"/>
                  <a:pt x="7464" y="346"/>
                  <a:pt x="7619" y="305"/>
                </a:cubicBezTo>
                <a:cubicBezTo>
                  <a:pt x="7902" y="233"/>
                  <a:pt x="7902" y="233"/>
                  <a:pt x="7902" y="233"/>
                </a:cubicBezTo>
                <a:cubicBezTo>
                  <a:pt x="7916" y="238"/>
                  <a:pt x="7916" y="238"/>
                  <a:pt x="7916" y="238"/>
                </a:cubicBezTo>
                <a:cubicBezTo>
                  <a:pt x="7925" y="241"/>
                  <a:pt x="8035" y="272"/>
                  <a:pt x="8160" y="308"/>
                </a:cubicBezTo>
                <a:close/>
                <a:moveTo>
                  <a:pt x="6571" y="377"/>
                </a:moveTo>
                <a:lnTo>
                  <a:pt x="6571" y="377"/>
                </a:lnTo>
                <a:cubicBezTo>
                  <a:pt x="6757" y="388"/>
                  <a:pt x="6915" y="396"/>
                  <a:pt x="6920" y="396"/>
                </a:cubicBezTo>
                <a:cubicBezTo>
                  <a:pt x="6929" y="396"/>
                  <a:pt x="6932" y="396"/>
                  <a:pt x="6932" y="396"/>
                </a:cubicBezTo>
                <a:cubicBezTo>
                  <a:pt x="6929" y="399"/>
                  <a:pt x="6793" y="424"/>
                  <a:pt x="6629" y="455"/>
                </a:cubicBezTo>
                <a:cubicBezTo>
                  <a:pt x="6327" y="510"/>
                  <a:pt x="6327" y="510"/>
                  <a:pt x="6327" y="510"/>
                </a:cubicBezTo>
                <a:cubicBezTo>
                  <a:pt x="6249" y="432"/>
                  <a:pt x="6249" y="432"/>
                  <a:pt x="6249" y="432"/>
                </a:cubicBezTo>
                <a:cubicBezTo>
                  <a:pt x="6172" y="355"/>
                  <a:pt x="6172" y="355"/>
                  <a:pt x="6172" y="355"/>
                </a:cubicBezTo>
                <a:cubicBezTo>
                  <a:pt x="6202" y="358"/>
                  <a:pt x="6202" y="358"/>
                  <a:pt x="6202" y="358"/>
                </a:cubicBezTo>
                <a:cubicBezTo>
                  <a:pt x="6219" y="358"/>
                  <a:pt x="6382" y="366"/>
                  <a:pt x="6571" y="377"/>
                </a:cubicBezTo>
                <a:close/>
                <a:moveTo>
                  <a:pt x="6196" y="430"/>
                </a:moveTo>
                <a:lnTo>
                  <a:pt x="6196" y="430"/>
                </a:lnTo>
                <a:cubicBezTo>
                  <a:pt x="6235" y="468"/>
                  <a:pt x="6266" y="502"/>
                  <a:pt x="6266" y="502"/>
                </a:cubicBezTo>
                <a:cubicBezTo>
                  <a:pt x="6260" y="502"/>
                  <a:pt x="5900" y="452"/>
                  <a:pt x="5897" y="449"/>
                </a:cubicBezTo>
                <a:cubicBezTo>
                  <a:pt x="5897" y="449"/>
                  <a:pt x="5939" y="430"/>
                  <a:pt x="5991" y="410"/>
                </a:cubicBezTo>
                <a:cubicBezTo>
                  <a:pt x="6044" y="388"/>
                  <a:pt x="6094" y="369"/>
                  <a:pt x="6099" y="363"/>
                </a:cubicBezTo>
                <a:cubicBezTo>
                  <a:pt x="6108" y="360"/>
                  <a:pt x="6116" y="358"/>
                  <a:pt x="6119" y="358"/>
                </a:cubicBezTo>
                <a:cubicBezTo>
                  <a:pt x="6122" y="358"/>
                  <a:pt x="6158" y="391"/>
                  <a:pt x="6196" y="430"/>
                </a:cubicBezTo>
                <a:close/>
                <a:moveTo>
                  <a:pt x="9729" y="457"/>
                </a:moveTo>
                <a:lnTo>
                  <a:pt x="9729" y="457"/>
                </a:lnTo>
                <a:cubicBezTo>
                  <a:pt x="9868" y="513"/>
                  <a:pt x="9951" y="549"/>
                  <a:pt x="9946" y="549"/>
                </a:cubicBezTo>
                <a:cubicBezTo>
                  <a:pt x="9937" y="552"/>
                  <a:pt x="9585" y="532"/>
                  <a:pt x="9521" y="527"/>
                </a:cubicBezTo>
                <a:cubicBezTo>
                  <a:pt x="9494" y="524"/>
                  <a:pt x="9494" y="524"/>
                  <a:pt x="9494" y="524"/>
                </a:cubicBezTo>
                <a:cubicBezTo>
                  <a:pt x="9494" y="499"/>
                  <a:pt x="9494" y="499"/>
                  <a:pt x="9494" y="499"/>
                </a:cubicBezTo>
                <a:cubicBezTo>
                  <a:pt x="9494" y="449"/>
                  <a:pt x="9500" y="360"/>
                  <a:pt x="9502" y="363"/>
                </a:cubicBezTo>
                <a:cubicBezTo>
                  <a:pt x="9502" y="363"/>
                  <a:pt x="9604" y="405"/>
                  <a:pt x="9729" y="457"/>
                </a:cubicBezTo>
                <a:close/>
                <a:moveTo>
                  <a:pt x="8535" y="563"/>
                </a:moveTo>
                <a:lnTo>
                  <a:pt x="8535" y="563"/>
                </a:lnTo>
                <a:cubicBezTo>
                  <a:pt x="8551" y="640"/>
                  <a:pt x="8562" y="707"/>
                  <a:pt x="8562" y="710"/>
                </a:cubicBezTo>
                <a:cubicBezTo>
                  <a:pt x="8560" y="710"/>
                  <a:pt x="7367" y="432"/>
                  <a:pt x="7345" y="424"/>
                </a:cubicBezTo>
                <a:cubicBezTo>
                  <a:pt x="7337" y="421"/>
                  <a:pt x="7339" y="421"/>
                  <a:pt x="7364" y="421"/>
                </a:cubicBezTo>
                <a:cubicBezTo>
                  <a:pt x="7414" y="418"/>
                  <a:pt x="8199" y="416"/>
                  <a:pt x="8360" y="416"/>
                </a:cubicBezTo>
                <a:cubicBezTo>
                  <a:pt x="8510" y="416"/>
                  <a:pt x="8510" y="416"/>
                  <a:pt x="8510" y="416"/>
                </a:cubicBezTo>
                <a:cubicBezTo>
                  <a:pt x="8535" y="563"/>
                  <a:pt x="8535" y="563"/>
                  <a:pt x="8535" y="563"/>
                </a:cubicBezTo>
                <a:close/>
                <a:moveTo>
                  <a:pt x="7766" y="560"/>
                </a:moveTo>
                <a:lnTo>
                  <a:pt x="7766" y="560"/>
                </a:lnTo>
                <a:cubicBezTo>
                  <a:pt x="8088" y="635"/>
                  <a:pt x="8346" y="696"/>
                  <a:pt x="8343" y="699"/>
                </a:cubicBezTo>
                <a:cubicBezTo>
                  <a:pt x="8338" y="699"/>
                  <a:pt x="7980" y="674"/>
                  <a:pt x="7544" y="643"/>
                </a:cubicBezTo>
                <a:cubicBezTo>
                  <a:pt x="7109" y="613"/>
                  <a:pt x="6746" y="588"/>
                  <a:pt x="6740" y="588"/>
                </a:cubicBezTo>
                <a:cubicBezTo>
                  <a:pt x="6735" y="588"/>
                  <a:pt x="6729" y="585"/>
                  <a:pt x="6729" y="585"/>
                </a:cubicBezTo>
                <a:cubicBezTo>
                  <a:pt x="6729" y="579"/>
                  <a:pt x="7170" y="421"/>
                  <a:pt x="7178" y="421"/>
                </a:cubicBezTo>
                <a:cubicBezTo>
                  <a:pt x="7181" y="424"/>
                  <a:pt x="7447" y="485"/>
                  <a:pt x="7766" y="560"/>
                </a:cubicBezTo>
                <a:close/>
                <a:moveTo>
                  <a:pt x="8776" y="516"/>
                </a:moveTo>
                <a:lnTo>
                  <a:pt x="8776" y="516"/>
                </a:lnTo>
                <a:cubicBezTo>
                  <a:pt x="8890" y="560"/>
                  <a:pt x="8981" y="596"/>
                  <a:pt x="8981" y="599"/>
                </a:cubicBezTo>
                <a:cubicBezTo>
                  <a:pt x="8981" y="602"/>
                  <a:pt x="8604" y="710"/>
                  <a:pt x="8601" y="707"/>
                </a:cubicBezTo>
                <a:cubicBezTo>
                  <a:pt x="8598" y="704"/>
                  <a:pt x="8549" y="438"/>
                  <a:pt x="8549" y="427"/>
                </a:cubicBezTo>
                <a:cubicBezTo>
                  <a:pt x="8549" y="427"/>
                  <a:pt x="8554" y="427"/>
                  <a:pt x="8560" y="430"/>
                </a:cubicBezTo>
                <a:cubicBezTo>
                  <a:pt x="8568" y="432"/>
                  <a:pt x="8665" y="471"/>
                  <a:pt x="8776" y="516"/>
                </a:cubicBezTo>
                <a:close/>
                <a:moveTo>
                  <a:pt x="9020" y="488"/>
                </a:moveTo>
                <a:lnTo>
                  <a:pt x="9020" y="488"/>
                </a:lnTo>
                <a:cubicBezTo>
                  <a:pt x="9331" y="535"/>
                  <a:pt x="9347" y="538"/>
                  <a:pt x="9342" y="541"/>
                </a:cubicBezTo>
                <a:cubicBezTo>
                  <a:pt x="9339" y="543"/>
                  <a:pt x="9273" y="552"/>
                  <a:pt x="9189" y="563"/>
                </a:cubicBezTo>
                <a:cubicBezTo>
                  <a:pt x="9042" y="585"/>
                  <a:pt x="9042" y="585"/>
                  <a:pt x="9042" y="585"/>
                </a:cubicBezTo>
                <a:cubicBezTo>
                  <a:pt x="8865" y="513"/>
                  <a:pt x="8865" y="513"/>
                  <a:pt x="8865" y="513"/>
                </a:cubicBezTo>
                <a:cubicBezTo>
                  <a:pt x="8768" y="474"/>
                  <a:pt x="8687" y="441"/>
                  <a:pt x="8687" y="441"/>
                </a:cubicBezTo>
                <a:cubicBezTo>
                  <a:pt x="8687" y="441"/>
                  <a:pt x="8693" y="441"/>
                  <a:pt x="8701" y="441"/>
                </a:cubicBezTo>
                <a:cubicBezTo>
                  <a:pt x="8707" y="441"/>
                  <a:pt x="8851" y="463"/>
                  <a:pt x="9020" y="488"/>
                </a:cubicBezTo>
                <a:close/>
                <a:moveTo>
                  <a:pt x="6887" y="446"/>
                </a:moveTo>
                <a:lnTo>
                  <a:pt x="6887" y="446"/>
                </a:lnTo>
                <a:cubicBezTo>
                  <a:pt x="6884" y="449"/>
                  <a:pt x="6812" y="477"/>
                  <a:pt x="6729" y="507"/>
                </a:cubicBezTo>
                <a:cubicBezTo>
                  <a:pt x="6576" y="565"/>
                  <a:pt x="6576" y="565"/>
                  <a:pt x="6576" y="565"/>
                </a:cubicBezTo>
                <a:cubicBezTo>
                  <a:pt x="6502" y="549"/>
                  <a:pt x="6502" y="549"/>
                  <a:pt x="6502" y="549"/>
                </a:cubicBezTo>
                <a:cubicBezTo>
                  <a:pt x="6460" y="541"/>
                  <a:pt x="6424" y="532"/>
                  <a:pt x="6421" y="532"/>
                </a:cubicBezTo>
                <a:cubicBezTo>
                  <a:pt x="6421" y="532"/>
                  <a:pt x="6421" y="529"/>
                  <a:pt x="6424" y="529"/>
                </a:cubicBezTo>
                <a:cubicBezTo>
                  <a:pt x="6427" y="527"/>
                  <a:pt x="6871" y="443"/>
                  <a:pt x="6884" y="443"/>
                </a:cubicBezTo>
                <a:cubicBezTo>
                  <a:pt x="6893" y="443"/>
                  <a:pt x="6893" y="443"/>
                  <a:pt x="6893" y="443"/>
                </a:cubicBezTo>
                <a:cubicBezTo>
                  <a:pt x="6887" y="446"/>
                  <a:pt x="6887" y="446"/>
                  <a:pt x="6887" y="446"/>
                </a:cubicBezTo>
                <a:close/>
                <a:moveTo>
                  <a:pt x="5961" y="496"/>
                </a:moveTo>
                <a:lnTo>
                  <a:pt x="5961" y="496"/>
                </a:lnTo>
                <a:cubicBezTo>
                  <a:pt x="6036" y="504"/>
                  <a:pt x="6094" y="516"/>
                  <a:pt x="6097" y="516"/>
                </a:cubicBezTo>
                <a:cubicBezTo>
                  <a:pt x="6097" y="516"/>
                  <a:pt x="6094" y="518"/>
                  <a:pt x="6088" y="518"/>
                </a:cubicBezTo>
                <a:cubicBezTo>
                  <a:pt x="6083" y="518"/>
                  <a:pt x="5997" y="521"/>
                  <a:pt x="5894" y="524"/>
                </a:cubicBezTo>
                <a:cubicBezTo>
                  <a:pt x="5791" y="527"/>
                  <a:pt x="5708" y="529"/>
                  <a:pt x="5706" y="529"/>
                </a:cubicBezTo>
                <a:cubicBezTo>
                  <a:pt x="5703" y="527"/>
                  <a:pt x="5819" y="477"/>
                  <a:pt x="5825" y="477"/>
                </a:cubicBezTo>
                <a:cubicBezTo>
                  <a:pt x="5828" y="477"/>
                  <a:pt x="5886" y="485"/>
                  <a:pt x="5961" y="496"/>
                </a:cubicBezTo>
                <a:close/>
                <a:moveTo>
                  <a:pt x="5694" y="491"/>
                </a:moveTo>
                <a:lnTo>
                  <a:pt x="5694" y="491"/>
                </a:lnTo>
                <a:cubicBezTo>
                  <a:pt x="5692" y="493"/>
                  <a:pt x="5675" y="502"/>
                  <a:pt x="5653" y="510"/>
                </a:cubicBezTo>
                <a:cubicBezTo>
                  <a:pt x="5617" y="524"/>
                  <a:pt x="5617" y="524"/>
                  <a:pt x="5617" y="524"/>
                </a:cubicBezTo>
                <a:cubicBezTo>
                  <a:pt x="5337" y="541"/>
                  <a:pt x="5337" y="541"/>
                  <a:pt x="5337" y="541"/>
                </a:cubicBezTo>
                <a:cubicBezTo>
                  <a:pt x="5181" y="552"/>
                  <a:pt x="5048" y="557"/>
                  <a:pt x="5040" y="557"/>
                </a:cubicBezTo>
                <a:cubicBezTo>
                  <a:pt x="5032" y="557"/>
                  <a:pt x="5176" y="541"/>
                  <a:pt x="5359" y="524"/>
                </a:cubicBezTo>
                <a:cubicBezTo>
                  <a:pt x="5542" y="504"/>
                  <a:pt x="5692" y="488"/>
                  <a:pt x="5694" y="488"/>
                </a:cubicBezTo>
                <a:cubicBezTo>
                  <a:pt x="5697" y="488"/>
                  <a:pt x="5697" y="488"/>
                  <a:pt x="5694" y="491"/>
                </a:cubicBezTo>
                <a:close/>
                <a:moveTo>
                  <a:pt x="6224" y="549"/>
                </a:moveTo>
                <a:lnTo>
                  <a:pt x="6224" y="549"/>
                </a:lnTo>
                <a:cubicBezTo>
                  <a:pt x="6224" y="552"/>
                  <a:pt x="6144" y="588"/>
                  <a:pt x="6047" y="632"/>
                </a:cubicBezTo>
                <a:cubicBezTo>
                  <a:pt x="5872" y="710"/>
                  <a:pt x="5872" y="710"/>
                  <a:pt x="5872" y="710"/>
                </a:cubicBezTo>
                <a:cubicBezTo>
                  <a:pt x="5764" y="640"/>
                  <a:pt x="5764" y="640"/>
                  <a:pt x="5764" y="640"/>
                </a:cubicBezTo>
                <a:cubicBezTo>
                  <a:pt x="5703" y="599"/>
                  <a:pt x="5661" y="568"/>
                  <a:pt x="5664" y="568"/>
                </a:cubicBezTo>
                <a:cubicBezTo>
                  <a:pt x="5667" y="565"/>
                  <a:pt x="5794" y="563"/>
                  <a:pt x="5947" y="557"/>
                </a:cubicBezTo>
                <a:cubicBezTo>
                  <a:pt x="6099" y="552"/>
                  <a:pt x="6224" y="546"/>
                  <a:pt x="6224" y="546"/>
                </a:cubicBezTo>
                <a:lnTo>
                  <a:pt x="6224" y="549"/>
                </a:lnTo>
                <a:close/>
                <a:moveTo>
                  <a:pt x="6513" y="588"/>
                </a:moveTo>
                <a:lnTo>
                  <a:pt x="6513" y="588"/>
                </a:lnTo>
                <a:cubicBezTo>
                  <a:pt x="6515" y="588"/>
                  <a:pt x="6485" y="604"/>
                  <a:pt x="6446" y="621"/>
                </a:cubicBezTo>
                <a:cubicBezTo>
                  <a:pt x="6405" y="638"/>
                  <a:pt x="6371" y="651"/>
                  <a:pt x="6368" y="651"/>
                </a:cubicBezTo>
                <a:cubicBezTo>
                  <a:pt x="6366" y="649"/>
                  <a:pt x="6343" y="554"/>
                  <a:pt x="6346" y="552"/>
                </a:cubicBezTo>
                <a:cubicBezTo>
                  <a:pt x="6346" y="552"/>
                  <a:pt x="6502" y="585"/>
                  <a:pt x="6513" y="588"/>
                </a:cubicBezTo>
                <a:close/>
                <a:moveTo>
                  <a:pt x="6321" y="607"/>
                </a:moveTo>
                <a:lnTo>
                  <a:pt x="6321" y="607"/>
                </a:lnTo>
                <a:cubicBezTo>
                  <a:pt x="6327" y="635"/>
                  <a:pt x="6332" y="660"/>
                  <a:pt x="6330" y="663"/>
                </a:cubicBezTo>
                <a:cubicBezTo>
                  <a:pt x="6327" y="665"/>
                  <a:pt x="5994" y="699"/>
                  <a:pt x="5991" y="696"/>
                </a:cubicBezTo>
                <a:cubicBezTo>
                  <a:pt x="5988" y="696"/>
                  <a:pt x="6302" y="554"/>
                  <a:pt x="6307" y="554"/>
                </a:cubicBezTo>
                <a:cubicBezTo>
                  <a:pt x="6307" y="554"/>
                  <a:pt x="6316" y="577"/>
                  <a:pt x="6321" y="607"/>
                </a:cubicBezTo>
                <a:close/>
                <a:moveTo>
                  <a:pt x="9521" y="704"/>
                </a:moveTo>
                <a:lnTo>
                  <a:pt x="9521" y="704"/>
                </a:lnTo>
                <a:cubicBezTo>
                  <a:pt x="9554" y="785"/>
                  <a:pt x="9579" y="848"/>
                  <a:pt x="9579" y="851"/>
                </a:cubicBezTo>
                <a:cubicBezTo>
                  <a:pt x="9577" y="851"/>
                  <a:pt x="9469" y="798"/>
                  <a:pt x="9339" y="732"/>
                </a:cubicBezTo>
                <a:cubicBezTo>
                  <a:pt x="9198" y="660"/>
                  <a:pt x="9103" y="610"/>
                  <a:pt x="9109" y="610"/>
                </a:cubicBezTo>
                <a:cubicBezTo>
                  <a:pt x="9173" y="599"/>
                  <a:pt x="9450" y="563"/>
                  <a:pt x="9458" y="563"/>
                </a:cubicBezTo>
                <a:cubicBezTo>
                  <a:pt x="9467" y="563"/>
                  <a:pt x="9467" y="563"/>
                  <a:pt x="9467" y="563"/>
                </a:cubicBezTo>
                <a:cubicBezTo>
                  <a:pt x="9521" y="704"/>
                  <a:pt x="9521" y="704"/>
                  <a:pt x="9521" y="704"/>
                </a:cubicBezTo>
                <a:close/>
                <a:moveTo>
                  <a:pt x="5517" y="568"/>
                </a:moveTo>
                <a:lnTo>
                  <a:pt x="5517" y="568"/>
                </a:lnTo>
                <a:cubicBezTo>
                  <a:pt x="5514" y="571"/>
                  <a:pt x="5481" y="588"/>
                  <a:pt x="5442" y="604"/>
                </a:cubicBezTo>
                <a:cubicBezTo>
                  <a:pt x="5370" y="638"/>
                  <a:pt x="5370" y="638"/>
                  <a:pt x="5370" y="638"/>
                </a:cubicBezTo>
                <a:cubicBezTo>
                  <a:pt x="4996" y="629"/>
                  <a:pt x="4996" y="629"/>
                  <a:pt x="4996" y="629"/>
                </a:cubicBezTo>
                <a:cubicBezTo>
                  <a:pt x="4787" y="624"/>
                  <a:pt x="4618" y="621"/>
                  <a:pt x="4618" y="618"/>
                </a:cubicBezTo>
                <a:cubicBezTo>
                  <a:pt x="4615" y="618"/>
                  <a:pt x="4624" y="615"/>
                  <a:pt x="4632" y="615"/>
                </a:cubicBezTo>
                <a:cubicBezTo>
                  <a:pt x="4643" y="615"/>
                  <a:pt x="5417" y="571"/>
                  <a:pt x="5514" y="565"/>
                </a:cubicBezTo>
                <a:cubicBezTo>
                  <a:pt x="5517" y="565"/>
                  <a:pt x="5520" y="565"/>
                  <a:pt x="5517" y="568"/>
                </a:cubicBezTo>
                <a:close/>
                <a:moveTo>
                  <a:pt x="5694" y="635"/>
                </a:moveTo>
                <a:lnTo>
                  <a:pt x="5694" y="635"/>
                </a:lnTo>
                <a:cubicBezTo>
                  <a:pt x="5744" y="668"/>
                  <a:pt x="5786" y="696"/>
                  <a:pt x="5783" y="696"/>
                </a:cubicBezTo>
                <a:cubicBezTo>
                  <a:pt x="5783" y="699"/>
                  <a:pt x="5453" y="651"/>
                  <a:pt x="5445" y="646"/>
                </a:cubicBezTo>
                <a:cubicBezTo>
                  <a:pt x="5439" y="646"/>
                  <a:pt x="5461" y="635"/>
                  <a:pt x="5517" y="610"/>
                </a:cubicBezTo>
                <a:cubicBezTo>
                  <a:pt x="5559" y="588"/>
                  <a:pt x="5597" y="574"/>
                  <a:pt x="5600" y="574"/>
                </a:cubicBezTo>
                <a:cubicBezTo>
                  <a:pt x="5600" y="574"/>
                  <a:pt x="5645" y="602"/>
                  <a:pt x="5694" y="635"/>
                </a:cubicBezTo>
                <a:close/>
                <a:moveTo>
                  <a:pt x="9890" y="582"/>
                </a:moveTo>
                <a:lnTo>
                  <a:pt x="9890" y="582"/>
                </a:lnTo>
                <a:cubicBezTo>
                  <a:pt x="10065" y="593"/>
                  <a:pt x="10065" y="593"/>
                  <a:pt x="10065" y="593"/>
                </a:cubicBezTo>
                <a:cubicBezTo>
                  <a:pt x="10201" y="665"/>
                  <a:pt x="10201" y="665"/>
                  <a:pt x="10201" y="665"/>
                </a:cubicBezTo>
                <a:cubicBezTo>
                  <a:pt x="10278" y="704"/>
                  <a:pt x="10339" y="737"/>
                  <a:pt x="10342" y="740"/>
                </a:cubicBezTo>
                <a:cubicBezTo>
                  <a:pt x="10345" y="740"/>
                  <a:pt x="10339" y="740"/>
                  <a:pt x="10334" y="740"/>
                </a:cubicBezTo>
                <a:cubicBezTo>
                  <a:pt x="10284" y="726"/>
                  <a:pt x="9685" y="577"/>
                  <a:pt x="9682" y="574"/>
                </a:cubicBezTo>
                <a:cubicBezTo>
                  <a:pt x="9679" y="571"/>
                  <a:pt x="9718" y="574"/>
                  <a:pt x="9890" y="582"/>
                </a:cubicBezTo>
                <a:close/>
                <a:moveTo>
                  <a:pt x="9937" y="757"/>
                </a:moveTo>
                <a:lnTo>
                  <a:pt x="9937" y="757"/>
                </a:lnTo>
                <a:cubicBezTo>
                  <a:pt x="10167" y="854"/>
                  <a:pt x="10356" y="932"/>
                  <a:pt x="10353" y="934"/>
                </a:cubicBezTo>
                <a:cubicBezTo>
                  <a:pt x="10353" y="934"/>
                  <a:pt x="9629" y="876"/>
                  <a:pt x="9629" y="873"/>
                </a:cubicBezTo>
                <a:cubicBezTo>
                  <a:pt x="9629" y="873"/>
                  <a:pt x="9602" y="810"/>
                  <a:pt x="9568" y="729"/>
                </a:cubicBezTo>
                <a:cubicBezTo>
                  <a:pt x="9538" y="651"/>
                  <a:pt x="9510" y="582"/>
                  <a:pt x="9510" y="579"/>
                </a:cubicBezTo>
                <a:cubicBezTo>
                  <a:pt x="9507" y="577"/>
                  <a:pt x="9510" y="577"/>
                  <a:pt x="9516" y="577"/>
                </a:cubicBezTo>
                <a:cubicBezTo>
                  <a:pt x="9518" y="579"/>
                  <a:pt x="9710" y="660"/>
                  <a:pt x="9937" y="757"/>
                </a:cubicBezTo>
                <a:close/>
                <a:moveTo>
                  <a:pt x="6909" y="704"/>
                </a:moveTo>
                <a:lnTo>
                  <a:pt x="6909" y="704"/>
                </a:lnTo>
                <a:cubicBezTo>
                  <a:pt x="7059" y="754"/>
                  <a:pt x="7178" y="793"/>
                  <a:pt x="7176" y="793"/>
                </a:cubicBezTo>
                <a:cubicBezTo>
                  <a:pt x="7170" y="796"/>
                  <a:pt x="6482" y="687"/>
                  <a:pt x="6482" y="685"/>
                </a:cubicBezTo>
                <a:cubicBezTo>
                  <a:pt x="6479" y="685"/>
                  <a:pt x="6479" y="682"/>
                  <a:pt x="6482" y="682"/>
                </a:cubicBezTo>
                <a:cubicBezTo>
                  <a:pt x="6485" y="679"/>
                  <a:pt x="6629" y="618"/>
                  <a:pt x="6635" y="618"/>
                </a:cubicBezTo>
                <a:cubicBezTo>
                  <a:pt x="6638" y="615"/>
                  <a:pt x="6760" y="657"/>
                  <a:pt x="6909" y="704"/>
                </a:cubicBezTo>
                <a:close/>
                <a:moveTo>
                  <a:pt x="9270" y="737"/>
                </a:moveTo>
                <a:lnTo>
                  <a:pt x="9270" y="737"/>
                </a:lnTo>
                <a:cubicBezTo>
                  <a:pt x="9397" y="801"/>
                  <a:pt x="9497" y="854"/>
                  <a:pt x="9492" y="854"/>
                </a:cubicBezTo>
                <a:cubicBezTo>
                  <a:pt x="9481" y="854"/>
                  <a:pt x="8679" y="732"/>
                  <a:pt x="8676" y="729"/>
                </a:cubicBezTo>
                <a:cubicBezTo>
                  <a:pt x="8676" y="726"/>
                  <a:pt x="9026" y="621"/>
                  <a:pt x="9037" y="621"/>
                </a:cubicBezTo>
                <a:cubicBezTo>
                  <a:pt x="9040" y="621"/>
                  <a:pt x="9145" y="674"/>
                  <a:pt x="9270" y="737"/>
                </a:cubicBezTo>
                <a:close/>
                <a:moveTo>
                  <a:pt x="8241" y="729"/>
                </a:moveTo>
                <a:lnTo>
                  <a:pt x="8241" y="729"/>
                </a:lnTo>
                <a:cubicBezTo>
                  <a:pt x="8241" y="729"/>
                  <a:pt x="8235" y="732"/>
                  <a:pt x="8230" y="732"/>
                </a:cubicBezTo>
                <a:cubicBezTo>
                  <a:pt x="8224" y="732"/>
                  <a:pt x="8002" y="740"/>
                  <a:pt x="7739" y="751"/>
                </a:cubicBezTo>
                <a:cubicBezTo>
                  <a:pt x="7262" y="773"/>
                  <a:pt x="7262" y="773"/>
                  <a:pt x="7262" y="773"/>
                </a:cubicBezTo>
                <a:cubicBezTo>
                  <a:pt x="7034" y="701"/>
                  <a:pt x="7034" y="701"/>
                  <a:pt x="7034" y="701"/>
                </a:cubicBezTo>
                <a:cubicBezTo>
                  <a:pt x="6907" y="663"/>
                  <a:pt x="6804" y="629"/>
                  <a:pt x="6801" y="629"/>
                </a:cubicBezTo>
                <a:cubicBezTo>
                  <a:pt x="6801" y="627"/>
                  <a:pt x="7123" y="649"/>
                  <a:pt x="7520" y="676"/>
                </a:cubicBezTo>
                <a:cubicBezTo>
                  <a:pt x="7913" y="704"/>
                  <a:pt x="8238" y="729"/>
                  <a:pt x="8241" y="729"/>
                </a:cubicBezTo>
                <a:close/>
                <a:moveTo>
                  <a:pt x="4499" y="654"/>
                </a:moveTo>
                <a:lnTo>
                  <a:pt x="4499" y="654"/>
                </a:lnTo>
                <a:cubicBezTo>
                  <a:pt x="4674" y="657"/>
                  <a:pt x="4840" y="663"/>
                  <a:pt x="4871" y="663"/>
                </a:cubicBezTo>
                <a:cubicBezTo>
                  <a:pt x="4907" y="663"/>
                  <a:pt x="4926" y="663"/>
                  <a:pt x="4926" y="665"/>
                </a:cubicBezTo>
                <a:cubicBezTo>
                  <a:pt x="4926" y="668"/>
                  <a:pt x="4923" y="668"/>
                  <a:pt x="4918" y="668"/>
                </a:cubicBezTo>
                <a:cubicBezTo>
                  <a:pt x="4909" y="668"/>
                  <a:pt x="3983" y="729"/>
                  <a:pt x="3950" y="732"/>
                </a:cubicBezTo>
                <a:cubicBezTo>
                  <a:pt x="3941" y="735"/>
                  <a:pt x="3933" y="732"/>
                  <a:pt x="3933" y="732"/>
                </a:cubicBezTo>
                <a:cubicBezTo>
                  <a:pt x="3933" y="729"/>
                  <a:pt x="3978" y="710"/>
                  <a:pt x="4030" y="687"/>
                </a:cubicBezTo>
                <a:cubicBezTo>
                  <a:pt x="4130" y="646"/>
                  <a:pt x="4130" y="646"/>
                  <a:pt x="4130" y="646"/>
                </a:cubicBezTo>
                <a:cubicBezTo>
                  <a:pt x="4158" y="646"/>
                  <a:pt x="4158" y="646"/>
                  <a:pt x="4158" y="646"/>
                </a:cubicBezTo>
                <a:cubicBezTo>
                  <a:pt x="4174" y="646"/>
                  <a:pt x="4327" y="649"/>
                  <a:pt x="4499" y="654"/>
                </a:cubicBezTo>
                <a:close/>
                <a:moveTo>
                  <a:pt x="5542" y="699"/>
                </a:moveTo>
                <a:lnTo>
                  <a:pt x="5542" y="699"/>
                </a:lnTo>
                <a:cubicBezTo>
                  <a:pt x="5700" y="721"/>
                  <a:pt x="5717" y="724"/>
                  <a:pt x="5708" y="726"/>
                </a:cubicBezTo>
                <a:cubicBezTo>
                  <a:pt x="5703" y="729"/>
                  <a:pt x="5184" y="779"/>
                  <a:pt x="5179" y="779"/>
                </a:cubicBezTo>
                <a:cubicBezTo>
                  <a:pt x="5176" y="779"/>
                  <a:pt x="5220" y="754"/>
                  <a:pt x="5276" y="726"/>
                </a:cubicBezTo>
                <a:cubicBezTo>
                  <a:pt x="5331" y="696"/>
                  <a:pt x="5378" y="674"/>
                  <a:pt x="5381" y="674"/>
                </a:cubicBezTo>
                <a:cubicBezTo>
                  <a:pt x="5387" y="676"/>
                  <a:pt x="5456" y="685"/>
                  <a:pt x="5542" y="699"/>
                </a:cubicBezTo>
                <a:close/>
                <a:moveTo>
                  <a:pt x="5273" y="687"/>
                </a:moveTo>
                <a:lnTo>
                  <a:pt x="5273" y="687"/>
                </a:lnTo>
                <a:cubicBezTo>
                  <a:pt x="5267" y="690"/>
                  <a:pt x="5217" y="715"/>
                  <a:pt x="5162" y="743"/>
                </a:cubicBezTo>
                <a:cubicBezTo>
                  <a:pt x="5065" y="796"/>
                  <a:pt x="5065" y="796"/>
                  <a:pt x="5065" y="796"/>
                </a:cubicBezTo>
                <a:cubicBezTo>
                  <a:pt x="4657" y="773"/>
                  <a:pt x="4657" y="773"/>
                  <a:pt x="4657" y="773"/>
                </a:cubicBezTo>
                <a:cubicBezTo>
                  <a:pt x="4432" y="762"/>
                  <a:pt x="4249" y="751"/>
                  <a:pt x="4247" y="751"/>
                </a:cubicBezTo>
                <a:lnTo>
                  <a:pt x="4247" y="749"/>
                </a:lnTo>
                <a:cubicBezTo>
                  <a:pt x="4249" y="749"/>
                  <a:pt x="5237" y="682"/>
                  <a:pt x="5265" y="679"/>
                </a:cubicBezTo>
                <a:cubicBezTo>
                  <a:pt x="5284" y="679"/>
                  <a:pt x="5284" y="679"/>
                  <a:pt x="5284" y="679"/>
                </a:cubicBezTo>
                <a:cubicBezTo>
                  <a:pt x="5273" y="687"/>
                  <a:pt x="5273" y="687"/>
                  <a:pt x="5273" y="687"/>
                </a:cubicBezTo>
                <a:close/>
                <a:moveTo>
                  <a:pt x="10276" y="818"/>
                </a:moveTo>
                <a:lnTo>
                  <a:pt x="10276" y="818"/>
                </a:lnTo>
                <a:cubicBezTo>
                  <a:pt x="10653" y="940"/>
                  <a:pt x="10653" y="940"/>
                  <a:pt x="10653" y="940"/>
                </a:cubicBezTo>
                <a:cubicBezTo>
                  <a:pt x="10567" y="943"/>
                  <a:pt x="10567" y="943"/>
                  <a:pt x="10567" y="943"/>
                </a:cubicBezTo>
                <a:cubicBezTo>
                  <a:pt x="10478" y="945"/>
                  <a:pt x="10478" y="945"/>
                  <a:pt x="10478" y="945"/>
                </a:cubicBezTo>
                <a:cubicBezTo>
                  <a:pt x="10198" y="829"/>
                  <a:pt x="10198" y="829"/>
                  <a:pt x="10198" y="829"/>
                </a:cubicBezTo>
                <a:cubicBezTo>
                  <a:pt x="9943" y="721"/>
                  <a:pt x="9876" y="690"/>
                  <a:pt x="9893" y="696"/>
                </a:cubicBezTo>
                <a:cubicBezTo>
                  <a:pt x="9896" y="696"/>
                  <a:pt x="10068" y="751"/>
                  <a:pt x="10276" y="818"/>
                </a:cubicBezTo>
                <a:close/>
                <a:moveTo>
                  <a:pt x="10273" y="760"/>
                </a:moveTo>
                <a:lnTo>
                  <a:pt x="10273" y="760"/>
                </a:lnTo>
                <a:cubicBezTo>
                  <a:pt x="10492" y="815"/>
                  <a:pt x="10492" y="815"/>
                  <a:pt x="10492" y="815"/>
                </a:cubicBezTo>
                <a:cubicBezTo>
                  <a:pt x="10550" y="851"/>
                  <a:pt x="10550" y="851"/>
                  <a:pt x="10550" y="851"/>
                </a:cubicBezTo>
                <a:cubicBezTo>
                  <a:pt x="10583" y="871"/>
                  <a:pt x="10608" y="884"/>
                  <a:pt x="10606" y="887"/>
                </a:cubicBezTo>
                <a:cubicBezTo>
                  <a:pt x="10603" y="887"/>
                  <a:pt x="10054" y="710"/>
                  <a:pt x="10045" y="704"/>
                </a:cubicBezTo>
                <a:cubicBezTo>
                  <a:pt x="10040" y="701"/>
                  <a:pt x="10040" y="701"/>
                  <a:pt x="10045" y="704"/>
                </a:cubicBezTo>
                <a:cubicBezTo>
                  <a:pt x="10051" y="704"/>
                  <a:pt x="10154" y="729"/>
                  <a:pt x="10273" y="760"/>
                </a:cubicBezTo>
                <a:close/>
                <a:moveTo>
                  <a:pt x="6185" y="740"/>
                </a:moveTo>
                <a:lnTo>
                  <a:pt x="6185" y="740"/>
                </a:lnTo>
                <a:cubicBezTo>
                  <a:pt x="6124" y="768"/>
                  <a:pt x="6124" y="768"/>
                  <a:pt x="6124" y="768"/>
                </a:cubicBezTo>
                <a:cubicBezTo>
                  <a:pt x="6058" y="754"/>
                  <a:pt x="6058" y="754"/>
                  <a:pt x="6058" y="754"/>
                </a:cubicBezTo>
                <a:cubicBezTo>
                  <a:pt x="6019" y="746"/>
                  <a:pt x="5988" y="737"/>
                  <a:pt x="5991" y="735"/>
                </a:cubicBezTo>
                <a:cubicBezTo>
                  <a:pt x="5994" y="735"/>
                  <a:pt x="6210" y="710"/>
                  <a:pt x="6230" y="710"/>
                </a:cubicBezTo>
                <a:cubicBezTo>
                  <a:pt x="6246" y="710"/>
                  <a:pt x="6246" y="710"/>
                  <a:pt x="6246" y="710"/>
                </a:cubicBezTo>
                <a:cubicBezTo>
                  <a:pt x="6185" y="740"/>
                  <a:pt x="6185" y="740"/>
                  <a:pt x="6185" y="740"/>
                </a:cubicBezTo>
                <a:close/>
                <a:moveTo>
                  <a:pt x="6513" y="812"/>
                </a:moveTo>
                <a:lnTo>
                  <a:pt x="6513" y="812"/>
                </a:lnTo>
                <a:cubicBezTo>
                  <a:pt x="6568" y="868"/>
                  <a:pt x="6613" y="912"/>
                  <a:pt x="6613" y="912"/>
                </a:cubicBezTo>
                <a:cubicBezTo>
                  <a:pt x="6607" y="912"/>
                  <a:pt x="6241" y="798"/>
                  <a:pt x="6241" y="796"/>
                </a:cubicBezTo>
                <a:cubicBezTo>
                  <a:pt x="6241" y="793"/>
                  <a:pt x="6399" y="718"/>
                  <a:pt x="6405" y="718"/>
                </a:cubicBezTo>
                <a:cubicBezTo>
                  <a:pt x="6407" y="718"/>
                  <a:pt x="6454" y="760"/>
                  <a:pt x="6513" y="812"/>
                </a:cubicBezTo>
                <a:close/>
                <a:moveTo>
                  <a:pt x="6884" y="785"/>
                </a:moveTo>
                <a:lnTo>
                  <a:pt x="6884" y="785"/>
                </a:lnTo>
                <a:cubicBezTo>
                  <a:pt x="7104" y="821"/>
                  <a:pt x="7284" y="848"/>
                  <a:pt x="7284" y="851"/>
                </a:cubicBezTo>
                <a:cubicBezTo>
                  <a:pt x="7287" y="851"/>
                  <a:pt x="6715" y="934"/>
                  <a:pt x="6699" y="934"/>
                </a:cubicBezTo>
                <a:cubicBezTo>
                  <a:pt x="6693" y="934"/>
                  <a:pt x="6474" y="732"/>
                  <a:pt x="6471" y="724"/>
                </a:cubicBezTo>
                <a:cubicBezTo>
                  <a:pt x="6468" y="721"/>
                  <a:pt x="6474" y="721"/>
                  <a:pt x="6479" y="721"/>
                </a:cubicBezTo>
                <a:cubicBezTo>
                  <a:pt x="6485" y="724"/>
                  <a:pt x="6668" y="751"/>
                  <a:pt x="6884" y="785"/>
                </a:cubicBezTo>
                <a:close/>
                <a:moveTo>
                  <a:pt x="5844" y="757"/>
                </a:moveTo>
                <a:lnTo>
                  <a:pt x="5844" y="757"/>
                </a:lnTo>
                <a:cubicBezTo>
                  <a:pt x="5844" y="762"/>
                  <a:pt x="5839" y="798"/>
                  <a:pt x="5830" y="840"/>
                </a:cubicBezTo>
                <a:cubicBezTo>
                  <a:pt x="5822" y="884"/>
                  <a:pt x="5814" y="918"/>
                  <a:pt x="5814" y="918"/>
                </a:cubicBezTo>
                <a:cubicBezTo>
                  <a:pt x="5814" y="920"/>
                  <a:pt x="5811" y="920"/>
                  <a:pt x="5808" y="920"/>
                </a:cubicBezTo>
                <a:cubicBezTo>
                  <a:pt x="5803" y="920"/>
                  <a:pt x="5362" y="843"/>
                  <a:pt x="5228" y="818"/>
                </a:cubicBezTo>
                <a:cubicBezTo>
                  <a:pt x="5220" y="818"/>
                  <a:pt x="5217" y="815"/>
                  <a:pt x="5217" y="815"/>
                </a:cubicBezTo>
                <a:cubicBezTo>
                  <a:pt x="5220" y="812"/>
                  <a:pt x="5808" y="751"/>
                  <a:pt x="5833" y="751"/>
                </a:cubicBezTo>
                <a:cubicBezTo>
                  <a:pt x="5841" y="751"/>
                  <a:pt x="5844" y="751"/>
                  <a:pt x="5844" y="757"/>
                </a:cubicBezTo>
                <a:close/>
                <a:moveTo>
                  <a:pt x="6000" y="776"/>
                </a:moveTo>
                <a:lnTo>
                  <a:pt x="6000" y="776"/>
                </a:lnTo>
                <a:cubicBezTo>
                  <a:pt x="6038" y="785"/>
                  <a:pt x="6069" y="793"/>
                  <a:pt x="6069" y="793"/>
                </a:cubicBezTo>
                <a:cubicBezTo>
                  <a:pt x="6069" y="796"/>
                  <a:pt x="5855" y="909"/>
                  <a:pt x="5853" y="909"/>
                </a:cubicBezTo>
                <a:cubicBezTo>
                  <a:pt x="5853" y="907"/>
                  <a:pt x="5880" y="762"/>
                  <a:pt x="5883" y="754"/>
                </a:cubicBezTo>
                <a:cubicBezTo>
                  <a:pt x="5886" y="751"/>
                  <a:pt x="5891" y="751"/>
                  <a:pt x="5905" y="754"/>
                </a:cubicBezTo>
                <a:cubicBezTo>
                  <a:pt x="5919" y="757"/>
                  <a:pt x="5961" y="768"/>
                  <a:pt x="6000" y="776"/>
                </a:cubicBezTo>
                <a:close/>
                <a:moveTo>
                  <a:pt x="8488" y="760"/>
                </a:moveTo>
                <a:lnTo>
                  <a:pt x="8488" y="760"/>
                </a:lnTo>
                <a:cubicBezTo>
                  <a:pt x="8482" y="765"/>
                  <a:pt x="7902" y="1043"/>
                  <a:pt x="7894" y="1043"/>
                </a:cubicBezTo>
                <a:cubicBezTo>
                  <a:pt x="7894" y="1043"/>
                  <a:pt x="7786" y="995"/>
                  <a:pt x="7655" y="937"/>
                </a:cubicBezTo>
                <a:cubicBezTo>
                  <a:pt x="7525" y="879"/>
                  <a:pt x="7403" y="826"/>
                  <a:pt x="7381" y="821"/>
                </a:cubicBezTo>
                <a:cubicBezTo>
                  <a:pt x="7361" y="815"/>
                  <a:pt x="7348" y="807"/>
                  <a:pt x="7348" y="807"/>
                </a:cubicBezTo>
                <a:cubicBezTo>
                  <a:pt x="7350" y="804"/>
                  <a:pt x="7606" y="793"/>
                  <a:pt x="7919" y="779"/>
                </a:cubicBezTo>
                <a:cubicBezTo>
                  <a:pt x="8232" y="765"/>
                  <a:pt x="8488" y="754"/>
                  <a:pt x="8490" y="754"/>
                </a:cubicBezTo>
                <a:cubicBezTo>
                  <a:pt x="8493" y="754"/>
                  <a:pt x="8490" y="757"/>
                  <a:pt x="8488" y="760"/>
                </a:cubicBezTo>
                <a:close/>
                <a:moveTo>
                  <a:pt x="8898" y="1037"/>
                </a:moveTo>
                <a:lnTo>
                  <a:pt x="8898" y="1037"/>
                </a:lnTo>
                <a:cubicBezTo>
                  <a:pt x="9034" y="1162"/>
                  <a:pt x="9145" y="1262"/>
                  <a:pt x="9148" y="1264"/>
                </a:cubicBezTo>
                <a:cubicBezTo>
                  <a:pt x="9148" y="1267"/>
                  <a:pt x="9142" y="1267"/>
                  <a:pt x="9134" y="1267"/>
                </a:cubicBezTo>
                <a:cubicBezTo>
                  <a:pt x="9126" y="1267"/>
                  <a:pt x="8959" y="1275"/>
                  <a:pt x="8765" y="1281"/>
                </a:cubicBezTo>
                <a:cubicBezTo>
                  <a:pt x="8365" y="1301"/>
                  <a:pt x="8393" y="1298"/>
                  <a:pt x="8393" y="1295"/>
                </a:cubicBezTo>
                <a:cubicBezTo>
                  <a:pt x="8393" y="1292"/>
                  <a:pt x="8510" y="979"/>
                  <a:pt x="8587" y="773"/>
                </a:cubicBezTo>
                <a:cubicBezTo>
                  <a:pt x="8593" y="765"/>
                  <a:pt x="8593" y="765"/>
                  <a:pt x="8593" y="765"/>
                </a:cubicBezTo>
                <a:cubicBezTo>
                  <a:pt x="8621" y="790"/>
                  <a:pt x="8621" y="790"/>
                  <a:pt x="8621" y="790"/>
                </a:cubicBezTo>
                <a:cubicBezTo>
                  <a:pt x="8637" y="804"/>
                  <a:pt x="8762" y="915"/>
                  <a:pt x="8898" y="1037"/>
                </a:cubicBezTo>
                <a:close/>
                <a:moveTo>
                  <a:pt x="9431" y="962"/>
                </a:moveTo>
                <a:lnTo>
                  <a:pt x="9431" y="962"/>
                </a:lnTo>
                <a:cubicBezTo>
                  <a:pt x="9651" y="1018"/>
                  <a:pt x="9835" y="1065"/>
                  <a:pt x="9832" y="1065"/>
                </a:cubicBezTo>
                <a:cubicBezTo>
                  <a:pt x="9824" y="1070"/>
                  <a:pt x="9206" y="1262"/>
                  <a:pt x="9200" y="1259"/>
                </a:cubicBezTo>
                <a:cubicBezTo>
                  <a:pt x="9195" y="1259"/>
                  <a:pt x="8657" y="779"/>
                  <a:pt x="8657" y="773"/>
                </a:cubicBezTo>
                <a:cubicBezTo>
                  <a:pt x="8654" y="771"/>
                  <a:pt x="8787" y="801"/>
                  <a:pt x="9431" y="962"/>
                </a:cubicBezTo>
                <a:close/>
                <a:moveTo>
                  <a:pt x="4272" y="865"/>
                </a:moveTo>
                <a:lnTo>
                  <a:pt x="4272" y="865"/>
                </a:lnTo>
                <a:cubicBezTo>
                  <a:pt x="4463" y="915"/>
                  <a:pt x="4624" y="959"/>
                  <a:pt x="4632" y="959"/>
                </a:cubicBezTo>
                <a:cubicBezTo>
                  <a:pt x="4643" y="962"/>
                  <a:pt x="4643" y="962"/>
                  <a:pt x="4643" y="962"/>
                </a:cubicBezTo>
                <a:cubicBezTo>
                  <a:pt x="4635" y="965"/>
                  <a:pt x="4635" y="965"/>
                  <a:pt x="4635" y="965"/>
                </a:cubicBezTo>
                <a:cubicBezTo>
                  <a:pt x="4624" y="968"/>
                  <a:pt x="3661" y="993"/>
                  <a:pt x="3650" y="990"/>
                </a:cubicBezTo>
                <a:cubicBezTo>
                  <a:pt x="3645" y="990"/>
                  <a:pt x="3675" y="962"/>
                  <a:pt x="3778" y="882"/>
                </a:cubicBezTo>
                <a:cubicBezTo>
                  <a:pt x="3864" y="815"/>
                  <a:pt x="3916" y="773"/>
                  <a:pt x="3922" y="773"/>
                </a:cubicBezTo>
                <a:cubicBezTo>
                  <a:pt x="3925" y="773"/>
                  <a:pt x="4083" y="815"/>
                  <a:pt x="4272" y="865"/>
                </a:cubicBezTo>
                <a:close/>
                <a:moveTo>
                  <a:pt x="8549" y="776"/>
                </a:moveTo>
                <a:lnTo>
                  <a:pt x="8549" y="776"/>
                </a:lnTo>
                <a:cubicBezTo>
                  <a:pt x="8529" y="835"/>
                  <a:pt x="8354" y="1287"/>
                  <a:pt x="8354" y="1289"/>
                </a:cubicBezTo>
                <a:cubicBezTo>
                  <a:pt x="8354" y="1289"/>
                  <a:pt x="8260" y="1239"/>
                  <a:pt x="8144" y="1178"/>
                </a:cubicBezTo>
                <a:cubicBezTo>
                  <a:pt x="8030" y="1117"/>
                  <a:pt x="7938" y="1065"/>
                  <a:pt x="7941" y="1065"/>
                </a:cubicBezTo>
                <a:cubicBezTo>
                  <a:pt x="7944" y="1059"/>
                  <a:pt x="8540" y="773"/>
                  <a:pt x="8546" y="773"/>
                </a:cubicBezTo>
                <a:cubicBezTo>
                  <a:pt x="8549" y="773"/>
                  <a:pt x="8551" y="773"/>
                  <a:pt x="8549" y="776"/>
                </a:cubicBezTo>
                <a:close/>
                <a:moveTo>
                  <a:pt x="4554" y="804"/>
                </a:moveTo>
                <a:lnTo>
                  <a:pt x="4554" y="804"/>
                </a:lnTo>
                <a:cubicBezTo>
                  <a:pt x="4776" y="815"/>
                  <a:pt x="4968" y="826"/>
                  <a:pt x="4982" y="826"/>
                </a:cubicBezTo>
                <a:cubicBezTo>
                  <a:pt x="5004" y="829"/>
                  <a:pt x="5004" y="829"/>
                  <a:pt x="5004" y="829"/>
                </a:cubicBezTo>
                <a:cubicBezTo>
                  <a:pt x="4890" y="896"/>
                  <a:pt x="4890" y="896"/>
                  <a:pt x="4890" y="896"/>
                </a:cubicBezTo>
                <a:cubicBezTo>
                  <a:pt x="4776" y="962"/>
                  <a:pt x="4776" y="962"/>
                  <a:pt x="4776" y="962"/>
                </a:cubicBezTo>
                <a:cubicBezTo>
                  <a:pt x="4441" y="873"/>
                  <a:pt x="4441" y="873"/>
                  <a:pt x="4441" y="873"/>
                </a:cubicBezTo>
                <a:cubicBezTo>
                  <a:pt x="4258" y="826"/>
                  <a:pt x="4105" y="785"/>
                  <a:pt x="4100" y="785"/>
                </a:cubicBezTo>
                <a:cubicBezTo>
                  <a:pt x="4097" y="782"/>
                  <a:pt x="4102" y="779"/>
                  <a:pt x="4122" y="782"/>
                </a:cubicBezTo>
                <a:cubicBezTo>
                  <a:pt x="4138" y="782"/>
                  <a:pt x="4333" y="793"/>
                  <a:pt x="4554" y="804"/>
                </a:cubicBezTo>
                <a:close/>
                <a:moveTo>
                  <a:pt x="9300" y="862"/>
                </a:moveTo>
                <a:lnTo>
                  <a:pt x="9300" y="862"/>
                </a:lnTo>
                <a:cubicBezTo>
                  <a:pt x="9461" y="884"/>
                  <a:pt x="9596" y="907"/>
                  <a:pt x="9604" y="909"/>
                </a:cubicBezTo>
                <a:cubicBezTo>
                  <a:pt x="9615" y="912"/>
                  <a:pt x="9782" y="1009"/>
                  <a:pt x="9782" y="1012"/>
                </a:cubicBezTo>
                <a:cubicBezTo>
                  <a:pt x="9779" y="1012"/>
                  <a:pt x="9006" y="821"/>
                  <a:pt x="9003" y="818"/>
                </a:cubicBezTo>
                <a:cubicBezTo>
                  <a:pt x="9001" y="815"/>
                  <a:pt x="9006" y="815"/>
                  <a:pt x="9300" y="862"/>
                </a:cubicBezTo>
                <a:close/>
                <a:moveTo>
                  <a:pt x="6588" y="962"/>
                </a:moveTo>
                <a:lnTo>
                  <a:pt x="6588" y="962"/>
                </a:lnTo>
                <a:cubicBezTo>
                  <a:pt x="6809" y="1043"/>
                  <a:pt x="6993" y="1106"/>
                  <a:pt x="6995" y="1109"/>
                </a:cubicBezTo>
                <a:cubicBezTo>
                  <a:pt x="6998" y="1112"/>
                  <a:pt x="6998" y="1112"/>
                  <a:pt x="6990" y="1112"/>
                </a:cubicBezTo>
                <a:cubicBezTo>
                  <a:pt x="6463" y="1029"/>
                  <a:pt x="5952" y="948"/>
                  <a:pt x="5952" y="945"/>
                </a:cubicBezTo>
                <a:cubicBezTo>
                  <a:pt x="5950" y="945"/>
                  <a:pt x="6180" y="821"/>
                  <a:pt x="6185" y="821"/>
                </a:cubicBezTo>
                <a:cubicBezTo>
                  <a:pt x="6185" y="821"/>
                  <a:pt x="6366" y="884"/>
                  <a:pt x="6588" y="962"/>
                </a:cubicBezTo>
                <a:close/>
                <a:moveTo>
                  <a:pt x="5148" y="932"/>
                </a:moveTo>
                <a:lnTo>
                  <a:pt x="5148" y="932"/>
                </a:lnTo>
                <a:cubicBezTo>
                  <a:pt x="5220" y="1029"/>
                  <a:pt x="5220" y="1029"/>
                  <a:pt x="5220" y="1029"/>
                </a:cubicBezTo>
                <a:cubicBezTo>
                  <a:pt x="5209" y="1026"/>
                  <a:pt x="5209" y="1026"/>
                  <a:pt x="5209" y="1026"/>
                </a:cubicBezTo>
                <a:cubicBezTo>
                  <a:pt x="5195" y="1026"/>
                  <a:pt x="5145" y="1018"/>
                  <a:pt x="5076" y="1006"/>
                </a:cubicBezTo>
                <a:cubicBezTo>
                  <a:pt x="5029" y="995"/>
                  <a:pt x="4862" y="973"/>
                  <a:pt x="4843" y="973"/>
                </a:cubicBezTo>
                <a:cubicBezTo>
                  <a:pt x="4840" y="973"/>
                  <a:pt x="4837" y="970"/>
                  <a:pt x="4840" y="968"/>
                </a:cubicBezTo>
                <a:cubicBezTo>
                  <a:pt x="4840" y="962"/>
                  <a:pt x="5070" y="832"/>
                  <a:pt x="5073" y="835"/>
                </a:cubicBezTo>
                <a:cubicBezTo>
                  <a:pt x="5073" y="835"/>
                  <a:pt x="5106" y="879"/>
                  <a:pt x="5148" y="932"/>
                </a:cubicBezTo>
                <a:close/>
                <a:moveTo>
                  <a:pt x="3664" y="843"/>
                </a:moveTo>
                <a:lnTo>
                  <a:pt x="3664" y="843"/>
                </a:lnTo>
                <a:cubicBezTo>
                  <a:pt x="3656" y="848"/>
                  <a:pt x="3592" y="876"/>
                  <a:pt x="3520" y="909"/>
                </a:cubicBezTo>
                <a:cubicBezTo>
                  <a:pt x="3403" y="962"/>
                  <a:pt x="3348" y="982"/>
                  <a:pt x="3342" y="976"/>
                </a:cubicBezTo>
                <a:cubicBezTo>
                  <a:pt x="3342" y="973"/>
                  <a:pt x="3670" y="837"/>
                  <a:pt x="3675" y="835"/>
                </a:cubicBezTo>
                <a:cubicBezTo>
                  <a:pt x="3678" y="835"/>
                  <a:pt x="3672" y="840"/>
                  <a:pt x="3664" y="843"/>
                </a:cubicBezTo>
                <a:close/>
                <a:moveTo>
                  <a:pt x="5414" y="887"/>
                </a:moveTo>
                <a:lnTo>
                  <a:pt x="5414" y="887"/>
                </a:lnTo>
                <a:cubicBezTo>
                  <a:pt x="5733" y="943"/>
                  <a:pt x="5725" y="943"/>
                  <a:pt x="5722" y="945"/>
                </a:cubicBezTo>
                <a:cubicBezTo>
                  <a:pt x="5717" y="948"/>
                  <a:pt x="5270" y="1034"/>
                  <a:pt x="5267" y="1031"/>
                </a:cubicBezTo>
                <a:cubicBezTo>
                  <a:pt x="5262" y="1026"/>
                  <a:pt x="5120" y="837"/>
                  <a:pt x="5120" y="837"/>
                </a:cubicBezTo>
                <a:cubicBezTo>
                  <a:pt x="5120" y="835"/>
                  <a:pt x="5104" y="832"/>
                  <a:pt x="5414" y="887"/>
                </a:cubicBezTo>
                <a:close/>
                <a:moveTo>
                  <a:pt x="3745" y="859"/>
                </a:moveTo>
                <a:lnTo>
                  <a:pt x="3745" y="859"/>
                </a:lnTo>
                <a:cubicBezTo>
                  <a:pt x="3742" y="865"/>
                  <a:pt x="3703" y="896"/>
                  <a:pt x="3656" y="932"/>
                </a:cubicBezTo>
                <a:cubicBezTo>
                  <a:pt x="3575" y="995"/>
                  <a:pt x="3575" y="995"/>
                  <a:pt x="3575" y="995"/>
                </a:cubicBezTo>
                <a:cubicBezTo>
                  <a:pt x="3528" y="1015"/>
                  <a:pt x="3528" y="1015"/>
                  <a:pt x="3528" y="1015"/>
                </a:cubicBezTo>
                <a:cubicBezTo>
                  <a:pt x="3484" y="1037"/>
                  <a:pt x="3484" y="1037"/>
                  <a:pt x="3484" y="1037"/>
                </a:cubicBezTo>
                <a:cubicBezTo>
                  <a:pt x="3437" y="1040"/>
                  <a:pt x="3437" y="1040"/>
                  <a:pt x="3437" y="1040"/>
                </a:cubicBezTo>
                <a:cubicBezTo>
                  <a:pt x="3409" y="1040"/>
                  <a:pt x="3384" y="1043"/>
                  <a:pt x="3381" y="1043"/>
                </a:cubicBezTo>
                <a:cubicBezTo>
                  <a:pt x="3376" y="1040"/>
                  <a:pt x="3742" y="854"/>
                  <a:pt x="3750" y="854"/>
                </a:cubicBezTo>
                <a:cubicBezTo>
                  <a:pt x="3750" y="854"/>
                  <a:pt x="3750" y="857"/>
                  <a:pt x="3745" y="859"/>
                </a:cubicBezTo>
                <a:close/>
                <a:moveTo>
                  <a:pt x="7539" y="1015"/>
                </a:moveTo>
                <a:lnTo>
                  <a:pt x="7539" y="1015"/>
                </a:lnTo>
                <a:cubicBezTo>
                  <a:pt x="7608" y="1092"/>
                  <a:pt x="7664" y="1156"/>
                  <a:pt x="7661" y="1156"/>
                </a:cubicBezTo>
                <a:cubicBezTo>
                  <a:pt x="7658" y="1156"/>
                  <a:pt x="6809" y="965"/>
                  <a:pt x="6798" y="962"/>
                </a:cubicBezTo>
                <a:cubicBezTo>
                  <a:pt x="6796" y="959"/>
                  <a:pt x="6796" y="959"/>
                  <a:pt x="6801" y="957"/>
                </a:cubicBezTo>
                <a:cubicBezTo>
                  <a:pt x="6829" y="954"/>
                  <a:pt x="7386" y="873"/>
                  <a:pt x="7397" y="873"/>
                </a:cubicBezTo>
                <a:cubicBezTo>
                  <a:pt x="7411" y="873"/>
                  <a:pt x="7411" y="873"/>
                  <a:pt x="7411" y="873"/>
                </a:cubicBezTo>
                <a:cubicBezTo>
                  <a:pt x="7539" y="1015"/>
                  <a:pt x="7539" y="1015"/>
                  <a:pt x="7539" y="1015"/>
                </a:cubicBezTo>
                <a:close/>
                <a:moveTo>
                  <a:pt x="7678" y="987"/>
                </a:moveTo>
                <a:lnTo>
                  <a:pt x="7678" y="987"/>
                </a:lnTo>
                <a:cubicBezTo>
                  <a:pt x="7777" y="1031"/>
                  <a:pt x="7855" y="1068"/>
                  <a:pt x="7855" y="1068"/>
                </a:cubicBezTo>
                <a:cubicBezTo>
                  <a:pt x="7855" y="1070"/>
                  <a:pt x="7827" y="1092"/>
                  <a:pt x="7791" y="1117"/>
                </a:cubicBezTo>
                <a:cubicBezTo>
                  <a:pt x="7747" y="1151"/>
                  <a:pt x="7725" y="1165"/>
                  <a:pt x="7722" y="1162"/>
                </a:cubicBezTo>
                <a:cubicBezTo>
                  <a:pt x="7714" y="1156"/>
                  <a:pt x="7497" y="912"/>
                  <a:pt x="7495" y="909"/>
                </a:cubicBezTo>
                <a:cubicBezTo>
                  <a:pt x="7492" y="904"/>
                  <a:pt x="7475" y="896"/>
                  <a:pt x="7678" y="987"/>
                </a:cubicBezTo>
                <a:close/>
                <a:moveTo>
                  <a:pt x="9993" y="940"/>
                </a:moveTo>
                <a:lnTo>
                  <a:pt x="9993" y="940"/>
                </a:lnTo>
                <a:cubicBezTo>
                  <a:pt x="10289" y="965"/>
                  <a:pt x="10323" y="968"/>
                  <a:pt x="10323" y="970"/>
                </a:cubicBezTo>
                <a:cubicBezTo>
                  <a:pt x="10320" y="973"/>
                  <a:pt x="9918" y="1043"/>
                  <a:pt x="9910" y="1043"/>
                </a:cubicBezTo>
                <a:cubicBezTo>
                  <a:pt x="9907" y="1043"/>
                  <a:pt x="9707" y="926"/>
                  <a:pt x="9699" y="920"/>
                </a:cubicBezTo>
                <a:cubicBezTo>
                  <a:pt x="9696" y="915"/>
                  <a:pt x="9660" y="912"/>
                  <a:pt x="9993" y="940"/>
                </a:cubicBezTo>
                <a:close/>
                <a:moveTo>
                  <a:pt x="10908" y="1073"/>
                </a:moveTo>
                <a:lnTo>
                  <a:pt x="10908" y="1073"/>
                </a:lnTo>
                <a:cubicBezTo>
                  <a:pt x="10988" y="1129"/>
                  <a:pt x="11055" y="1173"/>
                  <a:pt x="11052" y="1173"/>
                </a:cubicBezTo>
                <a:cubicBezTo>
                  <a:pt x="11049" y="1173"/>
                  <a:pt x="10611" y="998"/>
                  <a:pt x="10572" y="984"/>
                </a:cubicBezTo>
                <a:cubicBezTo>
                  <a:pt x="10570" y="982"/>
                  <a:pt x="10608" y="982"/>
                  <a:pt x="10656" y="979"/>
                </a:cubicBezTo>
                <a:cubicBezTo>
                  <a:pt x="10703" y="979"/>
                  <a:pt x="10747" y="976"/>
                  <a:pt x="10750" y="976"/>
                </a:cubicBezTo>
                <a:cubicBezTo>
                  <a:pt x="10758" y="976"/>
                  <a:pt x="10803" y="1004"/>
                  <a:pt x="10908" y="1073"/>
                </a:cubicBezTo>
                <a:close/>
                <a:moveTo>
                  <a:pt x="6144" y="1178"/>
                </a:moveTo>
                <a:lnTo>
                  <a:pt x="6144" y="1178"/>
                </a:lnTo>
                <a:cubicBezTo>
                  <a:pt x="6285" y="1289"/>
                  <a:pt x="6399" y="1381"/>
                  <a:pt x="6399" y="1381"/>
                </a:cubicBezTo>
                <a:cubicBezTo>
                  <a:pt x="6396" y="1384"/>
                  <a:pt x="5642" y="1129"/>
                  <a:pt x="5639" y="1126"/>
                </a:cubicBezTo>
                <a:cubicBezTo>
                  <a:pt x="5636" y="1123"/>
                  <a:pt x="5633" y="1126"/>
                  <a:pt x="5775" y="1043"/>
                </a:cubicBezTo>
                <a:cubicBezTo>
                  <a:pt x="5833" y="1009"/>
                  <a:pt x="5883" y="979"/>
                  <a:pt x="5886" y="979"/>
                </a:cubicBezTo>
                <a:cubicBezTo>
                  <a:pt x="5886" y="979"/>
                  <a:pt x="6005" y="1070"/>
                  <a:pt x="6144" y="1178"/>
                </a:cubicBezTo>
                <a:close/>
                <a:moveTo>
                  <a:pt x="5717" y="987"/>
                </a:moveTo>
                <a:lnTo>
                  <a:pt x="5717" y="987"/>
                </a:lnTo>
                <a:cubicBezTo>
                  <a:pt x="5714" y="990"/>
                  <a:pt x="5672" y="1015"/>
                  <a:pt x="5625" y="1043"/>
                </a:cubicBezTo>
                <a:cubicBezTo>
                  <a:pt x="5536" y="1095"/>
                  <a:pt x="5536" y="1095"/>
                  <a:pt x="5536" y="1095"/>
                </a:cubicBezTo>
                <a:cubicBezTo>
                  <a:pt x="5514" y="1092"/>
                  <a:pt x="5514" y="1092"/>
                  <a:pt x="5514" y="1092"/>
                </a:cubicBezTo>
                <a:cubicBezTo>
                  <a:pt x="5503" y="1092"/>
                  <a:pt x="5492" y="1090"/>
                  <a:pt x="5486" y="1087"/>
                </a:cubicBezTo>
                <a:cubicBezTo>
                  <a:pt x="5481" y="1084"/>
                  <a:pt x="5453" y="1079"/>
                  <a:pt x="5420" y="1073"/>
                </a:cubicBezTo>
                <a:cubicBezTo>
                  <a:pt x="5370" y="1062"/>
                  <a:pt x="5348" y="1054"/>
                  <a:pt x="5359" y="1054"/>
                </a:cubicBezTo>
                <a:cubicBezTo>
                  <a:pt x="5362" y="1054"/>
                  <a:pt x="5439" y="1037"/>
                  <a:pt x="5536" y="1018"/>
                </a:cubicBezTo>
                <a:cubicBezTo>
                  <a:pt x="5725" y="982"/>
                  <a:pt x="5722" y="982"/>
                  <a:pt x="5717" y="987"/>
                </a:cubicBezTo>
                <a:close/>
                <a:moveTo>
                  <a:pt x="6546" y="1079"/>
                </a:moveTo>
                <a:lnTo>
                  <a:pt x="6546" y="1079"/>
                </a:lnTo>
                <a:cubicBezTo>
                  <a:pt x="6862" y="1126"/>
                  <a:pt x="7123" y="1167"/>
                  <a:pt x="7126" y="1170"/>
                </a:cubicBezTo>
                <a:cubicBezTo>
                  <a:pt x="7131" y="1170"/>
                  <a:pt x="7137" y="1170"/>
                  <a:pt x="6807" y="1298"/>
                </a:cubicBezTo>
                <a:cubicBezTo>
                  <a:pt x="6635" y="1364"/>
                  <a:pt x="6499" y="1414"/>
                  <a:pt x="6499" y="1411"/>
                </a:cubicBezTo>
                <a:cubicBezTo>
                  <a:pt x="6238" y="1209"/>
                  <a:pt x="5966" y="995"/>
                  <a:pt x="5964" y="993"/>
                </a:cubicBezTo>
                <a:cubicBezTo>
                  <a:pt x="5958" y="987"/>
                  <a:pt x="5958" y="987"/>
                  <a:pt x="5958" y="987"/>
                </a:cubicBezTo>
                <a:cubicBezTo>
                  <a:pt x="5966" y="987"/>
                  <a:pt x="5966" y="987"/>
                  <a:pt x="5966" y="987"/>
                </a:cubicBezTo>
                <a:cubicBezTo>
                  <a:pt x="5969" y="987"/>
                  <a:pt x="6230" y="1029"/>
                  <a:pt x="6546" y="1079"/>
                </a:cubicBezTo>
                <a:close/>
                <a:moveTo>
                  <a:pt x="10450" y="995"/>
                </a:moveTo>
                <a:lnTo>
                  <a:pt x="10450" y="995"/>
                </a:lnTo>
                <a:cubicBezTo>
                  <a:pt x="10448" y="1001"/>
                  <a:pt x="10436" y="1081"/>
                  <a:pt x="10423" y="1176"/>
                </a:cubicBezTo>
                <a:cubicBezTo>
                  <a:pt x="10409" y="1270"/>
                  <a:pt x="10398" y="1348"/>
                  <a:pt x="10398" y="1348"/>
                </a:cubicBezTo>
                <a:cubicBezTo>
                  <a:pt x="10398" y="1350"/>
                  <a:pt x="10362" y="1328"/>
                  <a:pt x="10317" y="1298"/>
                </a:cubicBezTo>
                <a:cubicBezTo>
                  <a:pt x="10276" y="1270"/>
                  <a:pt x="10176" y="1209"/>
                  <a:pt x="10098" y="1159"/>
                </a:cubicBezTo>
                <a:cubicBezTo>
                  <a:pt x="10020" y="1112"/>
                  <a:pt x="9957" y="1073"/>
                  <a:pt x="9959" y="1073"/>
                </a:cubicBezTo>
                <a:cubicBezTo>
                  <a:pt x="9962" y="1070"/>
                  <a:pt x="10425" y="987"/>
                  <a:pt x="10439" y="987"/>
                </a:cubicBezTo>
                <a:cubicBezTo>
                  <a:pt x="10450" y="987"/>
                  <a:pt x="10450" y="987"/>
                  <a:pt x="10450" y="987"/>
                </a:cubicBezTo>
                <a:cubicBezTo>
                  <a:pt x="10450" y="995"/>
                  <a:pt x="10450" y="995"/>
                  <a:pt x="10450" y="995"/>
                </a:cubicBezTo>
                <a:close/>
                <a:moveTo>
                  <a:pt x="4704" y="1001"/>
                </a:moveTo>
                <a:lnTo>
                  <a:pt x="4704" y="1001"/>
                </a:lnTo>
                <a:cubicBezTo>
                  <a:pt x="4704" y="1004"/>
                  <a:pt x="4701" y="1009"/>
                  <a:pt x="4696" y="1015"/>
                </a:cubicBezTo>
                <a:cubicBezTo>
                  <a:pt x="4685" y="1029"/>
                  <a:pt x="4685" y="1029"/>
                  <a:pt x="4685" y="1029"/>
                </a:cubicBezTo>
                <a:cubicBezTo>
                  <a:pt x="4419" y="1031"/>
                  <a:pt x="4419" y="1031"/>
                  <a:pt x="4419" y="1031"/>
                </a:cubicBezTo>
                <a:cubicBezTo>
                  <a:pt x="4272" y="1034"/>
                  <a:pt x="4149" y="1034"/>
                  <a:pt x="4147" y="1034"/>
                </a:cubicBezTo>
                <a:cubicBezTo>
                  <a:pt x="4147" y="1031"/>
                  <a:pt x="4149" y="1031"/>
                  <a:pt x="4158" y="1031"/>
                </a:cubicBezTo>
                <a:cubicBezTo>
                  <a:pt x="4163" y="1031"/>
                  <a:pt x="4283" y="1023"/>
                  <a:pt x="4421" y="1015"/>
                </a:cubicBezTo>
                <a:cubicBezTo>
                  <a:pt x="4707" y="995"/>
                  <a:pt x="4704" y="995"/>
                  <a:pt x="4704" y="1001"/>
                </a:cubicBezTo>
                <a:close/>
                <a:moveTo>
                  <a:pt x="4865" y="1009"/>
                </a:moveTo>
                <a:lnTo>
                  <a:pt x="4865" y="1009"/>
                </a:lnTo>
                <a:cubicBezTo>
                  <a:pt x="4882" y="1012"/>
                  <a:pt x="4896" y="1015"/>
                  <a:pt x="4896" y="1018"/>
                </a:cubicBezTo>
                <a:cubicBezTo>
                  <a:pt x="4893" y="1020"/>
                  <a:pt x="4774" y="1043"/>
                  <a:pt x="4763" y="1043"/>
                </a:cubicBezTo>
                <a:cubicBezTo>
                  <a:pt x="4760" y="1043"/>
                  <a:pt x="4760" y="1037"/>
                  <a:pt x="4771" y="1020"/>
                </a:cubicBezTo>
                <a:cubicBezTo>
                  <a:pt x="4785" y="1001"/>
                  <a:pt x="4785" y="1001"/>
                  <a:pt x="4785" y="1001"/>
                </a:cubicBezTo>
                <a:cubicBezTo>
                  <a:pt x="4807" y="1004"/>
                  <a:pt x="4807" y="1004"/>
                  <a:pt x="4807" y="1004"/>
                </a:cubicBezTo>
                <a:cubicBezTo>
                  <a:pt x="4818" y="1004"/>
                  <a:pt x="4846" y="1006"/>
                  <a:pt x="4865" y="1009"/>
                </a:cubicBezTo>
                <a:close/>
                <a:moveTo>
                  <a:pt x="10833" y="1126"/>
                </a:moveTo>
                <a:lnTo>
                  <a:pt x="10833" y="1126"/>
                </a:lnTo>
                <a:cubicBezTo>
                  <a:pt x="11124" y="1239"/>
                  <a:pt x="11124" y="1239"/>
                  <a:pt x="11124" y="1239"/>
                </a:cubicBezTo>
                <a:cubicBezTo>
                  <a:pt x="11113" y="1242"/>
                  <a:pt x="11113" y="1242"/>
                  <a:pt x="11113" y="1242"/>
                </a:cubicBezTo>
                <a:cubicBezTo>
                  <a:pt x="11108" y="1245"/>
                  <a:pt x="11083" y="1245"/>
                  <a:pt x="11055" y="1245"/>
                </a:cubicBezTo>
                <a:cubicBezTo>
                  <a:pt x="11005" y="1245"/>
                  <a:pt x="11005" y="1245"/>
                  <a:pt x="11005" y="1245"/>
                </a:cubicBezTo>
                <a:cubicBezTo>
                  <a:pt x="10930" y="1262"/>
                  <a:pt x="10930" y="1262"/>
                  <a:pt x="10930" y="1262"/>
                </a:cubicBezTo>
                <a:cubicBezTo>
                  <a:pt x="10866" y="1273"/>
                  <a:pt x="10744" y="1289"/>
                  <a:pt x="10742" y="1287"/>
                </a:cubicBezTo>
                <a:cubicBezTo>
                  <a:pt x="10742" y="1284"/>
                  <a:pt x="10694" y="1223"/>
                  <a:pt x="10639" y="1151"/>
                </a:cubicBezTo>
                <a:cubicBezTo>
                  <a:pt x="10522" y="998"/>
                  <a:pt x="10525" y="1004"/>
                  <a:pt x="10536" y="1006"/>
                </a:cubicBezTo>
                <a:cubicBezTo>
                  <a:pt x="10539" y="1009"/>
                  <a:pt x="10672" y="1062"/>
                  <a:pt x="10833" y="1126"/>
                </a:cubicBezTo>
                <a:close/>
                <a:moveTo>
                  <a:pt x="10595" y="1153"/>
                </a:moveTo>
                <a:lnTo>
                  <a:pt x="10595" y="1153"/>
                </a:lnTo>
                <a:cubicBezTo>
                  <a:pt x="10656" y="1228"/>
                  <a:pt x="10703" y="1292"/>
                  <a:pt x="10700" y="1295"/>
                </a:cubicBezTo>
                <a:cubicBezTo>
                  <a:pt x="10697" y="1298"/>
                  <a:pt x="10436" y="1359"/>
                  <a:pt x="10436" y="1356"/>
                </a:cubicBezTo>
                <a:cubicBezTo>
                  <a:pt x="10434" y="1353"/>
                  <a:pt x="10484" y="1012"/>
                  <a:pt x="10486" y="1012"/>
                </a:cubicBezTo>
                <a:cubicBezTo>
                  <a:pt x="10486" y="1012"/>
                  <a:pt x="10536" y="1076"/>
                  <a:pt x="10595" y="1153"/>
                </a:cubicBezTo>
                <a:close/>
                <a:moveTo>
                  <a:pt x="7292" y="1109"/>
                </a:moveTo>
                <a:lnTo>
                  <a:pt x="7292" y="1109"/>
                </a:lnTo>
                <a:cubicBezTo>
                  <a:pt x="7503" y="1159"/>
                  <a:pt x="7678" y="1198"/>
                  <a:pt x="7678" y="1198"/>
                </a:cubicBezTo>
                <a:cubicBezTo>
                  <a:pt x="7678" y="1201"/>
                  <a:pt x="7650" y="1223"/>
                  <a:pt x="7617" y="1251"/>
                </a:cubicBezTo>
                <a:cubicBezTo>
                  <a:pt x="7583" y="1275"/>
                  <a:pt x="7553" y="1301"/>
                  <a:pt x="7550" y="1303"/>
                </a:cubicBezTo>
                <a:cubicBezTo>
                  <a:pt x="7542" y="1309"/>
                  <a:pt x="7542" y="1309"/>
                  <a:pt x="7542" y="1309"/>
                </a:cubicBezTo>
                <a:cubicBezTo>
                  <a:pt x="7375" y="1228"/>
                  <a:pt x="7375" y="1228"/>
                  <a:pt x="7375" y="1228"/>
                </a:cubicBezTo>
                <a:cubicBezTo>
                  <a:pt x="7206" y="1145"/>
                  <a:pt x="7206" y="1145"/>
                  <a:pt x="7206" y="1145"/>
                </a:cubicBezTo>
                <a:cubicBezTo>
                  <a:pt x="7104" y="1109"/>
                  <a:pt x="7104" y="1109"/>
                  <a:pt x="7104" y="1109"/>
                </a:cubicBezTo>
                <a:cubicBezTo>
                  <a:pt x="6970" y="1062"/>
                  <a:pt x="6857" y="1012"/>
                  <a:pt x="6895" y="1020"/>
                </a:cubicBezTo>
                <a:cubicBezTo>
                  <a:pt x="6904" y="1023"/>
                  <a:pt x="7081" y="1062"/>
                  <a:pt x="7292" y="1109"/>
                </a:cubicBezTo>
                <a:close/>
                <a:moveTo>
                  <a:pt x="3234" y="1034"/>
                </a:moveTo>
                <a:lnTo>
                  <a:pt x="3234" y="1034"/>
                </a:lnTo>
                <a:cubicBezTo>
                  <a:pt x="3212" y="1048"/>
                  <a:pt x="3148" y="1076"/>
                  <a:pt x="3145" y="1073"/>
                </a:cubicBezTo>
                <a:cubicBezTo>
                  <a:pt x="3145" y="1073"/>
                  <a:pt x="3154" y="1065"/>
                  <a:pt x="3165" y="1056"/>
                </a:cubicBezTo>
                <a:cubicBezTo>
                  <a:pt x="3184" y="1037"/>
                  <a:pt x="3184" y="1037"/>
                  <a:pt x="3184" y="1037"/>
                </a:cubicBezTo>
                <a:cubicBezTo>
                  <a:pt x="3212" y="1034"/>
                  <a:pt x="3212" y="1034"/>
                  <a:pt x="3212" y="1034"/>
                </a:cubicBezTo>
                <a:cubicBezTo>
                  <a:pt x="3251" y="1026"/>
                  <a:pt x="3254" y="1026"/>
                  <a:pt x="3234" y="1034"/>
                </a:cubicBezTo>
                <a:close/>
                <a:moveTo>
                  <a:pt x="5154" y="1090"/>
                </a:moveTo>
                <a:lnTo>
                  <a:pt x="5154" y="1090"/>
                </a:lnTo>
                <a:cubicBezTo>
                  <a:pt x="5228" y="1123"/>
                  <a:pt x="5289" y="1151"/>
                  <a:pt x="5289" y="1151"/>
                </a:cubicBezTo>
                <a:cubicBezTo>
                  <a:pt x="5287" y="1153"/>
                  <a:pt x="4823" y="1073"/>
                  <a:pt x="4821" y="1070"/>
                </a:cubicBezTo>
                <a:cubicBezTo>
                  <a:pt x="4821" y="1068"/>
                  <a:pt x="4826" y="1068"/>
                  <a:pt x="4932" y="1045"/>
                </a:cubicBezTo>
                <a:cubicBezTo>
                  <a:pt x="4970" y="1037"/>
                  <a:pt x="5007" y="1031"/>
                  <a:pt x="5009" y="1031"/>
                </a:cubicBezTo>
                <a:cubicBezTo>
                  <a:pt x="5015" y="1031"/>
                  <a:pt x="5079" y="1059"/>
                  <a:pt x="5154" y="1090"/>
                </a:cubicBezTo>
                <a:close/>
                <a:moveTo>
                  <a:pt x="10994" y="1056"/>
                </a:moveTo>
                <a:lnTo>
                  <a:pt x="10994" y="1056"/>
                </a:lnTo>
                <a:cubicBezTo>
                  <a:pt x="11027" y="1079"/>
                  <a:pt x="11030" y="1084"/>
                  <a:pt x="10997" y="1068"/>
                </a:cubicBezTo>
                <a:cubicBezTo>
                  <a:pt x="10977" y="1056"/>
                  <a:pt x="10964" y="1048"/>
                  <a:pt x="10961" y="1045"/>
                </a:cubicBezTo>
                <a:cubicBezTo>
                  <a:pt x="10952" y="1037"/>
                  <a:pt x="10975" y="1045"/>
                  <a:pt x="10994" y="1056"/>
                </a:cubicBezTo>
                <a:close/>
                <a:moveTo>
                  <a:pt x="4671" y="1070"/>
                </a:moveTo>
                <a:lnTo>
                  <a:pt x="4671" y="1070"/>
                </a:lnTo>
                <a:cubicBezTo>
                  <a:pt x="4671" y="1079"/>
                  <a:pt x="4652" y="1173"/>
                  <a:pt x="4649" y="1173"/>
                </a:cubicBezTo>
                <a:cubicBezTo>
                  <a:pt x="4646" y="1176"/>
                  <a:pt x="3717" y="1084"/>
                  <a:pt x="3692" y="1079"/>
                </a:cubicBezTo>
                <a:cubicBezTo>
                  <a:pt x="3681" y="1076"/>
                  <a:pt x="3692" y="1076"/>
                  <a:pt x="3742" y="1076"/>
                </a:cubicBezTo>
                <a:cubicBezTo>
                  <a:pt x="3778" y="1076"/>
                  <a:pt x="3950" y="1073"/>
                  <a:pt x="4119" y="1070"/>
                </a:cubicBezTo>
                <a:cubicBezTo>
                  <a:pt x="4566" y="1065"/>
                  <a:pt x="4671" y="1065"/>
                  <a:pt x="4671" y="1070"/>
                </a:cubicBezTo>
                <a:close/>
                <a:moveTo>
                  <a:pt x="5334" y="1092"/>
                </a:moveTo>
                <a:lnTo>
                  <a:pt x="5334" y="1092"/>
                </a:lnTo>
                <a:cubicBezTo>
                  <a:pt x="5409" y="1106"/>
                  <a:pt x="5473" y="1120"/>
                  <a:pt x="5473" y="1120"/>
                </a:cubicBezTo>
                <a:cubicBezTo>
                  <a:pt x="5475" y="1123"/>
                  <a:pt x="5436" y="1176"/>
                  <a:pt x="5436" y="1176"/>
                </a:cubicBezTo>
                <a:cubicBezTo>
                  <a:pt x="5434" y="1176"/>
                  <a:pt x="5190" y="1068"/>
                  <a:pt x="5187" y="1065"/>
                </a:cubicBezTo>
                <a:cubicBezTo>
                  <a:pt x="5184" y="1062"/>
                  <a:pt x="5203" y="1065"/>
                  <a:pt x="5334" y="1092"/>
                </a:cubicBezTo>
                <a:close/>
                <a:moveTo>
                  <a:pt x="3725" y="1120"/>
                </a:moveTo>
                <a:lnTo>
                  <a:pt x="3725" y="1120"/>
                </a:lnTo>
                <a:cubicBezTo>
                  <a:pt x="4083" y="1156"/>
                  <a:pt x="4083" y="1156"/>
                  <a:pt x="4083" y="1156"/>
                </a:cubicBezTo>
                <a:cubicBezTo>
                  <a:pt x="4061" y="1159"/>
                  <a:pt x="4061" y="1159"/>
                  <a:pt x="4061" y="1159"/>
                </a:cubicBezTo>
                <a:cubicBezTo>
                  <a:pt x="4047" y="1162"/>
                  <a:pt x="4036" y="1167"/>
                  <a:pt x="4033" y="1167"/>
                </a:cubicBezTo>
                <a:cubicBezTo>
                  <a:pt x="4033" y="1170"/>
                  <a:pt x="3975" y="1173"/>
                  <a:pt x="3905" y="1173"/>
                </a:cubicBezTo>
                <a:cubicBezTo>
                  <a:pt x="3778" y="1176"/>
                  <a:pt x="3778" y="1176"/>
                  <a:pt x="3778" y="1176"/>
                </a:cubicBezTo>
                <a:cubicBezTo>
                  <a:pt x="3564" y="1251"/>
                  <a:pt x="3564" y="1251"/>
                  <a:pt x="3564" y="1251"/>
                </a:cubicBezTo>
                <a:cubicBezTo>
                  <a:pt x="3351" y="1325"/>
                  <a:pt x="3351" y="1325"/>
                  <a:pt x="3351" y="1325"/>
                </a:cubicBezTo>
                <a:cubicBezTo>
                  <a:pt x="3165" y="1345"/>
                  <a:pt x="3165" y="1345"/>
                  <a:pt x="3165" y="1345"/>
                </a:cubicBezTo>
                <a:cubicBezTo>
                  <a:pt x="3062" y="1356"/>
                  <a:pt x="2976" y="1364"/>
                  <a:pt x="2976" y="1364"/>
                </a:cubicBezTo>
                <a:cubicBezTo>
                  <a:pt x="2976" y="1364"/>
                  <a:pt x="3057" y="1301"/>
                  <a:pt x="3157" y="1223"/>
                </a:cubicBezTo>
                <a:cubicBezTo>
                  <a:pt x="3334" y="1084"/>
                  <a:pt x="3334" y="1084"/>
                  <a:pt x="3334" y="1084"/>
                </a:cubicBezTo>
                <a:cubicBezTo>
                  <a:pt x="3351" y="1084"/>
                  <a:pt x="3351" y="1084"/>
                  <a:pt x="3351" y="1084"/>
                </a:cubicBezTo>
                <a:cubicBezTo>
                  <a:pt x="3362" y="1084"/>
                  <a:pt x="3528" y="1098"/>
                  <a:pt x="3725" y="1120"/>
                </a:cubicBezTo>
                <a:close/>
                <a:moveTo>
                  <a:pt x="10045" y="1170"/>
                </a:moveTo>
                <a:lnTo>
                  <a:pt x="10045" y="1170"/>
                </a:lnTo>
                <a:cubicBezTo>
                  <a:pt x="10123" y="1217"/>
                  <a:pt x="10184" y="1256"/>
                  <a:pt x="10184" y="1259"/>
                </a:cubicBezTo>
                <a:cubicBezTo>
                  <a:pt x="10184" y="1259"/>
                  <a:pt x="10120" y="1262"/>
                  <a:pt x="10037" y="1262"/>
                </a:cubicBezTo>
                <a:cubicBezTo>
                  <a:pt x="9957" y="1262"/>
                  <a:pt x="9762" y="1262"/>
                  <a:pt x="9607" y="1262"/>
                </a:cubicBezTo>
                <a:cubicBezTo>
                  <a:pt x="9450" y="1264"/>
                  <a:pt x="9325" y="1264"/>
                  <a:pt x="9325" y="1262"/>
                </a:cubicBezTo>
                <a:cubicBezTo>
                  <a:pt x="9328" y="1259"/>
                  <a:pt x="9890" y="1084"/>
                  <a:pt x="9898" y="1084"/>
                </a:cubicBezTo>
                <a:cubicBezTo>
                  <a:pt x="9904" y="1084"/>
                  <a:pt x="9970" y="1123"/>
                  <a:pt x="10045" y="1170"/>
                </a:cubicBezTo>
                <a:close/>
                <a:moveTo>
                  <a:pt x="8066" y="1176"/>
                </a:moveTo>
                <a:lnTo>
                  <a:pt x="8066" y="1176"/>
                </a:lnTo>
                <a:cubicBezTo>
                  <a:pt x="8224" y="1262"/>
                  <a:pt x="8255" y="1278"/>
                  <a:pt x="8235" y="1273"/>
                </a:cubicBezTo>
                <a:cubicBezTo>
                  <a:pt x="8232" y="1273"/>
                  <a:pt x="8127" y="1251"/>
                  <a:pt x="7999" y="1226"/>
                </a:cubicBezTo>
                <a:cubicBezTo>
                  <a:pt x="7875" y="1203"/>
                  <a:pt x="7772" y="1181"/>
                  <a:pt x="7772" y="1178"/>
                </a:cubicBezTo>
                <a:cubicBezTo>
                  <a:pt x="7769" y="1176"/>
                  <a:pt x="7891" y="1087"/>
                  <a:pt x="7897" y="1087"/>
                </a:cubicBezTo>
                <a:cubicBezTo>
                  <a:pt x="7900" y="1087"/>
                  <a:pt x="7974" y="1129"/>
                  <a:pt x="8066" y="1176"/>
                </a:cubicBezTo>
                <a:close/>
                <a:moveTo>
                  <a:pt x="5034" y="1145"/>
                </a:moveTo>
                <a:lnTo>
                  <a:pt x="5034" y="1145"/>
                </a:lnTo>
                <a:cubicBezTo>
                  <a:pt x="5137" y="1162"/>
                  <a:pt x="5217" y="1178"/>
                  <a:pt x="5217" y="1178"/>
                </a:cubicBezTo>
                <a:lnTo>
                  <a:pt x="4718" y="1178"/>
                </a:lnTo>
                <a:cubicBezTo>
                  <a:pt x="4715" y="1176"/>
                  <a:pt x="4724" y="1126"/>
                  <a:pt x="4729" y="1098"/>
                </a:cubicBezTo>
                <a:cubicBezTo>
                  <a:pt x="4732" y="1092"/>
                  <a:pt x="4732" y="1092"/>
                  <a:pt x="4732" y="1092"/>
                </a:cubicBezTo>
                <a:cubicBezTo>
                  <a:pt x="4790" y="1101"/>
                  <a:pt x="4790" y="1101"/>
                  <a:pt x="4790" y="1101"/>
                </a:cubicBezTo>
                <a:cubicBezTo>
                  <a:pt x="4821" y="1106"/>
                  <a:pt x="4932" y="1126"/>
                  <a:pt x="5034" y="1145"/>
                </a:cubicBezTo>
                <a:close/>
                <a:moveTo>
                  <a:pt x="5600" y="1104"/>
                </a:moveTo>
                <a:lnTo>
                  <a:pt x="5600" y="1104"/>
                </a:lnTo>
                <a:cubicBezTo>
                  <a:pt x="5595" y="1106"/>
                  <a:pt x="5589" y="1109"/>
                  <a:pt x="5589" y="1109"/>
                </a:cubicBezTo>
                <a:cubicBezTo>
                  <a:pt x="5586" y="1109"/>
                  <a:pt x="5589" y="1106"/>
                  <a:pt x="5592" y="1104"/>
                </a:cubicBezTo>
                <a:cubicBezTo>
                  <a:pt x="5606" y="1095"/>
                  <a:pt x="5608" y="1095"/>
                  <a:pt x="5600" y="1104"/>
                </a:cubicBezTo>
                <a:close/>
                <a:moveTo>
                  <a:pt x="5542" y="1134"/>
                </a:moveTo>
                <a:lnTo>
                  <a:pt x="5542" y="1134"/>
                </a:lnTo>
                <a:cubicBezTo>
                  <a:pt x="5550" y="1137"/>
                  <a:pt x="5556" y="1140"/>
                  <a:pt x="5556" y="1142"/>
                </a:cubicBezTo>
                <a:cubicBezTo>
                  <a:pt x="5556" y="1142"/>
                  <a:pt x="5553" y="1148"/>
                  <a:pt x="5547" y="1153"/>
                </a:cubicBezTo>
                <a:cubicBezTo>
                  <a:pt x="5542" y="1159"/>
                  <a:pt x="5534" y="1176"/>
                  <a:pt x="5528" y="1192"/>
                </a:cubicBezTo>
                <a:cubicBezTo>
                  <a:pt x="5522" y="1209"/>
                  <a:pt x="5517" y="1223"/>
                  <a:pt x="5514" y="1226"/>
                </a:cubicBezTo>
                <a:cubicBezTo>
                  <a:pt x="5514" y="1226"/>
                  <a:pt x="5503" y="1226"/>
                  <a:pt x="5492" y="1223"/>
                </a:cubicBezTo>
                <a:cubicBezTo>
                  <a:pt x="5461" y="1217"/>
                  <a:pt x="5456" y="1217"/>
                  <a:pt x="5456" y="1212"/>
                </a:cubicBezTo>
                <a:cubicBezTo>
                  <a:pt x="5456" y="1209"/>
                  <a:pt x="5470" y="1190"/>
                  <a:pt x="5484" y="1170"/>
                </a:cubicBezTo>
                <a:cubicBezTo>
                  <a:pt x="5514" y="1129"/>
                  <a:pt x="5517" y="1129"/>
                  <a:pt x="5542" y="1134"/>
                </a:cubicBezTo>
                <a:close/>
                <a:moveTo>
                  <a:pt x="3187" y="1137"/>
                </a:moveTo>
                <a:lnTo>
                  <a:pt x="3187" y="1137"/>
                </a:lnTo>
                <a:cubicBezTo>
                  <a:pt x="3184" y="1140"/>
                  <a:pt x="3157" y="1159"/>
                  <a:pt x="3126" y="1178"/>
                </a:cubicBezTo>
                <a:cubicBezTo>
                  <a:pt x="3068" y="1215"/>
                  <a:pt x="3068" y="1215"/>
                  <a:pt x="3068" y="1215"/>
                </a:cubicBezTo>
                <a:cubicBezTo>
                  <a:pt x="2937" y="1273"/>
                  <a:pt x="2937" y="1273"/>
                  <a:pt x="2937" y="1273"/>
                </a:cubicBezTo>
                <a:cubicBezTo>
                  <a:pt x="2862" y="1303"/>
                  <a:pt x="2801" y="1331"/>
                  <a:pt x="2796" y="1331"/>
                </a:cubicBezTo>
                <a:cubicBezTo>
                  <a:pt x="2790" y="1334"/>
                  <a:pt x="2876" y="1289"/>
                  <a:pt x="2985" y="1234"/>
                </a:cubicBezTo>
                <a:cubicBezTo>
                  <a:pt x="3095" y="1181"/>
                  <a:pt x="3184" y="1134"/>
                  <a:pt x="3187" y="1134"/>
                </a:cubicBezTo>
                <a:cubicBezTo>
                  <a:pt x="3190" y="1134"/>
                  <a:pt x="3190" y="1137"/>
                  <a:pt x="3187" y="1137"/>
                </a:cubicBezTo>
                <a:close/>
                <a:moveTo>
                  <a:pt x="3059" y="1156"/>
                </a:moveTo>
                <a:lnTo>
                  <a:pt x="3059" y="1156"/>
                </a:lnTo>
                <a:cubicBezTo>
                  <a:pt x="3040" y="1170"/>
                  <a:pt x="2607" y="1384"/>
                  <a:pt x="2596" y="1386"/>
                </a:cubicBezTo>
                <a:cubicBezTo>
                  <a:pt x="2593" y="1389"/>
                  <a:pt x="2624" y="1370"/>
                  <a:pt x="2668" y="1342"/>
                </a:cubicBezTo>
                <a:cubicBezTo>
                  <a:pt x="2752" y="1292"/>
                  <a:pt x="2752" y="1292"/>
                  <a:pt x="2752" y="1292"/>
                </a:cubicBezTo>
                <a:cubicBezTo>
                  <a:pt x="2907" y="1220"/>
                  <a:pt x="2907" y="1220"/>
                  <a:pt x="2907" y="1220"/>
                </a:cubicBezTo>
                <a:cubicBezTo>
                  <a:pt x="2996" y="1181"/>
                  <a:pt x="3068" y="1151"/>
                  <a:pt x="3068" y="1151"/>
                </a:cubicBezTo>
                <a:cubicBezTo>
                  <a:pt x="3071" y="1151"/>
                  <a:pt x="3068" y="1153"/>
                  <a:pt x="3059" y="1156"/>
                </a:cubicBezTo>
                <a:close/>
                <a:moveTo>
                  <a:pt x="5686" y="1212"/>
                </a:moveTo>
                <a:lnTo>
                  <a:pt x="5686" y="1212"/>
                </a:lnTo>
                <a:cubicBezTo>
                  <a:pt x="5814" y="1292"/>
                  <a:pt x="5814" y="1295"/>
                  <a:pt x="5681" y="1220"/>
                </a:cubicBezTo>
                <a:cubicBezTo>
                  <a:pt x="5636" y="1195"/>
                  <a:pt x="5597" y="1173"/>
                  <a:pt x="5595" y="1170"/>
                </a:cubicBezTo>
                <a:cubicBezTo>
                  <a:pt x="5586" y="1165"/>
                  <a:pt x="5586" y="1165"/>
                  <a:pt x="5586" y="1165"/>
                </a:cubicBezTo>
                <a:cubicBezTo>
                  <a:pt x="5589" y="1159"/>
                  <a:pt x="5589" y="1159"/>
                  <a:pt x="5589" y="1159"/>
                </a:cubicBezTo>
                <a:cubicBezTo>
                  <a:pt x="5592" y="1156"/>
                  <a:pt x="5595" y="1153"/>
                  <a:pt x="5595" y="1153"/>
                </a:cubicBezTo>
                <a:cubicBezTo>
                  <a:pt x="5595" y="1153"/>
                  <a:pt x="5636" y="1178"/>
                  <a:pt x="5686" y="1212"/>
                </a:cubicBezTo>
                <a:close/>
                <a:moveTo>
                  <a:pt x="7198" y="1212"/>
                </a:moveTo>
                <a:lnTo>
                  <a:pt x="7198" y="1212"/>
                </a:lnTo>
                <a:cubicBezTo>
                  <a:pt x="7201" y="1226"/>
                  <a:pt x="7226" y="1298"/>
                  <a:pt x="7248" y="1373"/>
                </a:cubicBezTo>
                <a:cubicBezTo>
                  <a:pt x="7270" y="1445"/>
                  <a:pt x="7289" y="1506"/>
                  <a:pt x="7289" y="1508"/>
                </a:cubicBezTo>
                <a:cubicBezTo>
                  <a:pt x="7287" y="1508"/>
                  <a:pt x="6610" y="1431"/>
                  <a:pt x="6588" y="1428"/>
                </a:cubicBezTo>
                <a:cubicBezTo>
                  <a:pt x="6574" y="1425"/>
                  <a:pt x="6574" y="1425"/>
                  <a:pt x="6574" y="1425"/>
                </a:cubicBezTo>
                <a:cubicBezTo>
                  <a:pt x="6624" y="1406"/>
                  <a:pt x="6624" y="1406"/>
                  <a:pt x="6624" y="1406"/>
                </a:cubicBezTo>
                <a:cubicBezTo>
                  <a:pt x="6651" y="1395"/>
                  <a:pt x="6790" y="1342"/>
                  <a:pt x="6929" y="1287"/>
                </a:cubicBezTo>
                <a:cubicBezTo>
                  <a:pt x="7070" y="1231"/>
                  <a:pt x="7187" y="1187"/>
                  <a:pt x="7187" y="1187"/>
                </a:cubicBezTo>
                <a:cubicBezTo>
                  <a:pt x="7189" y="1187"/>
                  <a:pt x="7192" y="1198"/>
                  <a:pt x="7198" y="1212"/>
                </a:cubicBezTo>
                <a:close/>
                <a:moveTo>
                  <a:pt x="5891" y="1381"/>
                </a:moveTo>
                <a:lnTo>
                  <a:pt x="5891" y="1381"/>
                </a:lnTo>
                <a:cubicBezTo>
                  <a:pt x="6066" y="1478"/>
                  <a:pt x="6208" y="1561"/>
                  <a:pt x="6205" y="1561"/>
                </a:cubicBezTo>
                <a:cubicBezTo>
                  <a:pt x="6202" y="1561"/>
                  <a:pt x="6110" y="1528"/>
                  <a:pt x="6002" y="1486"/>
                </a:cubicBezTo>
                <a:cubicBezTo>
                  <a:pt x="5805" y="1414"/>
                  <a:pt x="5805" y="1414"/>
                  <a:pt x="5805" y="1414"/>
                </a:cubicBezTo>
                <a:cubicBezTo>
                  <a:pt x="5661" y="1375"/>
                  <a:pt x="5661" y="1375"/>
                  <a:pt x="5661" y="1375"/>
                </a:cubicBezTo>
                <a:cubicBezTo>
                  <a:pt x="5581" y="1353"/>
                  <a:pt x="5517" y="1334"/>
                  <a:pt x="5517" y="1334"/>
                </a:cubicBezTo>
                <a:cubicBezTo>
                  <a:pt x="5514" y="1331"/>
                  <a:pt x="5553" y="1228"/>
                  <a:pt x="5561" y="1203"/>
                </a:cubicBezTo>
                <a:cubicBezTo>
                  <a:pt x="5564" y="1201"/>
                  <a:pt x="5567" y="1198"/>
                  <a:pt x="5570" y="1198"/>
                </a:cubicBezTo>
                <a:cubicBezTo>
                  <a:pt x="5575" y="1201"/>
                  <a:pt x="5719" y="1281"/>
                  <a:pt x="5891" y="1381"/>
                </a:cubicBezTo>
                <a:close/>
                <a:moveTo>
                  <a:pt x="7373" y="1267"/>
                </a:moveTo>
                <a:lnTo>
                  <a:pt x="7373" y="1267"/>
                </a:lnTo>
                <a:cubicBezTo>
                  <a:pt x="7447" y="1303"/>
                  <a:pt x="7508" y="1334"/>
                  <a:pt x="7508" y="1334"/>
                </a:cubicBezTo>
                <a:cubicBezTo>
                  <a:pt x="7508" y="1339"/>
                  <a:pt x="7328" y="1497"/>
                  <a:pt x="7325" y="1495"/>
                </a:cubicBezTo>
                <a:cubicBezTo>
                  <a:pt x="7323" y="1495"/>
                  <a:pt x="7231" y="1203"/>
                  <a:pt x="7231" y="1201"/>
                </a:cubicBezTo>
                <a:cubicBezTo>
                  <a:pt x="7231" y="1198"/>
                  <a:pt x="7234" y="1198"/>
                  <a:pt x="7234" y="1198"/>
                </a:cubicBezTo>
                <a:cubicBezTo>
                  <a:pt x="7237" y="1201"/>
                  <a:pt x="7298" y="1228"/>
                  <a:pt x="7373" y="1267"/>
                </a:cubicBezTo>
                <a:close/>
                <a:moveTo>
                  <a:pt x="3994" y="1217"/>
                </a:moveTo>
                <a:lnTo>
                  <a:pt x="3994" y="1217"/>
                </a:lnTo>
                <a:cubicBezTo>
                  <a:pt x="3997" y="1217"/>
                  <a:pt x="4000" y="1234"/>
                  <a:pt x="4000" y="1256"/>
                </a:cubicBezTo>
                <a:cubicBezTo>
                  <a:pt x="4002" y="1275"/>
                  <a:pt x="4002" y="1303"/>
                  <a:pt x="4005" y="1317"/>
                </a:cubicBezTo>
                <a:cubicBezTo>
                  <a:pt x="4008" y="1342"/>
                  <a:pt x="4008" y="1342"/>
                  <a:pt x="4008" y="1342"/>
                </a:cubicBezTo>
                <a:cubicBezTo>
                  <a:pt x="4002" y="1339"/>
                  <a:pt x="4002" y="1339"/>
                  <a:pt x="4002" y="1339"/>
                </a:cubicBezTo>
                <a:cubicBezTo>
                  <a:pt x="3997" y="1339"/>
                  <a:pt x="3853" y="1226"/>
                  <a:pt x="3842" y="1215"/>
                </a:cubicBezTo>
                <a:cubicBezTo>
                  <a:pt x="3839" y="1212"/>
                  <a:pt x="3983" y="1215"/>
                  <a:pt x="3994" y="1217"/>
                </a:cubicBezTo>
                <a:close/>
                <a:moveTo>
                  <a:pt x="4327" y="1215"/>
                </a:moveTo>
                <a:lnTo>
                  <a:pt x="4327" y="1215"/>
                </a:lnTo>
                <a:cubicBezTo>
                  <a:pt x="4324" y="1217"/>
                  <a:pt x="4050" y="1245"/>
                  <a:pt x="4050" y="1245"/>
                </a:cubicBezTo>
                <a:cubicBezTo>
                  <a:pt x="4047" y="1242"/>
                  <a:pt x="4050" y="1237"/>
                  <a:pt x="4052" y="1228"/>
                </a:cubicBezTo>
                <a:cubicBezTo>
                  <a:pt x="4058" y="1217"/>
                  <a:pt x="4058" y="1217"/>
                  <a:pt x="4058" y="1217"/>
                </a:cubicBezTo>
                <a:cubicBezTo>
                  <a:pt x="4130" y="1215"/>
                  <a:pt x="4130" y="1215"/>
                  <a:pt x="4130" y="1215"/>
                </a:cubicBezTo>
                <a:cubicBezTo>
                  <a:pt x="4288" y="1212"/>
                  <a:pt x="4330" y="1212"/>
                  <a:pt x="4327" y="1215"/>
                </a:cubicBezTo>
                <a:close/>
                <a:moveTo>
                  <a:pt x="3889" y="1298"/>
                </a:moveTo>
                <a:lnTo>
                  <a:pt x="3889" y="1298"/>
                </a:lnTo>
                <a:cubicBezTo>
                  <a:pt x="3944" y="1342"/>
                  <a:pt x="3991" y="1381"/>
                  <a:pt x="3989" y="1384"/>
                </a:cubicBezTo>
                <a:cubicBezTo>
                  <a:pt x="3989" y="1384"/>
                  <a:pt x="3869" y="1423"/>
                  <a:pt x="3725" y="1470"/>
                </a:cubicBezTo>
                <a:cubicBezTo>
                  <a:pt x="3462" y="1556"/>
                  <a:pt x="3462" y="1556"/>
                  <a:pt x="3462" y="1556"/>
                </a:cubicBezTo>
                <a:cubicBezTo>
                  <a:pt x="3256" y="1581"/>
                  <a:pt x="3256" y="1581"/>
                  <a:pt x="3256" y="1581"/>
                </a:cubicBezTo>
                <a:cubicBezTo>
                  <a:pt x="3143" y="1594"/>
                  <a:pt x="3043" y="1606"/>
                  <a:pt x="3034" y="1606"/>
                </a:cubicBezTo>
                <a:cubicBezTo>
                  <a:pt x="3026" y="1608"/>
                  <a:pt x="3023" y="1608"/>
                  <a:pt x="3023" y="1606"/>
                </a:cubicBezTo>
                <a:cubicBezTo>
                  <a:pt x="3029" y="1600"/>
                  <a:pt x="3778" y="1217"/>
                  <a:pt x="3783" y="1217"/>
                </a:cubicBezTo>
                <a:cubicBezTo>
                  <a:pt x="3783" y="1217"/>
                  <a:pt x="3833" y="1253"/>
                  <a:pt x="3889" y="1298"/>
                </a:cubicBezTo>
                <a:close/>
                <a:moveTo>
                  <a:pt x="4643" y="1275"/>
                </a:moveTo>
                <a:lnTo>
                  <a:pt x="4643" y="1275"/>
                </a:lnTo>
                <a:cubicBezTo>
                  <a:pt x="4643" y="1306"/>
                  <a:pt x="4640" y="1342"/>
                  <a:pt x="4640" y="1350"/>
                </a:cubicBezTo>
                <a:cubicBezTo>
                  <a:pt x="4638" y="1370"/>
                  <a:pt x="4638" y="1370"/>
                  <a:pt x="4638" y="1370"/>
                </a:cubicBezTo>
                <a:cubicBezTo>
                  <a:pt x="4596" y="1301"/>
                  <a:pt x="4596" y="1301"/>
                  <a:pt x="4596" y="1301"/>
                </a:cubicBezTo>
                <a:cubicBezTo>
                  <a:pt x="4577" y="1262"/>
                  <a:pt x="4557" y="1228"/>
                  <a:pt x="4557" y="1228"/>
                </a:cubicBezTo>
                <a:cubicBezTo>
                  <a:pt x="4557" y="1226"/>
                  <a:pt x="4604" y="1217"/>
                  <a:pt x="4635" y="1217"/>
                </a:cubicBezTo>
                <a:cubicBezTo>
                  <a:pt x="4646" y="1217"/>
                  <a:pt x="4646" y="1217"/>
                  <a:pt x="4646" y="1217"/>
                </a:cubicBezTo>
                <a:cubicBezTo>
                  <a:pt x="4643" y="1275"/>
                  <a:pt x="4643" y="1275"/>
                  <a:pt x="4643" y="1275"/>
                </a:cubicBezTo>
                <a:close/>
                <a:moveTo>
                  <a:pt x="5292" y="1217"/>
                </a:moveTo>
                <a:lnTo>
                  <a:pt x="5292" y="1217"/>
                </a:lnTo>
                <a:cubicBezTo>
                  <a:pt x="5292" y="1220"/>
                  <a:pt x="5262" y="1228"/>
                  <a:pt x="5228" y="1237"/>
                </a:cubicBezTo>
                <a:cubicBezTo>
                  <a:pt x="5167" y="1253"/>
                  <a:pt x="5167" y="1253"/>
                  <a:pt x="5167" y="1253"/>
                </a:cubicBezTo>
                <a:cubicBezTo>
                  <a:pt x="5062" y="1237"/>
                  <a:pt x="5062" y="1237"/>
                  <a:pt x="5062" y="1237"/>
                </a:cubicBezTo>
                <a:cubicBezTo>
                  <a:pt x="5004" y="1228"/>
                  <a:pt x="4954" y="1220"/>
                  <a:pt x="4951" y="1217"/>
                </a:cubicBezTo>
                <a:cubicBezTo>
                  <a:pt x="4948" y="1217"/>
                  <a:pt x="5026" y="1217"/>
                  <a:pt x="5120" y="1217"/>
                </a:cubicBezTo>
                <a:cubicBezTo>
                  <a:pt x="5217" y="1217"/>
                  <a:pt x="5295" y="1217"/>
                  <a:pt x="5292" y="1217"/>
                </a:cubicBezTo>
                <a:close/>
                <a:moveTo>
                  <a:pt x="7850" y="1386"/>
                </a:moveTo>
                <a:lnTo>
                  <a:pt x="7850" y="1386"/>
                </a:lnTo>
                <a:cubicBezTo>
                  <a:pt x="7919" y="1478"/>
                  <a:pt x="7974" y="1550"/>
                  <a:pt x="7972" y="1553"/>
                </a:cubicBezTo>
                <a:cubicBezTo>
                  <a:pt x="7972" y="1553"/>
                  <a:pt x="7578" y="1328"/>
                  <a:pt x="7581" y="1325"/>
                </a:cubicBezTo>
                <a:cubicBezTo>
                  <a:pt x="7581" y="1325"/>
                  <a:pt x="7611" y="1301"/>
                  <a:pt x="7650" y="1270"/>
                </a:cubicBezTo>
                <a:cubicBezTo>
                  <a:pt x="7697" y="1231"/>
                  <a:pt x="7719" y="1217"/>
                  <a:pt x="7722" y="1220"/>
                </a:cubicBezTo>
                <a:cubicBezTo>
                  <a:pt x="7722" y="1223"/>
                  <a:pt x="7780" y="1298"/>
                  <a:pt x="7850" y="1386"/>
                </a:cubicBezTo>
                <a:close/>
                <a:moveTo>
                  <a:pt x="8044" y="1270"/>
                </a:moveTo>
                <a:lnTo>
                  <a:pt x="8044" y="1270"/>
                </a:lnTo>
                <a:cubicBezTo>
                  <a:pt x="8343" y="1331"/>
                  <a:pt x="8324" y="1325"/>
                  <a:pt x="8321" y="1331"/>
                </a:cubicBezTo>
                <a:cubicBezTo>
                  <a:pt x="8318" y="1337"/>
                  <a:pt x="8052" y="1586"/>
                  <a:pt x="8047" y="1583"/>
                </a:cubicBezTo>
                <a:cubicBezTo>
                  <a:pt x="8044" y="1583"/>
                  <a:pt x="7769" y="1223"/>
                  <a:pt x="7766" y="1217"/>
                </a:cubicBezTo>
                <a:cubicBezTo>
                  <a:pt x="7766" y="1217"/>
                  <a:pt x="7769" y="1217"/>
                  <a:pt x="7775" y="1217"/>
                </a:cubicBezTo>
                <a:cubicBezTo>
                  <a:pt x="7777" y="1217"/>
                  <a:pt x="7900" y="1242"/>
                  <a:pt x="8044" y="1270"/>
                </a:cubicBezTo>
                <a:close/>
                <a:moveTo>
                  <a:pt x="11238" y="1242"/>
                </a:moveTo>
                <a:lnTo>
                  <a:pt x="11238" y="1242"/>
                </a:lnTo>
                <a:cubicBezTo>
                  <a:pt x="11241" y="1245"/>
                  <a:pt x="11238" y="1245"/>
                  <a:pt x="11233" y="1242"/>
                </a:cubicBezTo>
                <a:cubicBezTo>
                  <a:pt x="11224" y="1242"/>
                  <a:pt x="11191" y="1220"/>
                  <a:pt x="11191" y="1217"/>
                </a:cubicBezTo>
                <a:cubicBezTo>
                  <a:pt x="11191" y="1215"/>
                  <a:pt x="11233" y="1237"/>
                  <a:pt x="11238" y="1242"/>
                </a:cubicBezTo>
                <a:close/>
                <a:moveTo>
                  <a:pt x="5414" y="1226"/>
                </a:moveTo>
                <a:lnTo>
                  <a:pt x="5414" y="1226"/>
                </a:lnTo>
                <a:cubicBezTo>
                  <a:pt x="5414" y="1228"/>
                  <a:pt x="5398" y="1298"/>
                  <a:pt x="5395" y="1301"/>
                </a:cubicBezTo>
                <a:cubicBezTo>
                  <a:pt x="5395" y="1301"/>
                  <a:pt x="5256" y="1273"/>
                  <a:pt x="5253" y="1270"/>
                </a:cubicBezTo>
                <a:cubicBezTo>
                  <a:pt x="5251" y="1267"/>
                  <a:pt x="5253" y="1267"/>
                  <a:pt x="5331" y="1245"/>
                </a:cubicBezTo>
                <a:cubicBezTo>
                  <a:pt x="5420" y="1220"/>
                  <a:pt x="5414" y="1223"/>
                  <a:pt x="5414" y="1226"/>
                </a:cubicBezTo>
                <a:close/>
                <a:moveTo>
                  <a:pt x="4746" y="1237"/>
                </a:moveTo>
                <a:lnTo>
                  <a:pt x="4746" y="1237"/>
                </a:lnTo>
                <a:cubicBezTo>
                  <a:pt x="4782" y="1248"/>
                  <a:pt x="4782" y="1248"/>
                  <a:pt x="4782" y="1248"/>
                </a:cubicBezTo>
                <a:cubicBezTo>
                  <a:pt x="4779" y="1298"/>
                  <a:pt x="4779" y="1298"/>
                  <a:pt x="4779" y="1298"/>
                </a:cubicBezTo>
                <a:cubicBezTo>
                  <a:pt x="4779" y="1325"/>
                  <a:pt x="4779" y="1348"/>
                  <a:pt x="4776" y="1350"/>
                </a:cubicBezTo>
                <a:cubicBezTo>
                  <a:pt x="4776" y="1353"/>
                  <a:pt x="4713" y="1248"/>
                  <a:pt x="4707" y="1231"/>
                </a:cubicBezTo>
                <a:cubicBezTo>
                  <a:pt x="4704" y="1226"/>
                  <a:pt x="4704" y="1226"/>
                  <a:pt x="4746" y="1237"/>
                </a:cubicBezTo>
                <a:close/>
                <a:moveTo>
                  <a:pt x="4574" y="1331"/>
                </a:moveTo>
                <a:lnTo>
                  <a:pt x="4574" y="1331"/>
                </a:lnTo>
                <a:cubicBezTo>
                  <a:pt x="4596" y="1373"/>
                  <a:pt x="4615" y="1406"/>
                  <a:pt x="4615" y="1406"/>
                </a:cubicBezTo>
                <a:cubicBezTo>
                  <a:pt x="4615" y="1409"/>
                  <a:pt x="4521" y="1384"/>
                  <a:pt x="4518" y="1381"/>
                </a:cubicBezTo>
                <a:cubicBezTo>
                  <a:pt x="4516" y="1378"/>
                  <a:pt x="4518" y="1259"/>
                  <a:pt x="4524" y="1251"/>
                </a:cubicBezTo>
                <a:cubicBezTo>
                  <a:pt x="4527" y="1248"/>
                  <a:pt x="4527" y="1251"/>
                  <a:pt x="4574" y="1331"/>
                </a:cubicBezTo>
                <a:close/>
                <a:moveTo>
                  <a:pt x="4729" y="1345"/>
                </a:moveTo>
                <a:lnTo>
                  <a:pt x="4729" y="1345"/>
                </a:lnTo>
                <a:cubicBezTo>
                  <a:pt x="4754" y="1386"/>
                  <a:pt x="4771" y="1420"/>
                  <a:pt x="4771" y="1420"/>
                </a:cubicBezTo>
                <a:cubicBezTo>
                  <a:pt x="4771" y="1423"/>
                  <a:pt x="4746" y="1423"/>
                  <a:pt x="4707" y="1420"/>
                </a:cubicBezTo>
                <a:cubicBezTo>
                  <a:pt x="4674" y="1417"/>
                  <a:pt x="4674" y="1417"/>
                  <a:pt x="4674" y="1417"/>
                </a:cubicBezTo>
                <a:cubicBezTo>
                  <a:pt x="4674" y="1375"/>
                  <a:pt x="4674" y="1375"/>
                  <a:pt x="4674" y="1375"/>
                </a:cubicBezTo>
                <a:cubicBezTo>
                  <a:pt x="4677" y="1295"/>
                  <a:pt x="4679" y="1264"/>
                  <a:pt x="4685" y="1267"/>
                </a:cubicBezTo>
                <a:cubicBezTo>
                  <a:pt x="4685" y="1267"/>
                  <a:pt x="4707" y="1303"/>
                  <a:pt x="4729" y="1345"/>
                </a:cubicBezTo>
                <a:close/>
                <a:moveTo>
                  <a:pt x="4890" y="1270"/>
                </a:moveTo>
                <a:lnTo>
                  <a:pt x="4890" y="1270"/>
                </a:lnTo>
                <a:cubicBezTo>
                  <a:pt x="4893" y="1273"/>
                  <a:pt x="4885" y="1320"/>
                  <a:pt x="4879" y="1331"/>
                </a:cubicBezTo>
                <a:cubicBezTo>
                  <a:pt x="4876" y="1339"/>
                  <a:pt x="4876" y="1339"/>
                  <a:pt x="4876" y="1339"/>
                </a:cubicBezTo>
                <a:cubicBezTo>
                  <a:pt x="4854" y="1303"/>
                  <a:pt x="4854" y="1303"/>
                  <a:pt x="4854" y="1303"/>
                </a:cubicBezTo>
                <a:cubicBezTo>
                  <a:pt x="4837" y="1278"/>
                  <a:pt x="4832" y="1270"/>
                  <a:pt x="4837" y="1267"/>
                </a:cubicBezTo>
                <a:cubicBezTo>
                  <a:pt x="4840" y="1264"/>
                  <a:pt x="4885" y="1264"/>
                  <a:pt x="4890" y="1270"/>
                </a:cubicBezTo>
                <a:close/>
                <a:moveTo>
                  <a:pt x="4371" y="1275"/>
                </a:moveTo>
                <a:lnTo>
                  <a:pt x="4371" y="1275"/>
                </a:lnTo>
                <a:cubicBezTo>
                  <a:pt x="4363" y="1281"/>
                  <a:pt x="4147" y="1353"/>
                  <a:pt x="4144" y="1348"/>
                </a:cubicBezTo>
                <a:cubicBezTo>
                  <a:pt x="4141" y="1345"/>
                  <a:pt x="4149" y="1306"/>
                  <a:pt x="4155" y="1303"/>
                </a:cubicBezTo>
                <a:cubicBezTo>
                  <a:pt x="4158" y="1303"/>
                  <a:pt x="4369" y="1273"/>
                  <a:pt x="4371" y="1273"/>
                </a:cubicBezTo>
                <a:cubicBezTo>
                  <a:pt x="4374" y="1273"/>
                  <a:pt x="4371" y="1273"/>
                  <a:pt x="4371" y="1275"/>
                </a:cubicBezTo>
                <a:close/>
                <a:moveTo>
                  <a:pt x="4111" y="1289"/>
                </a:moveTo>
                <a:lnTo>
                  <a:pt x="4111" y="1289"/>
                </a:lnTo>
                <a:cubicBezTo>
                  <a:pt x="4111" y="1303"/>
                  <a:pt x="4108" y="1303"/>
                  <a:pt x="4097" y="1289"/>
                </a:cubicBezTo>
                <a:cubicBezTo>
                  <a:pt x="4088" y="1278"/>
                  <a:pt x="4088" y="1275"/>
                  <a:pt x="4102" y="1275"/>
                </a:cubicBezTo>
                <a:cubicBezTo>
                  <a:pt x="4111" y="1275"/>
                  <a:pt x="4111" y="1275"/>
                  <a:pt x="4111" y="1275"/>
                </a:cubicBezTo>
                <a:cubicBezTo>
                  <a:pt x="4111" y="1289"/>
                  <a:pt x="4111" y="1289"/>
                  <a:pt x="4111" y="1289"/>
                </a:cubicBezTo>
                <a:close/>
                <a:moveTo>
                  <a:pt x="5104" y="1301"/>
                </a:moveTo>
                <a:lnTo>
                  <a:pt x="5104" y="1301"/>
                </a:lnTo>
                <a:cubicBezTo>
                  <a:pt x="5184" y="1314"/>
                  <a:pt x="5253" y="1323"/>
                  <a:pt x="5256" y="1325"/>
                </a:cubicBezTo>
                <a:cubicBezTo>
                  <a:pt x="5259" y="1325"/>
                  <a:pt x="5259" y="1334"/>
                  <a:pt x="5259" y="1348"/>
                </a:cubicBezTo>
                <a:cubicBezTo>
                  <a:pt x="5259" y="1367"/>
                  <a:pt x="5259" y="1367"/>
                  <a:pt x="5259" y="1367"/>
                </a:cubicBezTo>
                <a:cubicBezTo>
                  <a:pt x="5245" y="1375"/>
                  <a:pt x="5245" y="1375"/>
                  <a:pt x="5245" y="1375"/>
                </a:cubicBezTo>
                <a:cubicBezTo>
                  <a:pt x="5240" y="1378"/>
                  <a:pt x="5206" y="1392"/>
                  <a:pt x="5176" y="1406"/>
                </a:cubicBezTo>
                <a:cubicBezTo>
                  <a:pt x="5118" y="1431"/>
                  <a:pt x="5118" y="1431"/>
                  <a:pt x="5118" y="1431"/>
                </a:cubicBezTo>
                <a:cubicBezTo>
                  <a:pt x="5015" y="1406"/>
                  <a:pt x="5015" y="1406"/>
                  <a:pt x="5015" y="1406"/>
                </a:cubicBezTo>
                <a:cubicBezTo>
                  <a:pt x="4957" y="1392"/>
                  <a:pt x="4909" y="1381"/>
                  <a:pt x="4909" y="1381"/>
                </a:cubicBezTo>
                <a:cubicBezTo>
                  <a:pt x="4909" y="1378"/>
                  <a:pt x="4937" y="1284"/>
                  <a:pt x="4940" y="1278"/>
                </a:cubicBezTo>
                <a:cubicBezTo>
                  <a:pt x="4943" y="1275"/>
                  <a:pt x="4946" y="1275"/>
                  <a:pt x="4951" y="1278"/>
                </a:cubicBezTo>
                <a:cubicBezTo>
                  <a:pt x="4954" y="1278"/>
                  <a:pt x="5026" y="1289"/>
                  <a:pt x="5104" y="1301"/>
                </a:cubicBezTo>
                <a:close/>
                <a:moveTo>
                  <a:pt x="6368" y="1514"/>
                </a:moveTo>
                <a:lnTo>
                  <a:pt x="6368" y="1514"/>
                </a:lnTo>
                <a:cubicBezTo>
                  <a:pt x="6646" y="1647"/>
                  <a:pt x="6871" y="1755"/>
                  <a:pt x="6871" y="1755"/>
                </a:cubicBezTo>
                <a:cubicBezTo>
                  <a:pt x="6871" y="1755"/>
                  <a:pt x="6432" y="1644"/>
                  <a:pt x="6424" y="1642"/>
                </a:cubicBezTo>
                <a:cubicBezTo>
                  <a:pt x="6410" y="1633"/>
                  <a:pt x="5861" y="1281"/>
                  <a:pt x="5858" y="1278"/>
                </a:cubicBezTo>
                <a:cubicBezTo>
                  <a:pt x="5855" y="1275"/>
                  <a:pt x="5855" y="1275"/>
                  <a:pt x="5858" y="1275"/>
                </a:cubicBezTo>
                <a:cubicBezTo>
                  <a:pt x="5861" y="1275"/>
                  <a:pt x="6091" y="1384"/>
                  <a:pt x="6368" y="1514"/>
                </a:cubicBezTo>
                <a:close/>
                <a:moveTo>
                  <a:pt x="11651" y="1644"/>
                </a:moveTo>
                <a:lnTo>
                  <a:pt x="11651" y="1644"/>
                </a:lnTo>
                <a:cubicBezTo>
                  <a:pt x="11895" y="1847"/>
                  <a:pt x="12092" y="2013"/>
                  <a:pt x="12092" y="2013"/>
                </a:cubicBezTo>
                <a:cubicBezTo>
                  <a:pt x="12092" y="2013"/>
                  <a:pt x="12081" y="2008"/>
                  <a:pt x="12067" y="1997"/>
                </a:cubicBezTo>
                <a:cubicBezTo>
                  <a:pt x="12056" y="1988"/>
                  <a:pt x="11823" y="1825"/>
                  <a:pt x="11552" y="1633"/>
                </a:cubicBezTo>
                <a:cubicBezTo>
                  <a:pt x="11282" y="1442"/>
                  <a:pt x="11061" y="1284"/>
                  <a:pt x="11058" y="1284"/>
                </a:cubicBezTo>
                <a:cubicBezTo>
                  <a:pt x="11058" y="1281"/>
                  <a:pt x="11080" y="1278"/>
                  <a:pt x="11113" y="1278"/>
                </a:cubicBezTo>
                <a:cubicBezTo>
                  <a:pt x="11144" y="1278"/>
                  <a:pt x="11177" y="1275"/>
                  <a:pt x="11188" y="1275"/>
                </a:cubicBezTo>
                <a:cubicBezTo>
                  <a:pt x="11210" y="1275"/>
                  <a:pt x="11210" y="1275"/>
                  <a:pt x="11210" y="1275"/>
                </a:cubicBezTo>
                <a:cubicBezTo>
                  <a:pt x="11651" y="1644"/>
                  <a:pt x="11651" y="1644"/>
                  <a:pt x="11651" y="1644"/>
                </a:cubicBezTo>
                <a:close/>
                <a:moveTo>
                  <a:pt x="4466" y="1298"/>
                </a:moveTo>
                <a:lnTo>
                  <a:pt x="4466" y="1298"/>
                </a:lnTo>
                <a:cubicBezTo>
                  <a:pt x="4468" y="1309"/>
                  <a:pt x="4468" y="1328"/>
                  <a:pt x="4471" y="1345"/>
                </a:cubicBezTo>
                <a:cubicBezTo>
                  <a:pt x="4474" y="1375"/>
                  <a:pt x="4474" y="1375"/>
                  <a:pt x="4474" y="1375"/>
                </a:cubicBezTo>
                <a:cubicBezTo>
                  <a:pt x="4416" y="1375"/>
                  <a:pt x="4416" y="1375"/>
                  <a:pt x="4416" y="1375"/>
                </a:cubicBezTo>
                <a:cubicBezTo>
                  <a:pt x="4385" y="1375"/>
                  <a:pt x="4327" y="1373"/>
                  <a:pt x="4283" y="1373"/>
                </a:cubicBezTo>
                <a:cubicBezTo>
                  <a:pt x="4208" y="1370"/>
                  <a:pt x="4208" y="1370"/>
                  <a:pt x="4208" y="1370"/>
                </a:cubicBezTo>
                <a:cubicBezTo>
                  <a:pt x="4333" y="1325"/>
                  <a:pt x="4333" y="1325"/>
                  <a:pt x="4333" y="1325"/>
                </a:cubicBezTo>
                <a:cubicBezTo>
                  <a:pt x="4402" y="1303"/>
                  <a:pt x="4460" y="1284"/>
                  <a:pt x="4463" y="1284"/>
                </a:cubicBezTo>
                <a:cubicBezTo>
                  <a:pt x="4463" y="1284"/>
                  <a:pt x="4466" y="1289"/>
                  <a:pt x="4466" y="1298"/>
                </a:cubicBezTo>
                <a:close/>
                <a:moveTo>
                  <a:pt x="4069" y="1312"/>
                </a:moveTo>
                <a:lnTo>
                  <a:pt x="4069" y="1312"/>
                </a:lnTo>
                <a:cubicBezTo>
                  <a:pt x="4080" y="1325"/>
                  <a:pt x="4086" y="1337"/>
                  <a:pt x="4086" y="1339"/>
                </a:cubicBezTo>
                <a:cubicBezTo>
                  <a:pt x="4086" y="1339"/>
                  <a:pt x="4077" y="1342"/>
                  <a:pt x="4066" y="1345"/>
                </a:cubicBezTo>
                <a:cubicBezTo>
                  <a:pt x="4055" y="1345"/>
                  <a:pt x="4050" y="1345"/>
                  <a:pt x="4047" y="1342"/>
                </a:cubicBezTo>
                <a:cubicBezTo>
                  <a:pt x="4044" y="1334"/>
                  <a:pt x="4041" y="1287"/>
                  <a:pt x="4047" y="1287"/>
                </a:cubicBezTo>
                <a:cubicBezTo>
                  <a:pt x="4047" y="1287"/>
                  <a:pt x="4058" y="1298"/>
                  <a:pt x="4069" y="1312"/>
                </a:cubicBezTo>
                <a:close/>
                <a:moveTo>
                  <a:pt x="11618" y="2138"/>
                </a:moveTo>
                <a:lnTo>
                  <a:pt x="11618" y="2138"/>
                </a:lnTo>
                <a:cubicBezTo>
                  <a:pt x="11962" y="2604"/>
                  <a:pt x="12248" y="2992"/>
                  <a:pt x="12251" y="2998"/>
                </a:cubicBezTo>
                <a:cubicBezTo>
                  <a:pt x="12256" y="3006"/>
                  <a:pt x="12259" y="3009"/>
                  <a:pt x="12256" y="3009"/>
                </a:cubicBezTo>
                <a:cubicBezTo>
                  <a:pt x="12251" y="3006"/>
                  <a:pt x="10456" y="1398"/>
                  <a:pt x="10456" y="1395"/>
                </a:cubicBezTo>
                <a:cubicBezTo>
                  <a:pt x="10456" y="1392"/>
                  <a:pt x="10972" y="1287"/>
                  <a:pt x="10986" y="1287"/>
                </a:cubicBezTo>
                <a:cubicBezTo>
                  <a:pt x="10994" y="1289"/>
                  <a:pt x="10994" y="1289"/>
                  <a:pt x="10994" y="1289"/>
                </a:cubicBezTo>
                <a:cubicBezTo>
                  <a:pt x="11618" y="2138"/>
                  <a:pt x="11618" y="2138"/>
                  <a:pt x="11618" y="2138"/>
                </a:cubicBezTo>
                <a:close/>
                <a:moveTo>
                  <a:pt x="5486" y="1306"/>
                </a:moveTo>
                <a:lnTo>
                  <a:pt x="5486" y="1306"/>
                </a:lnTo>
                <a:cubicBezTo>
                  <a:pt x="5481" y="1323"/>
                  <a:pt x="5481" y="1323"/>
                  <a:pt x="5481" y="1323"/>
                </a:cubicBezTo>
                <a:cubicBezTo>
                  <a:pt x="5473" y="1320"/>
                  <a:pt x="5473" y="1320"/>
                  <a:pt x="5473" y="1320"/>
                </a:cubicBezTo>
                <a:cubicBezTo>
                  <a:pt x="5459" y="1317"/>
                  <a:pt x="5439" y="1301"/>
                  <a:pt x="5445" y="1298"/>
                </a:cubicBezTo>
                <a:cubicBezTo>
                  <a:pt x="5448" y="1295"/>
                  <a:pt x="5461" y="1292"/>
                  <a:pt x="5484" y="1289"/>
                </a:cubicBezTo>
                <a:cubicBezTo>
                  <a:pt x="5492" y="1289"/>
                  <a:pt x="5492" y="1289"/>
                  <a:pt x="5492" y="1289"/>
                </a:cubicBezTo>
                <a:cubicBezTo>
                  <a:pt x="5486" y="1306"/>
                  <a:pt x="5486" y="1306"/>
                  <a:pt x="5486" y="1306"/>
                </a:cubicBezTo>
                <a:close/>
                <a:moveTo>
                  <a:pt x="10179" y="1298"/>
                </a:moveTo>
                <a:lnTo>
                  <a:pt x="10179" y="1298"/>
                </a:lnTo>
                <a:cubicBezTo>
                  <a:pt x="10170" y="1306"/>
                  <a:pt x="9621" y="1622"/>
                  <a:pt x="9615" y="1622"/>
                </a:cubicBezTo>
                <a:cubicBezTo>
                  <a:pt x="9610" y="1622"/>
                  <a:pt x="9248" y="1303"/>
                  <a:pt x="9248" y="1301"/>
                </a:cubicBezTo>
                <a:cubicBezTo>
                  <a:pt x="9250" y="1301"/>
                  <a:pt x="9445" y="1298"/>
                  <a:pt x="9679" y="1298"/>
                </a:cubicBezTo>
                <a:cubicBezTo>
                  <a:pt x="9912" y="1295"/>
                  <a:pt x="10123" y="1295"/>
                  <a:pt x="10145" y="1295"/>
                </a:cubicBezTo>
                <a:cubicBezTo>
                  <a:pt x="10184" y="1295"/>
                  <a:pt x="10184" y="1295"/>
                  <a:pt x="10184" y="1295"/>
                </a:cubicBezTo>
                <a:cubicBezTo>
                  <a:pt x="10179" y="1298"/>
                  <a:pt x="10179" y="1298"/>
                  <a:pt x="10179" y="1298"/>
                </a:cubicBezTo>
                <a:close/>
                <a:moveTo>
                  <a:pt x="3531" y="1303"/>
                </a:moveTo>
                <a:lnTo>
                  <a:pt x="3531" y="1303"/>
                </a:lnTo>
                <a:cubicBezTo>
                  <a:pt x="3528" y="1306"/>
                  <a:pt x="3387" y="1378"/>
                  <a:pt x="3220" y="1464"/>
                </a:cubicBezTo>
                <a:cubicBezTo>
                  <a:pt x="2918" y="1619"/>
                  <a:pt x="2918" y="1619"/>
                  <a:pt x="2918" y="1619"/>
                </a:cubicBezTo>
                <a:cubicBezTo>
                  <a:pt x="2890" y="1622"/>
                  <a:pt x="2890" y="1622"/>
                  <a:pt x="2890" y="1622"/>
                </a:cubicBezTo>
                <a:cubicBezTo>
                  <a:pt x="2860" y="1628"/>
                  <a:pt x="2860" y="1628"/>
                  <a:pt x="2813" y="1664"/>
                </a:cubicBezTo>
                <a:cubicBezTo>
                  <a:pt x="2782" y="1689"/>
                  <a:pt x="2782" y="1689"/>
                  <a:pt x="2782" y="1689"/>
                </a:cubicBezTo>
                <a:cubicBezTo>
                  <a:pt x="2549" y="1808"/>
                  <a:pt x="2549" y="1808"/>
                  <a:pt x="2549" y="1808"/>
                </a:cubicBezTo>
                <a:cubicBezTo>
                  <a:pt x="2422" y="1875"/>
                  <a:pt x="2316" y="1927"/>
                  <a:pt x="2316" y="1925"/>
                </a:cubicBezTo>
                <a:cubicBezTo>
                  <a:pt x="2313" y="1925"/>
                  <a:pt x="2313" y="1877"/>
                  <a:pt x="2313" y="1822"/>
                </a:cubicBezTo>
                <a:cubicBezTo>
                  <a:pt x="2311" y="1719"/>
                  <a:pt x="2311" y="1719"/>
                  <a:pt x="2311" y="1719"/>
                </a:cubicBezTo>
                <a:cubicBezTo>
                  <a:pt x="2327" y="1714"/>
                  <a:pt x="2327" y="1714"/>
                  <a:pt x="2327" y="1714"/>
                </a:cubicBezTo>
                <a:cubicBezTo>
                  <a:pt x="2336" y="1711"/>
                  <a:pt x="2610" y="1617"/>
                  <a:pt x="2937" y="1503"/>
                </a:cubicBezTo>
                <a:cubicBezTo>
                  <a:pt x="3265" y="1389"/>
                  <a:pt x="3534" y="1298"/>
                  <a:pt x="3534" y="1298"/>
                </a:cubicBezTo>
                <a:cubicBezTo>
                  <a:pt x="3536" y="1298"/>
                  <a:pt x="3536" y="1301"/>
                  <a:pt x="3531" y="1303"/>
                </a:cubicBezTo>
                <a:close/>
                <a:moveTo>
                  <a:pt x="10364" y="1373"/>
                </a:moveTo>
                <a:lnTo>
                  <a:pt x="10364" y="1373"/>
                </a:lnTo>
                <a:cubicBezTo>
                  <a:pt x="10370" y="1375"/>
                  <a:pt x="10306" y="1398"/>
                  <a:pt x="10081" y="1472"/>
                </a:cubicBezTo>
                <a:cubicBezTo>
                  <a:pt x="9923" y="1525"/>
                  <a:pt x="9793" y="1567"/>
                  <a:pt x="9790" y="1567"/>
                </a:cubicBezTo>
                <a:cubicBezTo>
                  <a:pt x="9790" y="1567"/>
                  <a:pt x="9893" y="1506"/>
                  <a:pt x="10020" y="1431"/>
                </a:cubicBezTo>
                <a:cubicBezTo>
                  <a:pt x="10253" y="1298"/>
                  <a:pt x="10253" y="1298"/>
                  <a:pt x="10253" y="1298"/>
                </a:cubicBezTo>
                <a:cubicBezTo>
                  <a:pt x="10306" y="1334"/>
                  <a:pt x="10306" y="1334"/>
                  <a:pt x="10306" y="1334"/>
                </a:cubicBezTo>
                <a:cubicBezTo>
                  <a:pt x="10337" y="1353"/>
                  <a:pt x="10364" y="1370"/>
                  <a:pt x="10364" y="1373"/>
                </a:cubicBezTo>
                <a:close/>
                <a:moveTo>
                  <a:pt x="11352" y="1314"/>
                </a:moveTo>
                <a:lnTo>
                  <a:pt x="11352" y="1314"/>
                </a:lnTo>
                <a:cubicBezTo>
                  <a:pt x="11388" y="1325"/>
                  <a:pt x="11388" y="1325"/>
                  <a:pt x="11388" y="1325"/>
                </a:cubicBezTo>
                <a:cubicBezTo>
                  <a:pt x="11643" y="1561"/>
                  <a:pt x="11643" y="1561"/>
                  <a:pt x="11643" y="1561"/>
                </a:cubicBezTo>
                <a:cubicBezTo>
                  <a:pt x="11782" y="1692"/>
                  <a:pt x="11898" y="1800"/>
                  <a:pt x="11901" y="1802"/>
                </a:cubicBezTo>
                <a:cubicBezTo>
                  <a:pt x="11901" y="1802"/>
                  <a:pt x="11898" y="1802"/>
                  <a:pt x="11893" y="1797"/>
                </a:cubicBezTo>
                <a:cubicBezTo>
                  <a:pt x="11890" y="1794"/>
                  <a:pt x="11754" y="1680"/>
                  <a:pt x="11593" y="1550"/>
                </a:cubicBezTo>
                <a:cubicBezTo>
                  <a:pt x="11435" y="1417"/>
                  <a:pt x="11302" y="1306"/>
                  <a:pt x="11299" y="1303"/>
                </a:cubicBezTo>
                <a:cubicBezTo>
                  <a:pt x="11296" y="1301"/>
                  <a:pt x="11310" y="1303"/>
                  <a:pt x="11352" y="1314"/>
                </a:cubicBezTo>
                <a:close/>
                <a:moveTo>
                  <a:pt x="9084" y="1306"/>
                </a:moveTo>
                <a:lnTo>
                  <a:pt x="9084" y="1306"/>
                </a:lnTo>
                <a:cubicBezTo>
                  <a:pt x="9081" y="1309"/>
                  <a:pt x="8668" y="1472"/>
                  <a:pt x="8660" y="1475"/>
                </a:cubicBezTo>
                <a:cubicBezTo>
                  <a:pt x="8657" y="1475"/>
                  <a:pt x="8432" y="1339"/>
                  <a:pt x="8427" y="1334"/>
                </a:cubicBezTo>
                <a:cubicBezTo>
                  <a:pt x="8427" y="1331"/>
                  <a:pt x="8438" y="1331"/>
                  <a:pt x="8454" y="1331"/>
                </a:cubicBezTo>
                <a:cubicBezTo>
                  <a:pt x="8471" y="1331"/>
                  <a:pt x="8610" y="1325"/>
                  <a:pt x="8762" y="1317"/>
                </a:cubicBezTo>
                <a:cubicBezTo>
                  <a:pt x="9078" y="1303"/>
                  <a:pt x="9087" y="1303"/>
                  <a:pt x="9084" y="1306"/>
                </a:cubicBezTo>
                <a:close/>
                <a:moveTo>
                  <a:pt x="9173" y="1325"/>
                </a:moveTo>
                <a:lnTo>
                  <a:pt x="9173" y="1325"/>
                </a:lnTo>
                <a:cubicBezTo>
                  <a:pt x="9173" y="1345"/>
                  <a:pt x="9131" y="1797"/>
                  <a:pt x="9128" y="1800"/>
                </a:cubicBezTo>
                <a:cubicBezTo>
                  <a:pt x="9128" y="1800"/>
                  <a:pt x="9028" y="1733"/>
                  <a:pt x="8912" y="1653"/>
                </a:cubicBezTo>
                <a:cubicBezTo>
                  <a:pt x="8793" y="1570"/>
                  <a:pt x="8696" y="1503"/>
                  <a:pt x="8698" y="1500"/>
                </a:cubicBezTo>
                <a:cubicBezTo>
                  <a:pt x="8701" y="1497"/>
                  <a:pt x="9164" y="1312"/>
                  <a:pt x="9170" y="1312"/>
                </a:cubicBezTo>
                <a:cubicBezTo>
                  <a:pt x="9173" y="1312"/>
                  <a:pt x="9173" y="1317"/>
                  <a:pt x="9173" y="1325"/>
                </a:cubicBezTo>
                <a:close/>
                <a:moveTo>
                  <a:pt x="9408" y="1492"/>
                </a:moveTo>
                <a:lnTo>
                  <a:pt x="9408" y="1492"/>
                </a:lnTo>
                <a:cubicBezTo>
                  <a:pt x="9500" y="1572"/>
                  <a:pt x="9574" y="1636"/>
                  <a:pt x="9574" y="1639"/>
                </a:cubicBezTo>
                <a:cubicBezTo>
                  <a:pt x="9574" y="1644"/>
                  <a:pt x="9170" y="1805"/>
                  <a:pt x="9167" y="1802"/>
                </a:cubicBezTo>
                <a:cubicBezTo>
                  <a:pt x="9164" y="1800"/>
                  <a:pt x="9203" y="1378"/>
                  <a:pt x="9209" y="1334"/>
                </a:cubicBezTo>
                <a:cubicBezTo>
                  <a:pt x="9212" y="1320"/>
                  <a:pt x="9212" y="1320"/>
                  <a:pt x="9212" y="1320"/>
                </a:cubicBezTo>
                <a:cubicBezTo>
                  <a:pt x="9228" y="1334"/>
                  <a:pt x="9228" y="1334"/>
                  <a:pt x="9228" y="1334"/>
                </a:cubicBezTo>
                <a:cubicBezTo>
                  <a:pt x="9236" y="1342"/>
                  <a:pt x="9320" y="1414"/>
                  <a:pt x="9408" y="1492"/>
                </a:cubicBezTo>
                <a:close/>
                <a:moveTo>
                  <a:pt x="4843" y="1353"/>
                </a:moveTo>
                <a:lnTo>
                  <a:pt x="4843" y="1353"/>
                </a:lnTo>
                <a:cubicBezTo>
                  <a:pt x="4860" y="1375"/>
                  <a:pt x="4857" y="1375"/>
                  <a:pt x="4837" y="1381"/>
                </a:cubicBezTo>
                <a:cubicBezTo>
                  <a:pt x="4823" y="1381"/>
                  <a:pt x="4823" y="1381"/>
                  <a:pt x="4823" y="1381"/>
                </a:cubicBezTo>
                <a:cubicBezTo>
                  <a:pt x="4823" y="1353"/>
                  <a:pt x="4823" y="1353"/>
                  <a:pt x="4823" y="1353"/>
                </a:cubicBezTo>
                <a:cubicBezTo>
                  <a:pt x="4823" y="1323"/>
                  <a:pt x="4823" y="1323"/>
                  <a:pt x="4843" y="1353"/>
                </a:cubicBezTo>
                <a:close/>
                <a:moveTo>
                  <a:pt x="5348" y="1334"/>
                </a:moveTo>
                <a:lnTo>
                  <a:pt x="5348" y="1334"/>
                </a:lnTo>
                <a:cubicBezTo>
                  <a:pt x="5364" y="1337"/>
                  <a:pt x="5381" y="1339"/>
                  <a:pt x="5384" y="1339"/>
                </a:cubicBezTo>
                <a:cubicBezTo>
                  <a:pt x="5387" y="1339"/>
                  <a:pt x="5387" y="1364"/>
                  <a:pt x="5378" y="1414"/>
                </a:cubicBezTo>
                <a:cubicBezTo>
                  <a:pt x="5373" y="1453"/>
                  <a:pt x="5367" y="1489"/>
                  <a:pt x="5364" y="1489"/>
                </a:cubicBezTo>
                <a:cubicBezTo>
                  <a:pt x="5364" y="1489"/>
                  <a:pt x="5364" y="1489"/>
                  <a:pt x="5362" y="1486"/>
                </a:cubicBezTo>
                <a:cubicBezTo>
                  <a:pt x="5362" y="1484"/>
                  <a:pt x="5348" y="1447"/>
                  <a:pt x="5334" y="1406"/>
                </a:cubicBezTo>
                <a:cubicBezTo>
                  <a:pt x="5317" y="1367"/>
                  <a:pt x="5303" y="1334"/>
                  <a:pt x="5303" y="1331"/>
                </a:cubicBezTo>
                <a:cubicBezTo>
                  <a:pt x="5303" y="1331"/>
                  <a:pt x="5309" y="1331"/>
                  <a:pt x="5348" y="1334"/>
                </a:cubicBezTo>
                <a:close/>
                <a:moveTo>
                  <a:pt x="2871" y="1345"/>
                </a:moveTo>
                <a:lnTo>
                  <a:pt x="2871" y="1345"/>
                </a:lnTo>
                <a:cubicBezTo>
                  <a:pt x="2854" y="1359"/>
                  <a:pt x="2721" y="1442"/>
                  <a:pt x="2715" y="1445"/>
                </a:cubicBezTo>
                <a:cubicBezTo>
                  <a:pt x="2713" y="1445"/>
                  <a:pt x="2713" y="1445"/>
                  <a:pt x="2718" y="1439"/>
                </a:cubicBezTo>
                <a:cubicBezTo>
                  <a:pt x="2724" y="1436"/>
                  <a:pt x="2743" y="1420"/>
                  <a:pt x="2763" y="1400"/>
                </a:cubicBezTo>
                <a:cubicBezTo>
                  <a:pt x="2793" y="1375"/>
                  <a:pt x="2807" y="1367"/>
                  <a:pt x="2835" y="1353"/>
                </a:cubicBezTo>
                <a:cubicBezTo>
                  <a:pt x="2876" y="1337"/>
                  <a:pt x="2885" y="1334"/>
                  <a:pt x="2871" y="1345"/>
                </a:cubicBezTo>
                <a:close/>
                <a:moveTo>
                  <a:pt x="5445" y="1359"/>
                </a:moveTo>
                <a:lnTo>
                  <a:pt x="5445" y="1359"/>
                </a:lnTo>
                <a:cubicBezTo>
                  <a:pt x="5442" y="1364"/>
                  <a:pt x="5442" y="1378"/>
                  <a:pt x="5439" y="1386"/>
                </a:cubicBezTo>
                <a:cubicBezTo>
                  <a:pt x="5439" y="1398"/>
                  <a:pt x="5436" y="1406"/>
                  <a:pt x="5434" y="1406"/>
                </a:cubicBezTo>
                <a:cubicBezTo>
                  <a:pt x="5431" y="1406"/>
                  <a:pt x="5428" y="1350"/>
                  <a:pt x="5431" y="1348"/>
                </a:cubicBezTo>
                <a:cubicBezTo>
                  <a:pt x="5431" y="1348"/>
                  <a:pt x="5434" y="1348"/>
                  <a:pt x="5439" y="1348"/>
                </a:cubicBezTo>
                <a:cubicBezTo>
                  <a:pt x="5445" y="1350"/>
                  <a:pt x="5445" y="1353"/>
                  <a:pt x="5445" y="1359"/>
                </a:cubicBezTo>
                <a:close/>
                <a:moveTo>
                  <a:pt x="11765" y="1827"/>
                </a:moveTo>
                <a:lnTo>
                  <a:pt x="11765" y="1827"/>
                </a:lnTo>
                <a:cubicBezTo>
                  <a:pt x="12140" y="2088"/>
                  <a:pt x="12447" y="2307"/>
                  <a:pt x="12450" y="2310"/>
                </a:cubicBezTo>
                <a:cubicBezTo>
                  <a:pt x="12458" y="2318"/>
                  <a:pt x="12458" y="2318"/>
                  <a:pt x="12458" y="2318"/>
                </a:cubicBezTo>
                <a:cubicBezTo>
                  <a:pt x="12414" y="2707"/>
                  <a:pt x="12414" y="2707"/>
                  <a:pt x="12414" y="2707"/>
                </a:cubicBezTo>
                <a:cubicBezTo>
                  <a:pt x="12392" y="2923"/>
                  <a:pt x="12373" y="3098"/>
                  <a:pt x="12370" y="3098"/>
                </a:cubicBezTo>
                <a:cubicBezTo>
                  <a:pt x="12370" y="3098"/>
                  <a:pt x="12081" y="2707"/>
                  <a:pt x="11729" y="2227"/>
                </a:cubicBezTo>
                <a:cubicBezTo>
                  <a:pt x="11377" y="1750"/>
                  <a:pt x="11088" y="1356"/>
                  <a:pt x="11086" y="1353"/>
                </a:cubicBezTo>
                <a:cubicBezTo>
                  <a:pt x="11086" y="1350"/>
                  <a:pt x="11086" y="1350"/>
                  <a:pt x="11086" y="1350"/>
                </a:cubicBezTo>
                <a:cubicBezTo>
                  <a:pt x="11088" y="1350"/>
                  <a:pt x="11393" y="1564"/>
                  <a:pt x="11765" y="1827"/>
                </a:cubicBezTo>
                <a:close/>
                <a:moveTo>
                  <a:pt x="6604" y="1545"/>
                </a:moveTo>
                <a:lnTo>
                  <a:pt x="6604" y="1545"/>
                </a:lnTo>
                <a:cubicBezTo>
                  <a:pt x="7084" y="1733"/>
                  <a:pt x="7084" y="1733"/>
                  <a:pt x="7084" y="1733"/>
                </a:cubicBezTo>
                <a:cubicBezTo>
                  <a:pt x="7084" y="1739"/>
                  <a:pt x="7084" y="1739"/>
                  <a:pt x="7084" y="1739"/>
                </a:cubicBezTo>
                <a:cubicBezTo>
                  <a:pt x="7084" y="1744"/>
                  <a:pt x="7078" y="1758"/>
                  <a:pt x="7070" y="1772"/>
                </a:cubicBezTo>
                <a:cubicBezTo>
                  <a:pt x="7054" y="1800"/>
                  <a:pt x="7054" y="1800"/>
                  <a:pt x="7054" y="1800"/>
                </a:cubicBezTo>
                <a:cubicBezTo>
                  <a:pt x="7029" y="1789"/>
                  <a:pt x="7029" y="1789"/>
                  <a:pt x="7029" y="1789"/>
                </a:cubicBezTo>
                <a:cubicBezTo>
                  <a:pt x="6965" y="1758"/>
                  <a:pt x="6127" y="1361"/>
                  <a:pt x="6119" y="1359"/>
                </a:cubicBezTo>
                <a:cubicBezTo>
                  <a:pt x="6110" y="1353"/>
                  <a:pt x="6110" y="1353"/>
                  <a:pt x="6116" y="1353"/>
                </a:cubicBezTo>
                <a:cubicBezTo>
                  <a:pt x="6122" y="1356"/>
                  <a:pt x="6341" y="1442"/>
                  <a:pt x="6604" y="1545"/>
                </a:cubicBezTo>
                <a:close/>
                <a:moveTo>
                  <a:pt x="7750" y="1467"/>
                </a:moveTo>
                <a:lnTo>
                  <a:pt x="7750" y="1467"/>
                </a:lnTo>
                <a:cubicBezTo>
                  <a:pt x="7858" y="1528"/>
                  <a:pt x="7947" y="1581"/>
                  <a:pt x="7944" y="1581"/>
                </a:cubicBezTo>
                <a:cubicBezTo>
                  <a:pt x="7938" y="1583"/>
                  <a:pt x="7381" y="1508"/>
                  <a:pt x="7378" y="1506"/>
                </a:cubicBezTo>
                <a:cubicBezTo>
                  <a:pt x="7375" y="1503"/>
                  <a:pt x="7542" y="1353"/>
                  <a:pt x="7547" y="1353"/>
                </a:cubicBezTo>
                <a:cubicBezTo>
                  <a:pt x="7547" y="1353"/>
                  <a:pt x="7639" y="1403"/>
                  <a:pt x="7750" y="1467"/>
                </a:cubicBezTo>
                <a:close/>
                <a:moveTo>
                  <a:pt x="8501" y="1423"/>
                </a:moveTo>
                <a:lnTo>
                  <a:pt x="8501" y="1423"/>
                </a:lnTo>
                <a:cubicBezTo>
                  <a:pt x="8560" y="1459"/>
                  <a:pt x="8607" y="1489"/>
                  <a:pt x="8610" y="1492"/>
                </a:cubicBezTo>
                <a:cubicBezTo>
                  <a:pt x="8615" y="1497"/>
                  <a:pt x="8615" y="1497"/>
                  <a:pt x="8615" y="1497"/>
                </a:cubicBezTo>
                <a:cubicBezTo>
                  <a:pt x="8538" y="1533"/>
                  <a:pt x="8538" y="1533"/>
                  <a:pt x="8538" y="1533"/>
                </a:cubicBezTo>
                <a:cubicBezTo>
                  <a:pt x="8496" y="1556"/>
                  <a:pt x="8457" y="1572"/>
                  <a:pt x="8454" y="1572"/>
                </a:cubicBezTo>
                <a:cubicBezTo>
                  <a:pt x="8446" y="1575"/>
                  <a:pt x="8446" y="1575"/>
                  <a:pt x="8446" y="1575"/>
                </a:cubicBezTo>
                <a:cubicBezTo>
                  <a:pt x="8421" y="1475"/>
                  <a:pt x="8421" y="1475"/>
                  <a:pt x="8421" y="1475"/>
                </a:cubicBezTo>
                <a:cubicBezTo>
                  <a:pt x="8407" y="1420"/>
                  <a:pt x="8396" y="1370"/>
                  <a:pt x="8393" y="1364"/>
                </a:cubicBezTo>
                <a:cubicBezTo>
                  <a:pt x="8393" y="1359"/>
                  <a:pt x="8393" y="1356"/>
                  <a:pt x="8396" y="1356"/>
                </a:cubicBezTo>
                <a:cubicBezTo>
                  <a:pt x="8396" y="1359"/>
                  <a:pt x="8446" y="1386"/>
                  <a:pt x="8501" y="1423"/>
                </a:cubicBezTo>
                <a:close/>
                <a:moveTo>
                  <a:pt x="5581" y="1406"/>
                </a:moveTo>
                <a:lnTo>
                  <a:pt x="5581" y="1406"/>
                </a:lnTo>
                <a:cubicBezTo>
                  <a:pt x="5592" y="1411"/>
                  <a:pt x="5600" y="1417"/>
                  <a:pt x="5600" y="1420"/>
                </a:cubicBezTo>
                <a:cubicBezTo>
                  <a:pt x="5600" y="1428"/>
                  <a:pt x="5578" y="1553"/>
                  <a:pt x="5578" y="1556"/>
                </a:cubicBezTo>
                <a:cubicBezTo>
                  <a:pt x="5575" y="1556"/>
                  <a:pt x="5500" y="1378"/>
                  <a:pt x="5500" y="1375"/>
                </a:cubicBezTo>
                <a:cubicBezTo>
                  <a:pt x="5500" y="1373"/>
                  <a:pt x="5514" y="1378"/>
                  <a:pt x="5531" y="1384"/>
                </a:cubicBezTo>
                <a:cubicBezTo>
                  <a:pt x="5547" y="1392"/>
                  <a:pt x="5570" y="1400"/>
                  <a:pt x="5581" y="1406"/>
                </a:cubicBezTo>
                <a:close/>
                <a:moveTo>
                  <a:pt x="3181" y="1381"/>
                </a:moveTo>
                <a:lnTo>
                  <a:pt x="3181" y="1381"/>
                </a:lnTo>
                <a:cubicBezTo>
                  <a:pt x="3179" y="1381"/>
                  <a:pt x="3148" y="1392"/>
                  <a:pt x="3112" y="1406"/>
                </a:cubicBezTo>
                <a:cubicBezTo>
                  <a:pt x="3048" y="1428"/>
                  <a:pt x="3015" y="1436"/>
                  <a:pt x="3015" y="1434"/>
                </a:cubicBezTo>
                <a:cubicBezTo>
                  <a:pt x="3015" y="1431"/>
                  <a:pt x="3032" y="1423"/>
                  <a:pt x="3051" y="1411"/>
                </a:cubicBezTo>
                <a:cubicBezTo>
                  <a:pt x="3090" y="1389"/>
                  <a:pt x="3090" y="1389"/>
                  <a:pt x="3090" y="1389"/>
                </a:cubicBezTo>
                <a:cubicBezTo>
                  <a:pt x="3129" y="1384"/>
                  <a:pt x="3129" y="1384"/>
                  <a:pt x="3129" y="1384"/>
                </a:cubicBezTo>
                <a:cubicBezTo>
                  <a:pt x="3179" y="1378"/>
                  <a:pt x="3184" y="1378"/>
                  <a:pt x="3181" y="1381"/>
                </a:cubicBezTo>
                <a:close/>
                <a:moveTo>
                  <a:pt x="8388" y="1489"/>
                </a:moveTo>
                <a:lnTo>
                  <a:pt x="8388" y="1489"/>
                </a:lnTo>
                <a:cubicBezTo>
                  <a:pt x="8407" y="1561"/>
                  <a:pt x="8413" y="1594"/>
                  <a:pt x="8410" y="1594"/>
                </a:cubicBezTo>
                <a:cubicBezTo>
                  <a:pt x="8402" y="1603"/>
                  <a:pt x="8246" y="1683"/>
                  <a:pt x="8246" y="1680"/>
                </a:cubicBezTo>
                <a:cubicBezTo>
                  <a:pt x="8246" y="1680"/>
                  <a:pt x="8357" y="1384"/>
                  <a:pt x="8360" y="1384"/>
                </a:cubicBezTo>
                <a:cubicBezTo>
                  <a:pt x="8360" y="1384"/>
                  <a:pt x="8374" y="1431"/>
                  <a:pt x="8388" y="1489"/>
                </a:cubicBezTo>
                <a:close/>
                <a:moveTo>
                  <a:pt x="8260" y="1545"/>
                </a:moveTo>
                <a:lnTo>
                  <a:pt x="8260" y="1545"/>
                </a:lnTo>
                <a:cubicBezTo>
                  <a:pt x="8230" y="1625"/>
                  <a:pt x="8202" y="1692"/>
                  <a:pt x="8202" y="1692"/>
                </a:cubicBezTo>
                <a:cubicBezTo>
                  <a:pt x="8199" y="1694"/>
                  <a:pt x="8077" y="1614"/>
                  <a:pt x="8077" y="1611"/>
                </a:cubicBezTo>
                <a:cubicBezTo>
                  <a:pt x="8077" y="1606"/>
                  <a:pt x="8313" y="1389"/>
                  <a:pt x="8313" y="1392"/>
                </a:cubicBezTo>
                <a:cubicBezTo>
                  <a:pt x="8316" y="1395"/>
                  <a:pt x="8291" y="1461"/>
                  <a:pt x="8260" y="1545"/>
                </a:cubicBezTo>
                <a:close/>
                <a:moveTo>
                  <a:pt x="6427" y="1431"/>
                </a:moveTo>
                <a:lnTo>
                  <a:pt x="6427" y="1431"/>
                </a:lnTo>
                <a:cubicBezTo>
                  <a:pt x="6490" y="1453"/>
                  <a:pt x="6607" y="1503"/>
                  <a:pt x="6576" y="1495"/>
                </a:cubicBezTo>
                <a:cubicBezTo>
                  <a:pt x="6554" y="1489"/>
                  <a:pt x="6346" y="1406"/>
                  <a:pt x="6352" y="1406"/>
                </a:cubicBezTo>
                <a:cubicBezTo>
                  <a:pt x="6352" y="1406"/>
                  <a:pt x="6388" y="1417"/>
                  <a:pt x="6427" y="1431"/>
                </a:cubicBezTo>
                <a:close/>
                <a:moveTo>
                  <a:pt x="10603" y="2327"/>
                </a:moveTo>
                <a:lnTo>
                  <a:pt x="10603" y="2327"/>
                </a:lnTo>
                <a:cubicBezTo>
                  <a:pt x="10714" y="2834"/>
                  <a:pt x="10803" y="3250"/>
                  <a:pt x="10803" y="3253"/>
                </a:cubicBezTo>
                <a:cubicBezTo>
                  <a:pt x="10803" y="3256"/>
                  <a:pt x="10542" y="2898"/>
                  <a:pt x="10226" y="2457"/>
                </a:cubicBezTo>
                <a:cubicBezTo>
                  <a:pt x="9910" y="2016"/>
                  <a:pt x="9649" y="1653"/>
                  <a:pt x="9651" y="1653"/>
                </a:cubicBezTo>
                <a:cubicBezTo>
                  <a:pt x="9651" y="1650"/>
                  <a:pt x="10398" y="1406"/>
                  <a:pt x="10400" y="1406"/>
                </a:cubicBezTo>
                <a:cubicBezTo>
                  <a:pt x="10400" y="1406"/>
                  <a:pt x="10492" y="1822"/>
                  <a:pt x="10603" y="2327"/>
                </a:cubicBezTo>
                <a:close/>
                <a:moveTo>
                  <a:pt x="5259" y="1439"/>
                </a:moveTo>
                <a:lnTo>
                  <a:pt x="5259" y="1439"/>
                </a:lnTo>
                <a:cubicBezTo>
                  <a:pt x="5259" y="1456"/>
                  <a:pt x="5259" y="1464"/>
                  <a:pt x="5256" y="1464"/>
                </a:cubicBezTo>
                <a:cubicBezTo>
                  <a:pt x="5248" y="1464"/>
                  <a:pt x="5184" y="1447"/>
                  <a:pt x="5181" y="1445"/>
                </a:cubicBezTo>
                <a:cubicBezTo>
                  <a:pt x="5179" y="1442"/>
                  <a:pt x="5253" y="1409"/>
                  <a:pt x="5259" y="1411"/>
                </a:cubicBezTo>
                <a:cubicBezTo>
                  <a:pt x="5259" y="1411"/>
                  <a:pt x="5259" y="1425"/>
                  <a:pt x="5259" y="1439"/>
                </a:cubicBezTo>
                <a:close/>
                <a:moveTo>
                  <a:pt x="5514" y="1503"/>
                </a:moveTo>
                <a:lnTo>
                  <a:pt x="5514" y="1503"/>
                </a:lnTo>
                <a:cubicBezTo>
                  <a:pt x="5536" y="1553"/>
                  <a:pt x="5553" y="1594"/>
                  <a:pt x="5553" y="1594"/>
                </a:cubicBezTo>
                <a:cubicBezTo>
                  <a:pt x="5550" y="1597"/>
                  <a:pt x="5453" y="1570"/>
                  <a:pt x="5450" y="1567"/>
                </a:cubicBezTo>
                <a:cubicBezTo>
                  <a:pt x="5450" y="1564"/>
                  <a:pt x="5453" y="1531"/>
                  <a:pt x="5459" y="1489"/>
                </a:cubicBezTo>
                <a:cubicBezTo>
                  <a:pt x="5467" y="1447"/>
                  <a:pt x="5470" y="1411"/>
                  <a:pt x="5470" y="1411"/>
                </a:cubicBezTo>
                <a:cubicBezTo>
                  <a:pt x="5470" y="1400"/>
                  <a:pt x="5481" y="1423"/>
                  <a:pt x="5514" y="1503"/>
                </a:cubicBezTo>
                <a:close/>
                <a:moveTo>
                  <a:pt x="11546" y="1423"/>
                </a:moveTo>
                <a:lnTo>
                  <a:pt x="11546" y="1423"/>
                </a:lnTo>
                <a:cubicBezTo>
                  <a:pt x="11552" y="1428"/>
                  <a:pt x="11552" y="1428"/>
                  <a:pt x="11552" y="1428"/>
                </a:cubicBezTo>
                <a:cubicBezTo>
                  <a:pt x="11546" y="1423"/>
                  <a:pt x="11546" y="1423"/>
                  <a:pt x="11546" y="1423"/>
                </a:cubicBezTo>
                <a:cubicBezTo>
                  <a:pt x="11540" y="1420"/>
                  <a:pt x="11538" y="1417"/>
                  <a:pt x="11538" y="1417"/>
                </a:cubicBezTo>
                <a:cubicBezTo>
                  <a:pt x="11538" y="1414"/>
                  <a:pt x="11543" y="1417"/>
                  <a:pt x="11546" y="1423"/>
                </a:cubicBezTo>
                <a:close/>
                <a:moveTo>
                  <a:pt x="4161" y="1431"/>
                </a:moveTo>
                <a:lnTo>
                  <a:pt x="4161" y="1431"/>
                </a:lnTo>
                <a:cubicBezTo>
                  <a:pt x="4122" y="1434"/>
                  <a:pt x="4039" y="1436"/>
                  <a:pt x="4039" y="1434"/>
                </a:cubicBezTo>
                <a:cubicBezTo>
                  <a:pt x="4039" y="1428"/>
                  <a:pt x="4052" y="1428"/>
                  <a:pt x="4122" y="1428"/>
                </a:cubicBezTo>
                <a:cubicBezTo>
                  <a:pt x="4174" y="1428"/>
                  <a:pt x="4183" y="1428"/>
                  <a:pt x="4161" y="1431"/>
                </a:cubicBezTo>
                <a:close/>
                <a:moveTo>
                  <a:pt x="5678" y="1439"/>
                </a:moveTo>
                <a:lnTo>
                  <a:pt x="5678" y="1439"/>
                </a:lnTo>
                <a:cubicBezTo>
                  <a:pt x="5689" y="1445"/>
                  <a:pt x="5697" y="1450"/>
                  <a:pt x="5697" y="1453"/>
                </a:cubicBezTo>
                <a:cubicBezTo>
                  <a:pt x="5697" y="1461"/>
                  <a:pt x="5683" y="1500"/>
                  <a:pt x="5681" y="1500"/>
                </a:cubicBezTo>
                <a:cubicBezTo>
                  <a:pt x="5678" y="1500"/>
                  <a:pt x="5645" y="1439"/>
                  <a:pt x="5647" y="1436"/>
                </a:cubicBezTo>
                <a:cubicBezTo>
                  <a:pt x="5650" y="1434"/>
                  <a:pt x="5656" y="1434"/>
                  <a:pt x="5678" y="1439"/>
                </a:cubicBezTo>
                <a:close/>
                <a:moveTo>
                  <a:pt x="5323" y="1481"/>
                </a:moveTo>
                <a:lnTo>
                  <a:pt x="5323" y="1481"/>
                </a:lnTo>
                <a:cubicBezTo>
                  <a:pt x="5331" y="1506"/>
                  <a:pt x="5337" y="1525"/>
                  <a:pt x="5337" y="1525"/>
                </a:cubicBezTo>
                <a:cubicBezTo>
                  <a:pt x="5337" y="1525"/>
                  <a:pt x="5326" y="1522"/>
                  <a:pt x="5317" y="1517"/>
                </a:cubicBezTo>
                <a:cubicBezTo>
                  <a:pt x="5301" y="1508"/>
                  <a:pt x="5301" y="1508"/>
                  <a:pt x="5301" y="1508"/>
                </a:cubicBezTo>
                <a:cubicBezTo>
                  <a:pt x="5301" y="1475"/>
                  <a:pt x="5301" y="1475"/>
                  <a:pt x="5301" y="1475"/>
                </a:cubicBezTo>
                <a:cubicBezTo>
                  <a:pt x="5301" y="1447"/>
                  <a:pt x="5303" y="1436"/>
                  <a:pt x="5306" y="1439"/>
                </a:cubicBezTo>
                <a:cubicBezTo>
                  <a:pt x="5306" y="1439"/>
                  <a:pt x="5314" y="1459"/>
                  <a:pt x="5323" y="1481"/>
                </a:cubicBezTo>
                <a:close/>
                <a:moveTo>
                  <a:pt x="11396" y="2285"/>
                </a:moveTo>
                <a:lnTo>
                  <a:pt x="11396" y="2285"/>
                </a:lnTo>
                <a:cubicBezTo>
                  <a:pt x="11915" y="2751"/>
                  <a:pt x="12339" y="3134"/>
                  <a:pt x="12342" y="3137"/>
                </a:cubicBezTo>
                <a:cubicBezTo>
                  <a:pt x="12342" y="3137"/>
                  <a:pt x="12339" y="3139"/>
                  <a:pt x="12336" y="3139"/>
                </a:cubicBezTo>
                <a:cubicBezTo>
                  <a:pt x="12331" y="3139"/>
                  <a:pt x="12001" y="3181"/>
                  <a:pt x="11601" y="3231"/>
                </a:cubicBezTo>
                <a:cubicBezTo>
                  <a:pt x="11202" y="3284"/>
                  <a:pt x="10869" y="3325"/>
                  <a:pt x="10864" y="3325"/>
                </a:cubicBezTo>
                <a:cubicBezTo>
                  <a:pt x="10858" y="3325"/>
                  <a:pt x="10855" y="3322"/>
                  <a:pt x="10855" y="3320"/>
                </a:cubicBezTo>
                <a:cubicBezTo>
                  <a:pt x="10855" y="3320"/>
                  <a:pt x="10761" y="2895"/>
                  <a:pt x="10650" y="2382"/>
                </a:cubicBezTo>
                <a:cubicBezTo>
                  <a:pt x="10536" y="1866"/>
                  <a:pt x="10445" y="1445"/>
                  <a:pt x="10445" y="1442"/>
                </a:cubicBezTo>
                <a:cubicBezTo>
                  <a:pt x="10445" y="1439"/>
                  <a:pt x="10445" y="1436"/>
                  <a:pt x="10448" y="1439"/>
                </a:cubicBezTo>
                <a:cubicBezTo>
                  <a:pt x="10450" y="1439"/>
                  <a:pt x="10875" y="1819"/>
                  <a:pt x="11396" y="2285"/>
                </a:cubicBezTo>
                <a:close/>
                <a:moveTo>
                  <a:pt x="4627" y="1459"/>
                </a:moveTo>
                <a:lnTo>
                  <a:pt x="4627" y="1459"/>
                </a:lnTo>
                <a:cubicBezTo>
                  <a:pt x="4627" y="1461"/>
                  <a:pt x="4602" y="1542"/>
                  <a:pt x="4599" y="1545"/>
                </a:cubicBezTo>
                <a:cubicBezTo>
                  <a:pt x="4599" y="1547"/>
                  <a:pt x="3484" y="1597"/>
                  <a:pt x="3459" y="1597"/>
                </a:cubicBezTo>
                <a:cubicBezTo>
                  <a:pt x="3434" y="1594"/>
                  <a:pt x="3434" y="1594"/>
                  <a:pt x="3434" y="1594"/>
                </a:cubicBezTo>
                <a:cubicBezTo>
                  <a:pt x="3462" y="1592"/>
                  <a:pt x="3462" y="1592"/>
                  <a:pt x="3462" y="1592"/>
                </a:cubicBezTo>
                <a:cubicBezTo>
                  <a:pt x="3478" y="1589"/>
                  <a:pt x="3745" y="1558"/>
                  <a:pt x="4055" y="1522"/>
                </a:cubicBezTo>
                <a:cubicBezTo>
                  <a:pt x="4369" y="1486"/>
                  <a:pt x="4624" y="1456"/>
                  <a:pt x="4624" y="1456"/>
                </a:cubicBezTo>
                <a:cubicBezTo>
                  <a:pt x="4627" y="1456"/>
                  <a:pt x="4627" y="1459"/>
                  <a:pt x="4627" y="1459"/>
                </a:cubicBezTo>
                <a:close/>
                <a:moveTo>
                  <a:pt x="4821" y="1481"/>
                </a:moveTo>
                <a:lnTo>
                  <a:pt x="4821" y="1481"/>
                </a:lnTo>
                <a:cubicBezTo>
                  <a:pt x="4904" y="1495"/>
                  <a:pt x="4973" y="1506"/>
                  <a:pt x="4973" y="1506"/>
                </a:cubicBezTo>
                <a:cubicBezTo>
                  <a:pt x="4976" y="1506"/>
                  <a:pt x="4968" y="1508"/>
                  <a:pt x="4959" y="1508"/>
                </a:cubicBezTo>
                <a:cubicBezTo>
                  <a:pt x="4918" y="1514"/>
                  <a:pt x="4640" y="1542"/>
                  <a:pt x="4640" y="1539"/>
                </a:cubicBezTo>
                <a:cubicBezTo>
                  <a:pt x="4638" y="1539"/>
                  <a:pt x="4665" y="1456"/>
                  <a:pt x="4668" y="1456"/>
                </a:cubicBezTo>
                <a:cubicBezTo>
                  <a:pt x="4671" y="1456"/>
                  <a:pt x="4737" y="1467"/>
                  <a:pt x="4821" y="1481"/>
                </a:cubicBezTo>
                <a:close/>
                <a:moveTo>
                  <a:pt x="2591" y="1464"/>
                </a:moveTo>
                <a:lnTo>
                  <a:pt x="2591" y="1464"/>
                </a:lnTo>
                <a:cubicBezTo>
                  <a:pt x="2580" y="1475"/>
                  <a:pt x="2441" y="1586"/>
                  <a:pt x="2438" y="1586"/>
                </a:cubicBezTo>
                <a:cubicBezTo>
                  <a:pt x="2430" y="1586"/>
                  <a:pt x="2555" y="1478"/>
                  <a:pt x="2571" y="1470"/>
                </a:cubicBezTo>
                <a:cubicBezTo>
                  <a:pt x="2591" y="1459"/>
                  <a:pt x="2599" y="1459"/>
                  <a:pt x="2591" y="1464"/>
                </a:cubicBezTo>
                <a:close/>
                <a:moveTo>
                  <a:pt x="5833" y="1489"/>
                </a:moveTo>
                <a:lnTo>
                  <a:pt x="5833" y="1489"/>
                </a:lnTo>
                <a:cubicBezTo>
                  <a:pt x="5833" y="1492"/>
                  <a:pt x="5817" y="1511"/>
                  <a:pt x="5794" y="1533"/>
                </a:cubicBezTo>
                <a:cubicBezTo>
                  <a:pt x="5758" y="1572"/>
                  <a:pt x="5758" y="1572"/>
                  <a:pt x="5758" y="1572"/>
                </a:cubicBezTo>
                <a:cubicBezTo>
                  <a:pt x="5733" y="1561"/>
                  <a:pt x="5733" y="1561"/>
                  <a:pt x="5733" y="1561"/>
                </a:cubicBezTo>
                <a:cubicBezTo>
                  <a:pt x="5719" y="1556"/>
                  <a:pt x="5708" y="1550"/>
                  <a:pt x="5708" y="1547"/>
                </a:cubicBezTo>
                <a:cubicBezTo>
                  <a:pt x="5708" y="1545"/>
                  <a:pt x="5714" y="1531"/>
                  <a:pt x="5719" y="1517"/>
                </a:cubicBezTo>
                <a:cubicBezTo>
                  <a:pt x="5725" y="1503"/>
                  <a:pt x="5733" y="1484"/>
                  <a:pt x="5736" y="1475"/>
                </a:cubicBezTo>
                <a:cubicBezTo>
                  <a:pt x="5744" y="1461"/>
                  <a:pt x="5744" y="1461"/>
                  <a:pt x="5744" y="1461"/>
                </a:cubicBezTo>
                <a:cubicBezTo>
                  <a:pt x="5789" y="1475"/>
                  <a:pt x="5789" y="1475"/>
                  <a:pt x="5789" y="1475"/>
                </a:cubicBezTo>
                <a:cubicBezTo>
                  <a:pt x="5814" y="1481"/>
                  <a:pt x="5833" y="1489"/>
                  <a:pt x="5833" y="1489"/>
                </a:cubicBezTo>
                <a:close/>
                <a:moveTo>
                  <a:pt x="4219" y="1467"/>
                </a:moveTo>
                <a:lnTo>
                  <a:pt x="4219" y="1467"/>
                </a:lnTo>
                <a:cubicBezTo>
                  <a:pt x="4194" y="1472"/>
                  <a:pt x="3880" y="1508"/>
                  <a:pt x="3855" y="1508"/>
                </a:cubicBezTo>
                <a:cubicBezTo>
                  <a:pt x="3844" y="1508"/>
                  <a:pt x="3831" y="1506"/>
                  <a:pt x="3825" y="1506"/>
                </a:cubicBezTo>
                <a:cubicBezTo>
                  <a:pt x="3817" y="1503"/>
                  <a:pt x="3817" y="1503"/>
                  <a:pt x="3817" y="1503"/>
                </a:cubicBezTo>
                <a:cubicBezTo>
                  <a:pt x="3855" y="1489"/>
                  <a:pt x="3855" y="1489"/>
                  <a:pt x="3855" y="1489"/>
                </a:cubicBezTo>
                <a:cubicBezTo>
                  <a:pt x="3894" y="1478"/>
                  <a:pt x="3894" y="1478"/>
                  <a:pt x="3894" y="1478"/>
                </a:cubicBezTo>
                <a:cubicBezTo>
                  <a:pt x="4047" y="1472"/>
                  <a:pt x="4047" y="1472"/>
                  <a:pt x="4047" y="1472"/>
                </a:cubicBezTo>
                <a:cubicBezTo>
                  <a:pt x="4133" y="1467"/>
                  <a:pt x="4208" y="1464"/>
                  <a:pt x="4216" y="1464"/>
                </a:cubicBezTo>
                <a:cubicBezTo>
                  <a:pt x="4233" y="1464"/>
                  <a:pt x="4233" y="1464"/>
                  <a:pt x="4233" y="1464"/>
                </a:cubicBezTo>
                <a:cubicBezTo>
                  <a:pt x="4219" y="1467"/>
                  <a:pt x="4219" y="1467"/>
                  <a:pt x="4219" y="1467"/>
                </a:cubicBezTo>
                <a:close/>
                <a:moveTo>
                  <a:pt x="6959" y="1506"/>
                </a:moveTo>
                <a:lnTo>
                  <a:pt x="6959" y="1506"/>
                </a:lnTo>
                <a:cubicBezTo>
                  <a:pt x="7159" y="1531"/>
                  <a:pt x="7273" y="1545"/>
                  <a:pt x="7273" y="1547"/>
                </a:cubicBezTo>
                <a:cubicBezTo>
                  <a:pt x="7270" y="1550"/>
                  <a:pt x="7234" y="1586"/>
                  <a:pt x="7192" y="1628"/>
                </a:cubicBezTo>
                <a:cubicBezTo>
                  <a:pt x="7112" y="1705"/>
                  <a:pt x="7112" y="1705"/>
                  <a:pt x="7112" y="1705"/>
                </a:cubicBezTo>
                <a:cubicBezTo>
                  <a:pt x="6865" y="1589"/>
                  <a:pt x="6865" y="1589"/>
                  <a:pt x="6865" y="1589"/>
                </a:cubicBezTo>
                <a:cubicBezTo>
                  <a:pt x="6732" y="1525"/>
                  <a:pt x="6618" y="1472"/>
                  <a:pt x="6615" y="1470"/>
                </a:cubicBezTo>
                <a:cubicBezTo>
                  <a:pt x="6613" y="1467"/>
                  <a:pt x="6579" y="1461"/>
                  <a:pt x="6959" y="1506"/>
                </a:cubicBezTo>
                <a:close/>
                <a:moveTo>
                  <a:pt x="5647" y="1514"/>
                </a:moveTo>
                <a:lnTo>
                  <a:pt x="5647" y="1514"/>
                </a:lnTo>
                <a:cubicBezTo>
                  <a:pt x="5658" y="1539"/>
                  <a:pt x="5658" y="1539"/>
                  <a:pt x="5658" y="1539"/>
                </a:cubicBezTo>
                <a:cubicBezTo>
                  <a:pt x="5650" y="1542"/>
                  <a:pt x="5650" y="1542"/>
                  <a:pt x="5650" y="1542"/>
                </a:cubicBezTo>
                <a:cubicBezTo>
                  <a:pt x="5633" y="1547"/>
                  <a:pt x="5620" y="1550"/>
                  <a:pt x="5620" y="1545"/>
                </a:cubicBezTo>
                <a:cubicBezTo>
                  <a:pt x="5620" y="1531"/>
                  <a:pt x="5628" y="1486"/>
                  <a:pt x="5631" y="1489"/>
                </a:cubicBezTo>
                <a:cubicBezTo>
                  <a:pt x="5633" y="1489"/>
                  <a:pt x="5639" y="1500"/>
                  <a:pt x="5647" y="1514"/>
                </a:cubicBezTo>
                <a:close/>
                <a:moveTo>
                  <a:pt x="5409" y="1545"/>
                </a:moveTo>
                <a:lnTo>
                  <a:pt x="5409" y="1545"/>
                </a:lnTo>
                <a:cubicBezTo>
                  <a:pt x="5409" y="1553"/>
                  <a:pt x="5406" y="1556"/>
                  <a:pt x="5403" y="1556"/>
                </a:cubicBezTo>
                <a:cubicBezTo>
                  <a:pt x="5395" y="1553"/>
                  <a:pt x="5395" y="1547"/>
                  <a:pt x="5400" y="1517"/>
                </a:cubicBezTo>
                <a:cubicBezTo>
                  <a:pt x="5403" y="1500"/>
                  <a:pt x="5403" y="1500"/>
                  <a:pt x="5403" y="1500"/>
                </a:cubicBezTo>
                <a:cubicBezTo>
                  <a:pt x="5406" y="1517"/>
                  <a:pt x="5406" y="1517"/>
                  <a:pt x="5406" y="1517"/>
                </a:cubicBezTo>
                <a:cubicBezTo>
                  <a:pt x="5406" y="1525"/>
                  <a:pt x="5409" y="1536"/>
                  <a:pt x="5409" y="1545"/>
                </a:cubicBezTo>
                <a:close/>
                <a:moveTo>
                  <a:pt x="5897" y="1564"/>
                </a:moveTo>
                <a:lnTo>
                  <a:pt x="5897" y="1564"/>
                </a:lnTo>
                <a:cubicBezTo>
                  <a:pt x="5905" y="1600"/>
                  <a:pt x="5911" y="1628"/>
                  <a:pt x="5911" y="1628"/>
                </a:cubicBezTo>
                <a:cubicBezTo>
                  <a:pt x="5908" y="1630"/>
                  <a:pt x="5847" y="1608"/>
                  <a:pt x="5844" y="1603"/>
                </a:cubicBezTo>
                <a:cubicBezTo>
                  <a:pt x="5839" y="1600"/>
                  <a:pt x="5861" y="1517"/>
                  <a:pt x="5869" y="1508"/>
                </a:cubicBezTo>
                <a:cubicBezTo>
                  <a:pt x="5872" y="1503"/>
                  <a:pt x="5877" y="1500"/>
                  <a:pt x="5880" y="1503"/>
                </a:cubicBezTo>
                <a:cubicBezTo>
                  <a:pt x="5883" y="1503"/>
                  <a:pt x="5889" y="1531"/>
                  <a:pt x="5897" y="1564"/>
                </a:cubicBezTo>
                <a:close/>
                <a:moveTo>
                  <a:pt x="5950" y="1522"/>
                </a:moveTo>
                <a:lnTo>
                  <a:pt x="5950" y="1522"/>
                </a:lnTo>
                <a:cubicBezTo>
                  <a:pt x="5964" y="1528"/>
                  <a:pt x="5977" y="1533"/>
                  <a:pt x="5980" y="1533"/>
                </a:cubicBezTo>
                <a:cubicBezTo>
                  <a:pt x="5983" y="1536"/>
                  <a:pt x="5947" y="1586"/>
                  <a:pt x="5941" y="1586"/>
                </a:cubicBezTo>
                <a:cubicBezTo>
                  <a:pt x="5939" y="1586"/>
                  <a:pt x="5936" y="1572"/>
                  <a:pt x="5930" y="1556"/>
                </a:cubicBezTo>
                <a:cubicBezTo>
                  <a:pt x="5927" y="1539"/>
                  <a:pt x="5925" y="1522"/>
                  <a:pt x="5922" y="1520"/>
                </a:cubicBezTo>
                <a:cubicBezTo>
                  <a:pt x="5922" y="1514"/>
                  <a:pt x="5922" y="1514"/>
                  <a:pt x="5950" y="1522"/>
                </a:cubicBezTo>
                <a:close/>
                <a:moveTo>
                  <a:pt x="8862" y="1661"/>
                </a:moveTo>
                <a:lnTo>
                  <a:pt x="8862" y="1661"/>
                </a:lnTo>
                <a:cubicBezTo>
                  <a:pt x="8976" y="1739"/>
                  <a:pt x="9064" y="1802"/>
                  <a:pt x="9064" y="1802"/>
                </a:cubicBezTo>
                <a:cubicBezTo>
                  <a:pt x="9064" y="1805"/>
                  <a:pt x="8282" y="1711"/>
                  <a:pt x="8280" y="1708"/>
                </a:cubicBezTo>
                <a:cubicBezTo>
                  <a:pt x="8277" y="1708"/>
                  <a:pt x="8277" y="1708"/>
                  <a:pt x="8280" y="1705"/>
                </a:cubicBezTo>
                <a:cubicBezTo>
                  <a:pt x="8285" y="1700"/>
                  <a:pt x="8651" y="1520"/>
                  <a:pt x="8654" y="1520"/>
                </a:cubicBezTo>
                <a:cubicBezTo>
                  <a:pt x="8657" y="1520"/>
                  <a:pt x="8751" y="1583"/>
                  <a:pt x="8862" y="1661"/>
                </a:cubicBezTo>
                <a:close/>
                <a:moveTo>
                  <a:pt x="5192" y="1594"/>
                </a:moveTo>
                <a:lnTo>
                  <a:pt x="5192" y="1594"/>
                </a:lnTo>
                <a:cubicBezTo>
                  <a:pt x="5228" y="1628"/>
                  <a:pt x="5259" y="1658"/>
                  <a:pt x="5259" y="1658"/>
                </a:cubicBezTo>
                <a:cubicBezTo>
                  <a:pt x="5259" y="1658"/>
                  <a:pt x="5145" y="1639"/>
                  <a:pt x="5007" y="1614"/>
                </a:cubicBezTo>
                <a:cubicBezTo>
                  <a:pt x="4868" y="1589"/>
                  <a:pt x="4754" y="1570"/>
                  <a:pt x="4757" y="1567"/>
                </a:cubicBezTo>
                <a:cubicBezTo>
                  <a:pt x="4757" y="1564"/>
                  <a:pt x="5079" y="1531"/>
                  <a:pt x="5106" y="1531"/>
                </a:cubicBezTo>
                <a:cubicBezTo>
                  <a:pt x="5123" y="1531"/>
                  <a:pt x="5123" y="1531"/>
                  <a:pt x="5123" y="1531"/>
                </a:cubicBezTo>
                <a:cubicBezTo>
                  <a:pt x="5192" y="1594"/>
                  <a:pt x="5192" y="1594"/>
                  <a:pt x="5192" y="1594"/>
                </a:cubicBezTo>
                <a:close/>
                <a:moveTo>
                  <a:pt x="2394" y="1553"/>
                </a:moveTo>
                <a:lnTo>
                  <a:pt x="2394" y="1553"/>
                </a:lnTo>
                <a:cubicBezTo>
                  <a:pt x="2391" y="1556"/>
                  <a:pt x="2294" y="1639"/>
                  <a:pt x="2180" y="1736"/>
                </a:cubicBezTo>
                <a:cubicBezTo>
                  <a:pt x="2069" y="1830"/>
                  <a:pt x="1975" y="1911"/>
                  <a:pt x="1972" y="1911"/>
                </a:cubicBezTo>
                <a:cubicBezTo>
                  <a:pt x="1969" y="1911"/>
                  <a:pt x="2011" y="1852"/>
                  <a:pt x="2061" y="1780"/>
                </a:cubicBezTo>
                <a:cubicBezTo>
                  <a:pt x="2152" y="1650"/>
                  <a:pt x="2152" y="1650"/>
                  <a:pt x="2152" y="1650"/>
                </a:cubicBezTo>
                <a:cubicBezTo>
                  <a:pt x="2272" y="1597"/>
                  <a:pt x="2272" y="1597"/>
                  <a:pt x="2272" y="1597"/>
                </a:cubicBezTo>
                <a:cubicBezTo>
                  <a:pt x="2338" y="1570"/>
                  <a:pt x="2394" y="1545"/>
                  <a:pt x="2396" y="1545"/>
                </a:cubicBezTo>
                <a:cubicBezTo>
                  <a:pt x="2402" y="1545"/>
                  <a:pt x="2399" y="1547"/>
                  <a:pt x="2394" y="1553"/>
                </a:cubicBezTo>
                <a:close/>
                <a:moveTo>
                  <a:pt x="5267" y="1561"/>
                </a:moveTo>
                <a:lnTo>
                  <a:pt x="5267" y="1561"/>
                </a:lnTo>
                <a:cubicBezTo>
                  <a:pt x="5306" y="1570"/>
                  <a:pt x="5337" y="1578"/>
                  <a:pt x="5339" y="1578"/>
                </a:cubicBezTo>
                <a:cubicBezTo>
                  <a:pt x="5342" y="1581"/>
                  <a:pt x="5334" y="1594"/>
                  <a:pt x="5323" y="1614"/>
                </a:cubicBezTo>
                <a:cubicBezTo>
                  <a:pt x="5301" y="1644"/>
                  <a:pt x="5301" y="1644"/>
                  <a:pt x="5301" y="1644"/>
                </a:cubicBezTo>
                <a:cubicBezTo>
                  <a:pt x="5265" y="1611"/>
                  <a:pt x="5265" y="1611"/>
                  <a:pt x="5265" y="1611"/>
                </a:cubicBezTo>
                <a:cubicBezTo>
                  <a:pt x="5245" y="1594"/>
                  <a:pt x="5220" y="1572"/>
                  <a:pt x="5209" y="1561"/>
                </a:cubicBezTo>
                <a:cubicBezTo>
                  <a:pt x="5201" y="1553"/>
                  <a:pt x="5192" y="1545"/>
                  <a:pt x="5195" y="1545"/>
                </a:cubicBezTo>
                <a:cubicBezTo>
                  <a:pt x="5198" y="1545"/>
                  <a:pt x="5231" y="1553"/>
                  <a:pt x="5267" y="1561"/>
                </a:cubicBezTo>
                <a:close/>
                <a:moveTo>
                  <a:pt x="7725" y="1589"/>
                </a:moveTo>
                <a:lnTo>
                  <a:pt x="7725" y="1589"/>
                </a:lnTo>
                <a:cubicBezTo>
                  <a:pt x="7883" y="1611"/>
                  <a:pt x="8016" y="1630"/>
                  <a:pt x="8016" y="1630"/>
                </a:cubicBezTo>
                <a:cubicBezTo>
                  <a:pt x="8019" y="1633"/>
                  <a:pt x="7933" y="1844"/>
                  <a:pt x="7927" y="1850"/>
                </a:cubicBezTo>
                <a:cubicBezTo>
                  <a:pt x="7925" y="1852"/>
                  <a:pt x="7428" y="1558"/>
                  <a:pt x="7420" y="1550"/>
                </a:cubicBezTo>
                <a:cubicBezTo>
                  <a:pt x="7417" y="1547"/>
                  <a:pt x="7439" y="1550"/>
                  <a:pt x="7725" y="1589"/>
                </a:cubicBezTo>
                <a:close/>
                <a:moveTo>
                  <a:pt x="7342" y="1700"/>
                </a:moveTo>
                <a:lnTo>
                  <a:pt x="7342" y="1700"/>
                </a:lnTo>
                <a:cubicBezTo>
                  <a:pt x="7353" y="1778"/>
                  <a:pt x="7364" y="1839"/>
                  <a:pt x="7361" y="1841"/>
                </a:cubicBezTo>
                <a:cubicBezTo>
                  <a:pt x="7361" y="1841"/>
                  <a:pt x="7270" y="1791"/>
                  <a:pt x="7170" y="1736"/>
                </a:cubicBezTo>
                <a:cubicBezTo>
                  <a:pt x="7145" y="1722"/>
                  <a:pt x="7145" y="1722"/>
                  <a:pt x="7145" y="1722"/>
                </a:cubicBezTo>
                <a:cubicBezTo>
                  <a:pt x="7231" y="1639"/>
                  <a:pt x="7231" y="1639"/>
                  <a:pt x="7231" y="1639"/>
                </a:cubicBezTo>
                <a:cubicBezTo>
                  <a:pt x="7275" y="1594"/>
                  <a:pt x="7317" y="1558"/>
                  <a:pt x="7317" y="1558"/>
                </a:cubicBezTo>
                <a:cubicBezTo>
                  <a:pt x="7317" y="1561"/>
                  <a:pt x="7328" y="1625"/>
                  <a:pt x="7342" y="1700"/>
                </a:cubicBezTo>
                <a:close/>
                <a:moveTo>
                  <a:pt x="6019" y="1564"/>
                </a:moveTo>
                <a:lnTo>
                  <a:pt x="6019" y="1564"/>
                </a:lnTo>
                <a:cubicBezTo>
                  <a:pt x="6019" y="1564"/>
                  <a:pt x="6016" y="1570"/>
                  <a:pt x="6011" y="1575"/>
                </a:cubicBezTo>
                <a:cubicBezTo>
                  <a:pt x="6002" y="1583"/>
                  <a:pt x="6002" y="1583"/>
                  <a:pt x="6002" y="1583"/>
                </a:cubicBezTo>
                <a:cubicBezTo>
                  <a:pt x="6008" y="1572"/>
                  <a:pt x="6008" y="1572"/>
                  <a:pt x="6008" y="1572"/>
                </a:cubicBezTo>
                <a:cubicBezTo>
                  <a:pt x="6016" y="1561"/>
                  <a:pt x="6019" y="1556"/>
                  <a:pt x="6019" y="1564"/>
                </a:cubicBezTo>
                <a:close/>
                <a:moveTo>
                  <a:pt x="6086" y="1570"/>
                </a:moveTo>
                <a:lnTo>
                  <a:pt x="6086" y="1570"/>
                </a:lnTo>
                <a:cubicBezTo>
                  <a:pt x="6086" y="1575"/>
                  <a:pt x="6077" y="1575"/>
                  <a:pt x="6074" y="1567"/>
                </a:cubicBezTo>
                <a:cubicBezTo>
                  <a:pt x="6074" y="1567"/>
                  <a:pt x="6074" y="1564"/>
                  <a:pt x="6080" y="1564"/>
                </a:cubicBezTo>
                <a:cubicBezTo>
                  <a:pt x="6083" y="1564"/>
                  <a:pt x="6086" y="1567"/>
                  <a:pt x="6086" y="1570"/>
                </a:cubicBezTo>
                <a:close/>
                <a:moveTo>
                  <a:pt x="5808" y="1578"/>
                </a:moveTo>
                <a:lnTo>
                  <a:pt x="5808" y="1578"/>
                </a:lnTo>
                <a:cubicBezTo>
                  <a:pt x="5805" y="1589"/>
                  <a:pt x="5805" y="1592"/>
                  <a:pt x="5800" y="1589"/>
                </a:cubicBezTo>
                <a:cubicBezTo>
                  <a:pt x="5797" y="1586"/>
                  <a:pt x="5797" y="1583"/>
                  <a:pt x="5800" y="1578"/>
                </a:cubicBezTo>
                <a:cubicBezTo>
                  <a:pt x="5808" y="1570"/>
                  <a:pt x="5814" y="1570"/>
                  <a:pt x="5808" y="1578"/>
                </a:cubicBezTo>
                <a:close/>
                <a:moveTo>
                  <a:pt x="7650" y="1730"/>
                </a:moveTo>
                <a:lnTo>
                  <a:pt x="7650" y="1730"/>
                </a:lnTo>
                <a:cubicBezTo>
                  <a:pt x="7780" y="1808"/>
                  <a:pt x="7891" y="1875"/>
                  <a:pt x="7894" y="1877"/>
                </a:cubicBezTo>
                <a:cubicBezTo>
                  <a:pt x="7900" y="1880"/>
                  <a:pt x="7900" y="1880"/>
                  <a:pt x="7900" y="1880"/>
                </a:cubicBezTo>
                <a:cubicBezTo>
                  <a:pt x="7791" y="1949"/>
                  <a:pt x="7791" y="1949"/>
                  <a:pt x="7791" y="1949"/>
                </a:cubicBezTo>
                <a:cubicBezTo>
                  <a:pt x="7730" y="1988"/>
                  <a:pt x="7680" y="2019"/>
                  <a:pt x="7678" y="2016"/>
                </a:cubicBezTo>
                <a:cubicBezTo>
                  <a:pt x="7675" y="2016"/>
                  <a:pt x="7395" y="1586"/>
                  <a:pt x="7392" y="1578"/>
                </a:cubicBezTo>
                <a:cubicBezTo>
                  <a:pt x="7389" y="1575"/>
                  <a:pt x="7395" y="1578"/>
                  <a:pt x="7403" y="1581"/>
                </a:cubicBezTo>
                <a:cubicBezTo>
                  <a:pt x="7409" y="1586"/>
                  <a:pt x="7522" y="1653"/>
                  <a:pt x="7650" y="1730"/>
                </a:cubicBezTo>
                <a:close/>
                <a:moveTo>
                  <a:pt x="4635" y="1586"/>
                </a:moveTo>
                <a:lnTo>
                  <a:pt x="4635" y="1586"/>
                </a:lnTo>
                <a:cubicBezTo>
                  <a:pt x="4643" y="1589"/>
                  <a:pt x="4643" y="1589"/>
                  <a:pt x="4643" y="1589"/>
                </a:cubicBezTo>
                <a:cubicBezTo>
                  <a:pt x="4632" y="1589"/>
                  <a:pt x="4632" y="1589"/>
                  <a:pt x="4632" y="1589"/>
                </a:cubicBezTo>
                <a:cubicBezTo>
                  <a:pt x="4624" y="1589"/>
                  <a:pt x="4615" y="1589"/>
                  <a:pt x="4615" y="1586"/>
                </a:cubicBezTo>
                <a:cubicBezTo>
                  <a:pt x="4613" y="1581"/>
                  <a:pt x="4621" y="1581"/>
                  <a:pt x="4635" y="1586"/>
                </a:cubicBezTo>
                <a:close/>
                <a:moveTo>
                  <a:pt x="6244" y="1617"/>
                </a:moveTo>
                <a:lnTo>
                  <a:pt x="6244" y="1617"/>
                </a:lnTo>
                <a:cubicBezTo>
                  <a:pt x="6302" y="1636"/>
                  <a:pt x="6352" y="1656"/>
                  <a:pt x="6352" y="1656"/>
                </a:cubicBezTo>
                <a:cubicBezTo>
                  <a:pt x="6357" y="1658"/>
                  <a:pt x="6360" y="1658"/>
                  <a:pt x="6221" y="1700"/>
                </a:cubicBezTo>
                <a:cubicBezTo>
                  <a:pt x="6163" y="1716"/>
                  <a:pt x="6113" y="1730"/>
                  <a:pt x="6113" y="1728"/>
                </a:cubicBezTo>
                <a:cubicBezTo>
                  <a:pt x="6110" y="1728"/>
                  <a:pt x="6135" y="1583"/>
                  <a:pt x="6135" y="1583"/>
                </a:cubicBezTo>
                <a:cubicBezTo>
                  <a:pt x="6135" y="1583"/>
                  <a:pt x="6185" y="1597"/>
                  <a:pt x="6244" y="1617"/>
                </a:cubicBezTo>
                <a:close/>
                <a:moveTo>
                  <a:pt x="5384" y="1597"/>
                </a:moveTo>
                <a:lnTo>
                  <a:pt x="5384" y="1597"/>
                </a:lnTo>
                <a:cubicBezTo>
                  <a:pt x="5378" y="1603"/>
                  <a:pt x="5375" y="1606"/>
                  <a:pt x="5373" y="1603"/>
                </a:cubicBezTo>
                <a:cubicBezTo>
                  <a:pt x="5370" y="1600"/>
                  <a:pt x="5384" y="1586"/>
                  <a:pt x="5387" y="1589"/>
                </a:cubicBezTo>
                <a:cubicBezTo>
                  <a:pt x="5389" y="1589"/>
                  <a:pt x="5387" y="1594"/>
                  <a:pt x="5384" y="1597"/>
                </a:cubicBezTo>
                <a:close/>
                <a:moveTo>
                  <a:pt x="6066" y="1608"/>
                </a:moveTo>
                <a:lnTo>
                  <a:pt x="6066" y="1608"/>
                </a:lnTo>
                <a:cubicBezTo>
                  <a:pt x="6080" y="1625"/>
                  <a:pt x="6080" y="1625"/>
                  <a:pt x="6080" y="1625"/>
                </a:cubicBezTo>
                <a:cubicBezTo>
                  <a:pt x="6077" y="1653"/>
                  <a:pt x="6077" y="1653"/>
                  <a:pt x="6077" y="1653"/>
                </a:cubicBezTo>
                <a:cubicBezTo>
                  <a:pt x="6074" y="1667"/>
                  <a:pt x="6072" y="1683"/>
                  <a:pt x="6069" y="1686"/>
                </a:cubicBezTo>
                <a:cubicBezTo>
                  <a:pt x="6063" y="1689"/>
                  <a:pt x="6063" y="1689"/>
                  <a:pt x="6063" y="1689"/>
                </a:cubicBezTo>
                <a:cubicBezTo>
                  <a:pt x="6050" y="1686"/>
                  <a:pt x="6050" y="1686"/>
                  <a:pt x="6050" y="1686"/>
                </a:cubicBezTo>
                <a:cubicBezTo>
                  <a:pt x="6041" y="1683"/>
                  <a:pt x="6027" y="1678"/>
                  <a:pt x="6016" y="1672"/>
                </a:cubicBezTo>
                <a:cubicBezTo>
                  <a:pt x="5997" y="1664"/>
                  <a:pt x="5997" y="1664"/>
                  <a:pt x="5997" y="1664"/>
                </a:cubicBezTo>
                <a:cubicBezTo>
                  <a:pt x="6019" y="1628"/>
                  <a:pt x="6019" y="1628"/>
                  <a:pt x="6019" y="1628"/>
                </a:cubicBezTo>
                <a:cubicBezTo>
                  <a:pt x="6033" y="1608"/>
                  <a:pt x="6044" y="1594"/>
                  <a:pt x="6047" y="1594"/>
                </a:cubicBezTo>
                <a:cubicBezTo>
                  <a:pt x="6050" y="1594"/>
                  <a:pt x="6058" y="1600"/>
                  <a:pt x="6066" y="1608"/>
                </a:cubicBezTo>
                <a:close/>
                <a:moveTo>
                  <a:pt x="4172" y="1603"/>
                </a:moveTo>
                <a:lnTo>
                  <a:pt x="4172" y="1603"/>
                </a:lnTo>
                <a:cubicBezTo>
                  <a:pt x="4166" y="1606"/>
                  <a:pt x="2818" y="1786"/>
                  <a:pt x="2815" y="1783"/>
                </a:cubicBezTo>
                <a:cubicBezTo>
                  <a:pt x="2815" y="1783"/>
                  <a:pt x="2829" y="1755"/>
                  <a:pt x="2846" y="1722"/>
                </a:cubicBezTo>
                <a:cubicBezTo>
                  <a:pt x="2879" y="1661"/>
                  <a:pt x="2879" y="1661"/>
                  <a:pt x="2879" y="1661"/>
                </a:cubicBezTo>
                <a:cubicBezTo>
                  <a:pt x="2896" y="1658"/>
                  <a:pt x="2896" y="1658"/>
                  <a:pt x="2896" y="1658"/>
                </a:cubicBezTo>
                <a:cubicBezTo>
                  <a:pt x="2904" y="1658"/>
                  <a:pt x="3184" y="1647"/>
                  <a:pt x="3517" y="1630"/>
                </a:cubicBezTo>
                <a:cubicBezTo>
                  <a:pt x="4105" y="1603"/>
                  <a:pt x="4180" y="1600"/>
                  <a:pt x="4172" y="1603"/>
                </a:cubicBezTo>
                <a:close/>
                <a:moveTo>
                  <a:pt x="5617" y="1658"/>
                </a:moveTo>
                <a:lnTo>
                  <a:pt x="5617" y="1658"/>
                </a:lnTo>
                <a:cubicBezTo>
                  <a:pt x="5711" y="1689"/>
                  <a:pt x="5786" y="1714"/>
                  <a:pt x="5783" y="1714"/>
                </a:cubicBezTo>
                <a:cubicBezTo>
                  <a:pt x="5778" y="1716"/>
                  <a:pt x="5428" y="1656"/>
                  <a:pt x="5425" y="1653"/>
                </a:cubicBezTo>
                <a:cubicBezTo>
                  <a:pt x="5423" y="1650"/>
                  <a:pt x="5436" y="1606"/>
                  <a:pt x="5442" y="1603"/>
                </a:cubicBezTo>
                <a:cubicBezTo>
                  <a:pt x="5442" y="1603"/>
                  <a:pt x="5520" y="1628"/>
                  <a:pt x="5617" y="1658"/>
                </a:cubicBezTo>
                <a:close/>
                <a:moveTo>
                  <a:pt x="7489" y="1794"/>
                </a:moveTo>
                <a:lnTo>
                  <a:pt x="7489" y="1794"/>
                </a:lnTo>
                <a:cubicBezTo>
                  <a:pt x="7556" y="1897"/>
                  <a:pt x="7608" y="1983"/>
                  <a:pt x="7608" y="1983"/>
                </a:cubicBezTo>
                <a:cubicBezTo>
                  <a:pt x="7606" y="1985"/>
                  <a:pt x="7561" y="1958"/>
                  <a:pt x="7506" y="1925"/>
                </a:cubicBezTo>
                <a:cubicBezTo>
                  <a:pt x="7403" y="1863"/>
                  <a:pt x="7403" y="1863"/>
                  <a:pt x="7403" y="1863"/>
                </a:cubicBezTo>
                <a:cubicBezTo>
                  <a:pt x="7384" y="1739"/>
                  <a:pt x="7384" y="1739"/>
                  <a:pt x="7384" y="1739"/>
                </a:cubicBezTo>
                <a:cubicBezTo>
                  <a:pt x="7373" y="1669"/>
                  <a:pt x="7361" y="1611"/>
                  <a:pt x="7361" y="1608"/>
                </a:cubicBezTo>
                <a:cubicBezTo>
                  <a:pt x="7356" y="1589"/>
                  <a:pt x="7381" y="1628"/>
                  <a:pt x="7489" y="1794"/>
                </a:cubicBezTo>
                <a:close/>
                <a:moveTo>
                  <a:pt x="4693" y="1636"/>
                </a:moveTo>
                <a:lnTo>
                  <a:pt x="4693" y="1636"/>
                </a:lnTo>
                <a:cubicBezTo>
                  <a:pt x="4765" y="1647"/>
                  <a:pt x="4823" y="1656"/>
                  <a:pt x="4823" y="1658"/>
                </a:cubicBezTo>
                <a:cubicBezTo>
                  <a:pt x="4823" y="1658"/>
                  <a:pt x="4821" y="1661"/>
                  <a:pt x="4815" y="1661"/>
                </a:cubicBezTo>
                <a:cubicBezTo>
                  <a:pt x="4810" y="1661"/>
                  <a:pt x="4740" y="1661"/>
                  <a:pt x="4660" y="1667"/>
                </a:cubicBezTo>
                <a:cubicBezTo>
                  <a:pt x="4582" y="1669"/>
                  <a:pt x="4504" y="1669"/>
                  <a:pt x="4488" y="1669"/>
                </a:cubicBezTo>
                <a:cubicBezTo>
                  <a:pt x="4460" y="1672"/>
                  <a:pt x="4460" y="1672"/>
                  <a:pt x="4460" y="1672"/>
                </a:cubicBezTo>
                <a:cubicBezTo>
                  <a:pt x="4510" y="1644"/>
                  <a:pt x="4510" y="1644"/>
                  <a:pt x="4510" y="1644"/>
                </a:cubicBezTo>
                <a:cubicBezTo>
                  <a:pt x="4541" y="1628"/>
                  <a:pt x="4563" y="1617"/>
                  <a:pt x="4566" y="1617"/>
                </a:cubicBezTo>
                <a:cubicBezTo>
                  <a:pt x="4566" y="1617"/>
                  <a:pt x="4624" y="1625"/>
                  <a:pt x="4693" y="1636"/>
                </a:cubicBezTo>
                <a:close/>
                <a:moveTo>
                  <a:pt x="5747" y="1639"/>
                </a:moveTo>
                <a:lnTo>
                  <a:pt x="5747" y="1639"/>
                </a:lnTo>
                <a:cubicBezTo>
                  <a:pt x="5767" y="1647"/>
                  <a:pt x="5780" y="1656"/>
                  <a:pt x="5778" y="1656"/>
                </a:cubicBezTo>
                <a:cubicBezTo>
                  <a:pt x="5775" y="1653"/>
                  <a:pt x="5753" y="1647"/>
                  <a:pt x="5731" y="1639"/>
                </a:cubicBezTo>
                <a:cubicBezTo>
                  <a:pt x="5703" y="1630"/>
                  <a:pt x="5689" y="1625"/>
                  <a:pt x="5694" y="1622"/>
                </a:cubicBezTo>
                <a:cubicBezTo>
                  <a:pt x="5703" y="1617"/>
                  <a:pt x="5714" y="1619"/>
                  <a:pt x="5747" y="1639"/>
                </a:cubicBezTo>
                <a:close/>
                <a:moveTo>
                  <a:pt x="4432" y="1644"/>
                </a:moveTo>
                <a:lnTo>
                  <a:pt x="4432" y="1644"/>
                </a:lnTo>
                <a:cubicBezTo>
                  <a:pt x="4427" y="1650"/>
                  <a:pt x="4410" y="1658"/>
                  <a:pt x="4396" y="1664"/>
                </a:cubicBezTo>
                <a:cubicBezTo>
                  <a:pt x="4374" y="1675"/>
                  <a:pt x="4374" y="1675"/>
                  <a:pt x="4374" y="1675"/>
                </a:cubicBezTo>
                <a:cubicBezTo>
                  <a:pt x="4030" y="1728"/>
                  <a:pt x="4030" y="1728"/>
                  <a:pt x="4030" y="1728"/>
                </a:cubicBezTo>
                <a:cubicBezTo>
                  <a:pt x="3842" y="1758"/>
                  <a:pt x="3683" y="1780"/>
                  <a:pt x="3678" y="1780"/>
                </a:cubicBezTo>
                <a:cubicBezTo>
                  <a:pt x="3670" y="1780"/>
                  <a:pt x="4419" y="1639"/>
                  <a:pt x="4438" y="1639"/>
                </a:cubicBezTo>
                <a:cubicBezTo>
                  <a:pt x="4444" y="1639"/>
                  <a:pt x="4441" y="1639"/>
                  <a:pt x="4432" y="1644"/>
                </a:cubicBezTo>
                <a:close/>
                <a:moveTo>
                  <a:pt x="8124" y="1686"/>
                </a:moveTo>
                <a:lnTo>
                  <a:pt x="8124" y="1686"/>
                </a:lnTo>
                <a:cubicBezTo>
                  <a:pt x="8152" y="1703"/>
                  <a:pt x="8174" y="1719"/>
                  <a:pt x="8174" y="1719"/>
                </a:cubicBezTo>
                <a:cubicBezTo>
                  <a:pt x="8174" y="1722"/>
                  <a:pt x="7980" y="1836"/>
                  <a:pt x="7977" y="1833"/>
                </a:cubicBezTo>
                <a:cubicBezTo>
                  <a:pt x="7974" y="1833"/>
                  <a:pt x="7994" y="1789"/>
                  <a:pt x="8013" y="1736"/>
                </a:cubicBezTo>
                <a:cubicBezTo>
                  <a:pt x="8055" y="1642"/>
                  <a:pt x="8055" y="1642"/>
                  <a:pt x="8055" y="1642"/>
                </a:cubicBezTo>
                <a:cubicBezTo>
                  <a:pt x="8066" y="1647"/>
                  <a:pt x="8066" y="1647"/>
                  <a:pt x="8066" y="1647"/>
                </a:cubicBezTo>
                <a:cubicBezTo>
                  <a:pt x="8072" y="1653"/>
                  <a:pt x="8099" y="1669"/>
                  <a:pt x="8124" y="1686"/>
                </a:cubicBezTo>
                <a:close/>
                <a:moveTo>
                  <a:pt x="10170" y="2440"/>
                </a:moveTo>
                <a:lnTo>
                  <a:pt x="10170" y="2440"/>
                </a:lnTo>
                <a:cubicBezTo>
                  <a:pt x="10475" y="2865"/>
                  <a:pt x="10725" y="3214"/>
                  <a:pt x="10725" y="3214"/>
                </a:cubicBezTo>
                <a:cubicBezTo>
                  <a:pt x="10722" y="3217"/>
                  <a:pt x="9184" y="1844"/>
                  <a:pt x="9181" y="1841"/>
                </a:cubicBezTo>
                <a:cubicBezTo>
                  <a:pt x="9181" y="1839"/>
                  <a:pt x="9602" y="1667"/>
                  <a:pt x="9610" y="1667"/>
                </a:cubicBezTo>
                <a:cubicBezTo>
                  <a:pt x="9613" y="1667"/>
                  <a:pt x="9865" y="2016"/>
                  <a:pt x="10170" y="2440"/>
                </a:cubicBezTo>
                <a:close/>
                <a:moveTo>
                  <a:pt x="6657" y="1794"/>
                </a:moveTo>
                <a:lnTo>
                  <a:pt x="6657" y="1794"/>
                </a:lnTo>
                <a:cubicBezTo>
                  <a:pt x="6790" y="1855"/>
                  <a:pt x="6898" y="1911"/>
                  <a:pt x="6901" y="1911"/>
                </a:cubicBezTo>
                <a:cubicBezTo>
                  <a:pt x="6904" y="1913"/>
                  <a:pt x="6901" y="1913"/>
                  <a:pt x="6895" y="1913"/>
                </a:cubicBezTo>
                <a:cubicBezTo>
                  <a:pt x="6890" y="1913"/>
                  <a:pt x="6718" y="1880"/>
                  <a:pt x="6513" y="1844"/>
                </a:cubicBezTo>
                <a:cubicBezTo>
                  <a:pt x="6307" y="1808"/>
                  <a:pt x="6138" y="1778"/>
                  <a:pt x="6138" y="1778"/>
                </a:cubicBezTo>
                <a:cubicBezTo>
                  <a:pt x="6138" y="1775"/>
                  <a:pt x="6163" y="1766"/>
                  <a:pt x="6196" y="1755"/>
                </a:cubicBezTo>
                <a:cubicBezTo>
                  <a:pt x="6230" y="1744"/>
                  <a:pt x="6291" y="1722"/>
                  <a:pt x="6335" y="1705"/>
                </a:cubicBezTo>
                <a:cubicBezTo>
                  <a:pt x="6377" y="1692"/>
                  <a:pt x="6413" y="1678"/>
                  <a:pt x="6416" y="1678"/>
                </a:cubicBezTo>
                <a:cubicBezTo>
                  <a:pt x="6416" y="1678"/>
                  <a:pt x="6527" y="1730"/>
                  <a:pt x="6657" y="1794"/>
                </a:cubicBezTo>
                <a:close/>
                <a:moveTo>
                  <a:pt x="3969" y="1686"/>
                </a:moveTo>
                <a:lnTo>
                  <a:pt x="3969" y="1686"/>
                </a:lnTo>
                <a:cubicBezTo>
                  <a:pt x="3969" y="1689"/>
                  <a:pt x="3850" y="1711"/>
                  <a:pt x="3709" y="1736"/>
                </a:cubicBezTo>
                <a:cubicBezTo>
                  <a:pt x="3450" y="1786"/>
                  <a:pt x="3450" y="1786"/>
                  <a:pt x="3450" y="1786"/>
                </a:cubicBezTo>
                <a:cubicBezTo>
                  <a:pt x="3345" y="1791"/>
                  <a:pt x="3345" y="1791"/>
                  <a:pt x="3345" y="1791"/>
                </a:cubicBezTo>
                <a:cubicBezTo>
                  <a:pt x="3240" y="1797"/>
                  <a:pt x="3240" y="1797"/>
                  <a:pt x="3240" y="1797"/>
                </a:cubicBezTo>
                <a:cubicBezTo>
                  <a:pt x="3126" y="1830"/>
                  <a:pt x="3126" y="1830"/>
                  <a:pt x="3126" y="1830"/>
                </a:cubicBezTo>
                <a:cubicBezTo>
                  <a:pt x="3065" y="1850"/>
                  <a:pt x="2990" y="1869"/>
                  <a:pt x="2962" y="1875"/>
                </a:cubicBezTo>
                <a:cubicBezTo>
                  <a:pt x="2912" y="1886"/>
                  <a:pt x="2876" y="1891"/>
                  <a:pt x="2879" y="1888"/>
                </a:cubicBezTo>
                <a:cubicBezTo>
                  <a:pt x="2879" y="1888"/>
                  <a:pt x="2912" y="1866"/>
                  <a:pt x="2951" y="1841"/>
                </a:cubicBezTo>
                <a:cubicBezTo>
                  <a:pt x="3021" y="1797"/>
                  <a:pt x="3021" y="1797"/>
                  <a:pt x="3021" y="1797"/>
                </a:cubicBezTo>
                <a:cubicBezTo>
                  <a:pt x="3484" y="1741"/>
                  <a:pt x="3484" y="1741"/>
                  <a:pt x="3484" y="1741"/>
                </a:cubicBezTo>
                <a:cubicBezTo>
                  <a:pt x="3941" y="1689"/>
                  <a:pt x="3972" y="1683"/>
                  <a:pt x="3969" y="1686"/>
                </a:cubicBezTo>
                <a:close/>
                <a:moveTo>
                  <a:pt x="5037" y="1741"/>
                </a:moveTo>
                <a:lnTo>
                  <a:pt x="5037" y="1741"/>
                </a:lnTo>
                <a:cubicBezTo>
                  <a:pt x="5051" y="1772"/>
                  <a:pt x="5059" y="1794"/>
                  <a:pt x="5059" y="1797"/>
                </a:cubicBezTo>
                <a:cubicBezTo>
                  <a:pt x="5056" y="1797"/>
                  <a:pt x="4579" y="1711"/>
                  <a:pt x="4566" y="1708"/>
                </a:cubicBezTo>
                <a:cubicBezTo>
                  <a:pt x="4563" y="1705"/>
                  <a:pt x="4563" y="1705"/>
                  <a:pt x="4577" y="1703"/>
                </a:cubicBezTo>
                <a:cubicBezTo>
                  <a:pt x="4585" y="1703"/>
                  <a:pt x="4671" y="1700"/>
                  <a:pt x="4765" y="1697"/>
                </a:cubicBezTo>
                <a:cubicBezTo>
                  <a:pt x="4860" y="1694"/>
                  <a:pt x="4954" y="1692"/>
                  <a:pt x="4976" y="1689"/>
                </a:cubicBezTo>
                <a:cubicBezTo>
                  <a:pt x="5015" y="1689"/>
                  <a:pt x="5015" y="1689"/>
                  <a:pt x="5015" y="1689"/>
                </a:cubicBezTo>
                <a:cubicBezTo>
                  <a:pt x="5037" y="1741"/>
                  <a:pt x="5037" y="1741"/>
                  <a:pt x="5037" y="1741"/>
                </a:cubicBezTo>
                <a:close/>
                <a:moveTo>
                  <a:pt x="5658" y="1808"/>
                </a:moveTo>
                <a:lnTo>
                  <a:pt x="5658" y="1808"/>
                </a:lnTo>
                <a:cubicBezTo>
                  <a:pt x="5794" y="1872"/>
                  <a:pt x="5908" y="1925"/>
                  <a:pt x="5905" y="1925"/>
                </a:cubicBezTo>
                <a:cubicBezTo>
                  <a:pt x="5905" y="1927"/>
                  <a:pt x="5425" y="1758"/>
                  <a:pt x="5359" y="1736"/>
                </a:cubicBezTo>
                <a:cubicBezTo>
                  <a:pt x="5356" y="1733"/>
                  <a:pt x="5362" y="1728"/>
                  <a:pt x="5378" y="1711"/>
                </a:cubicBezTo>
                <a:cubicBezTo>
                  <a:pt x="5392" y="1700"/>
                  <a:pt x="5403" y="1689"/>
                  <a:pt x="5406" y="1692"/>
                </a:cubicBezTo>
                <a:cubicBezTo>
                  <a:pt x="5406" y="1692"/>
                  <a:pt x="5520" y="1744"/>
                  <a:pt x="5658" y="1808"/>
                </a:cubicBezTo>
                <a:close/>
                <a:moveTo>
                  <a:pt x="5140" y="1714"/>
                </a:moveTo>
                <a:lnTo>
                  <a:pt x="5140" y="1714"/>
                </a:lnTo>
                <a:cubicBezTo>
                  <a:pt x="5198" y="1728"/>
                  <a:pt x="5215" y="1733"/>
                  <a:pt x="5212" y="1736"/>
                </a:cubicBezTo>
                <a:cubicBezTo>
                  <a:pt x="5203" y="1741"/>
                  <a:pt x="5101" y="1797"/>
                  <a:pt x="5101" y="1797"/>
                </a:cubicBezTo>
                <a:cubicBezTo>
                  <a:pt x="5098" y="1794"/>
                  <a:pt x="5062" y="1711"/>
                  <a:pt x="5056" y="1700"/>
                </a:cubicBezTo>
                <a:cubicBezTo>
                  <a:pt x="5056" y="1694"/>
                  <a:pt x="5054" y="1694"/>
                  <a:pt x="5140" y="1714"/>
                </a:cubicBezTo>
                <a:close/>
                <a:moveTo>
                  <a:pt x="5323" y="1703"/>
                </a:moveTo>
                <a:lnTo>
                  <a:pt x="5323" y="1703"/>
                </a:lnTo>
                <a:cubicBezTo>
                  <a:pt x="5323" y="1708"/>
                  <a:pt x="5312" y="1719"/>
                  <a:pt x="5309" y="1716"/>
                </a:cubicBezTo>
                <a:cubicBezTo>
                  <a:pt x="5309" y="1716"/>
                  <a:pt x="5309" y="1711"/>
                  <a:pt x="5314" y="1708"/>
                </a:cubicBezTo>
                <a:cubicBezTo>
                  <a:pt x="5320" y="1700"/>
                  <a:pt x="5323" y="1700"/>
                  <a:pt x="5323" y="1703"/>
                </a:cubicBezTo>
                <a:close/>
                <a:moveTo>
                  <a:pt x="5800" y="1755"/>
                </a:moveTo>
                <a:lnTo>
                  <a:pt x="5800" y="1755"/>
                </a:lnTo>
                <a:cubicBezTo>
                  <a:pt x="6052" y="1800"/>
                  <a:pt x="6052" y="1800"/>
                  <a:pt x="6052" y="1800"/>
                </a:cubicBezTo>
                <a:cubicBezTo>
                  <a:pt x="6138" y="1913"/>
                  <a:pt x="6138" y="1913"/>
                  <a:pt x="6138" y="1913"/>
                </a:cubicBezTo>
                <a:cubicBezTo>
                  <a:pt x="6185" y="1977"/>
                  <a:pt x="6224" y="2027"/>
                  <a:pt x="6221" y="2030"/>
                </a:cubicBezTo>
                <a:cubicBezTo>
                  <a:pt x="6219" y="2030"/>
                  <a:pt x="5547" y="1719"/>
                  <a:pt x="5542" y="1714"/>
                </a:cubicBezTo>
                <a:cubicBezTo>
                  <a:pt x="5539" y="1711"/>
                  <a:pt x="5547" y="1711"/>
                  <a:pt x="5800" y="1755"/>
                </a:cubicBezTo>
                <a:close/>
                <a:moveTo>
                  <a:pt x="5037" y="1833"/>
                </a:moveTo>
                <a:lnTo>
                  <a:pt x="5037" y="1833"/>
                </a:lnTo>
                <a:cubicBezTo>
                  <a:pt x="5040" y="1833"/>
                  <a:pt x="5056" y="1825"/>
                  <a:pt x="4807" y="1974"/>
                </a:cubicBezTo>
                <a:cubicBezTo>
                  <a:pt x="4682" y="2052"/>
                  <a:pt x="4577" y="2113"/>
                  <a:pt x="4577" y="2113"/>
                </a:cubicBezTo>
                <a:cubicBezTo>
                  <a:pt x="4571" y="2108"/>
                  <a:pt x="4410" y="1722"/>
                  <a:pt x="4413" y="1719"/>
                </a:cubicBezTo>
                <a:cubicBezTo>
                  <a:pt x="4413" y="1716"/>
                  <a:pt x="5034" y="1827"/>
                  <a:pt x="5037" y="1833"/>
                </a:cubicBezTo>
                <a:close/>
                <a:moveTo>
                  <a:pt x="4333" y="1725"/>
                </a:moveTo>
                <a:lnTo>
                  <a:pt x="4333" y="1725"/>
                </a:lnTo>
                <a:cubicBezTo>
                  <a:pt x="4333" y="1730"/>
                  <a:pt x="4102" y="2035"/>
                  <a:pt x="4094" y="2038"/>
                </a:cubicBezTo>
                <a:cubicBezTo>
                  <a:pt x="4088" y="2041"/>
                  <a:pt x="2591" y="2169"/>
                  <a:pt x="2580" y="2166"/>
                </a:cubicBezTo>
                <a:cubicBezTo>
                  <a:pt x="2574" y="2166"/>
                  <a:pt x="4302" y="1728"/>
                  <a:pt x="4330" y="1722"/>
                </a:cubicBezTo>
                <a:lnTo>
                  <a:pt x="4333" y="1725"/>
                </a:lnTo>
                <a:close/>
                <a:moveTo>
                  <a:pt x="2788" y="1758"/>
                </a:moveTo>
                <a:lnTo>
                  <a:pt x="2788" y="1758"/>
                </a:lnTo>
                <a:cubicBezTo>
                  <a:pt x="2779" y="1778"/>
                  <a:pt x="2768" y="1794"/>
                  <a:pt x="2768" y="1794"/>
                </a:cubicBezTo>
                <a:cubicBezTo>
                  <a:pt x="2765" y="1797"/>
                  <a:pt x="2721" y="1833"/>
                  <a:pt x="2671" y="1872"/>
                </a:cubicBezTo>
                <a:cubicBezTo>
                  <a:pt x="2585" y="1941"/>
                  <a:pt x="2560" y="1955"/>
                  <a:pt x="2549" y="1952"/>
                </a:cubicBezTo>
                <a:cubicBezTo>
                  <a:pt x="2544" y="1949"/>
                  <a:pt x="2796" y="1728"/>
                  <a:pt x="2801" y="1728"/>
                </a:cubicBezTo>
                <a:cubicBezTo>
                  <a:pt x="2804" y="1728"/>
                  <a:pt x="2799" y="1741"/>
                  <a:pt x="2788" y="1758"/>
                </a:cubicBezTo>
                <a:close/>
                <a:moveTo>
                  <a:pt x="6823" y="1780"/>
                </a:moveTo>
                <a:lnTo>
                  <a:pt x="6823" y="1780"/>
                </a:lnTo>
                <a:cubicBezTo>
                  <a:pt x="6937" y="1811"/>
                  <a:pt x="7034" y="1836"/>
                  <a:pt x="7037" y="1839"/>
                </a:cubicBezTo>
                <a:cubicBezTo>
                  <a:pt x="7040" y="1839"/>
                  <a:pt x="7037" y="1858"/>
                  <a:pt x="7034" y="1883"/>
                </a:cubicBezTo>
                <a:cubicBezTo>
                  <a:pt x="7029" y="1919"/>
                  <a:pt x="7026" y="1927"/>
                  <a:pt x="7020" y="1927"/>
                </a:cubicBezTo>
                <a:cubicBezTo>
                  <a:pt x="7012" y="1925"/>
                  <a:pt x="6613" y="1733"/>
                  <a:pt x="6610" y="1730"/>
                </a:cubicBezTo>
                <a:cubicBezTo>
                  <a:pt x="6607" y="1728"/>
                  <a:pt x="6607" y="1728"/>
                  <a:pt x="6607" y="1728"/>
                </a:cubicBezTo>
                <a:cubicBezTo>
                  <a:pt x="6610" y="1728"/>
                  <a:pt x="6707" y="1750"/>
                  <a:pt x="6823" y="1780"/>
                </a:cubicBezTo>
                <a:close/>
                <a:moveTo>
                  <a:pt x="4457" y="1925"/>
                </a:moveTo>
                <a:lnTo>
                  <a:pt x="4457" y="1925"/>
                </a:lnTo>
                <a:cubicBezTo>
                  <a:pt x="4499" y="2027"/>
                  <a:pt x="4535" y="2113"/>
                  <a:pt x="4535" y="2116"/>
                </a:cubicBezTo>
                <a:cubicBezTo>
                  <a:pt x="4535" y="2116"/>
                  <a:pt x="4532" y="2119"/>
                  <a:pt x="4530" y="2116"/>
                </a:cubicBezTo>
                <a:cubicBezTo>
                  <a:pt x="4488" y="2105"/>
                  <a:pt x="4416" y="2091"/>
                  <a:pt x="4291" y="2069"/>
                </a:cubicBezTo>
                <a:cubicBezTo>
                  <a:pt x="4208" y="2055"/>
                  <a:pt x="4141" y="2044"/>
                  <a:pt x="4141" y="2044"/>
                </a:cubicBezTo>
                <a:cubicBezTo>
                  <a:pt x="4141" y="2041"/>
                  <a:pt x="4191" y="1972"/>
                  <a:pt x="4258" y="1886"/>
                </a:cubicBezTo>
                <a:cubicBezTo>
                  <a:pt x="4321" y="1800"/>
                  <a:pt x="4377" y="1730"/>
                  <a:pt x="4377" y="1733"/>
                </a:cubicBezTo>
                <a:cubicBezTo>
                  <a:pt x="4377" y="1733"/>
                  <a:pt x="4416" y="1819"/>
                  <a:pt x="4457" y="1925"/>
                </a:cubicBezTo>
                <a:close/>
                <a:moveTo>
                  <a:pt x="8859" y="1958"/>
                </a:moveTo>
                <a:lnTo>
                  <a:pt x="8859" y="1958"/>
                </a:lnTo>
                <a:cubicBezTo>
                  <a:pt x="8859" y="1961"/>
                  <a:pt x="8831" y="1977"/>
                  <a:pt x="8740" y="2024"/>
                </a:cubicBezTo>
                <a:cubicBezTo>
                  <a:pt x="8679" y="2058"/>
                  <a:pt x="8576" y="2119"/>
                  <a:pt x="8429" y="2210"/>
                </a:cubicBezTo>
                <a:cubicBezTo>
                  <a:pt x="8307" y="2285"/>
                  <a:pt x="8205" y="2349"/>
                  <a:pt x="8205" y="2349"/>
                </a:cubicBezTo>
                <a:cubicBezTo>
                  <a:pt x="8202" y="2349"/>
                  <a:pt x="8202" y="2338"/>
                  <a:pt x="8202" y="2324"/>
                </a:cubicBezTo>
                <a:cubicBezTo>
                  <a:pt x="8202" y="2310"/>
                  <a:pt x="8210" y="2174"/>
                  <a:pt x="8216" y="2027"/>
                </a:cubicBezTo>
                <a:cubicBezTo>
                  <a:pt x="8221" y="1877"/>
                  <a:pt x="8227" y="1753"/>
                  <a:pt x="8227" y="1750"/>
                </a:cubicBezTo>
                <a:cubicBezTo>
                  <a:pt x="8230" y="1747"/>
                  <a:pt x="8338" y="1780"/>
                  <a:pt x="8543" y="1850"/>
                </a:cubicBezTo>
                <a:cubicBezTo>
                  <a:pt x="8715" y="1908"/>
                  <a:pt x="8857" y="1958"/>
                  <a:pt x="8859" y="1958"/>
                </a:cubicBezTo>
                <a:close/>
                <a:moveTo>
                  <a:pt x="2277" y="1850"/>
                </a:moveTo>
                <a:lnTo>
                  <a:pt x="2277" y="1850"/>
                </a:lnTo>
                <a:cubicBezTo>
                  <a:pt x="2280" y="1902"/>
                  <a:pt x="2280" y="1947"/>
                  <a:pt x="2280" y="1947"/>
                </a:cubicBezTo>
                <a:cubicBezTo>
                  <a:pt x="2277" y="1947"/>
                  <a:pt x="2161" y="2016"/>
                  <a:pt x="2017" y="2102"/>
                </a:cubicBezTo>
                <a:cubicBezTo>
                  <a:pt x="1875" y="2185"/>
                  <a:pt x="1750" y="2257"/>
                  <a:pt x="1745" y="2263"/>
                </a:cubicBezTo>
                <a:cubicBezTo>
                  <a:pt x="1736" y="2268"/>
                  <a:pt x="1731" y="2268"/>
                  <a:pt x="1734" y="2266"/>
                </a:cubicBezTo>
                <a:cubicBezTo>
                  <a:pt x="1734" y="2263"/>
                  <a:pt x="2269" y="1753"/>
                  <a:pt x="2272" y="1753"/>
                </a:cubicBezTo>
                <a:cubicBezTo>
                  <a:pt x="2274" y="1753"/>
                  <a:pt x="2274" y="1794"/>
                  <a:pt x="2277" y="1850"/>
                </a:cubicBezTo>
                <a:close/>
                <a:moveTo>
                  <a:pt x="7206" y="1794"/>
                </a:moveTo>
                <a:lnTo>
                  <a:pt x="7206" y="1794"/>
                </a:lnTo>
                <a:cubicBezTo>
                  <a:pt x="7248" y="1819"/>
                  <a:pt x="7284" y="1839"/>
                  <a:pt x="7284" y="1839"/>
                </a:cubicBezTo>
                <a:cubicBezTo>
                  <a:pt x="7281" y="1841"/>
                  <a:pt x="7092" y="1811"/>
                  <a:pt x="7092" y="1811"/>
                </a:cubicBezTo>
                <a:cubicBezTo>
                  <a:pt x="7090" y="1808"/>
                  <a:pt x="7120" y="1753"/>
                  <a:pt x="7123" y="1753"/>
                </a:cubicBezTo>
                <a:cubicBezTo>
                  <a:pt x="7126" y="1753"/>
                  <a:pt x="7162" y="1772"/>
                  <a:pt x="7206" y="1794"/>
                </a:cubicBezTo>
                <a:close/>
                <a:moveTo>
                  <a:pt x="8191" y="1783"/>
                </a:moveTo>
                <a:lnTo>
                  <a:pt x="8191" y="1783"/>
                </a:lnTo>
                <a:cubicBezTo>
                  <a:pt x="8188" y="1822"/>
                  <a:pt x="8166" y="2313"/>
                  <a:pt x="8166" y="2332"/>
                </a:cubicBezTo>
                <a:cubicBezTo>
                  <a:pt x="8166" y="2343"/>
                  <a:pt x="8166" y="2349"/>
                  <a:pt x="8163" y="2346"/>
                </a:cubicBezTo>
                <a:cubicBezTo>
                  <a:pt x="8152" y="2343"/>
                  <a:pt x="7708" y="2049"/>
                  <a:pt x="7711" y="2047"/>
                </a:cubicBezTo>
                <a:cubicBezTo>
                  <a:pt x="7711" y="2044"/>
                  <a:pt x="8185" y="1755"/>
                  <a:pt x="8191" y="1755"/>
                </a:cubicBezTo>
                <a:cubicBezTo>
                  <a:pt x="8191" y="1755"/>
                  <a:pt x="8191" y="1766"/>
                  <a:pt x="8191" y="1783"/>
                </a:cubicBezTo>
                <a:close/>
                <a:moveTo>
                  <a:pt x="5714" y="1897"/>
                </a:moveTo>
                <a:lnTo>
                  <a:pt x="5714" y="1897"/>
                </a:lnTo>
                <a:cubicBezTo>
                  <a:pt x="5925" y="1972"/>
                  <a:pt x="6094" y="2033"/>
                  <a:pt x="6091" y="2033"/>
                </a:cubicBezTo>
                <a:cubicBezTo>
                  <a:pt x="6086" y="2033"/>
                  <a:pt x="5142" y="1905"/>
                  <a:pt x="5126" y="1902"/>
                </a:cubicBezTo>
                <a:cubicBezTo>
                  <a:pt x="5115" y="1900"/>
                  <a:pt x="5115" y="1900"/>
                  <a:pt x="5115" y="1900"/>
                </a:cubicBezTo>
                <a:cubicBezTo>
                  <a:pt x="5217" y="1830"/>
                  <a:pt x="5217" y="1830"/>
                  <a:pt x="5217" y="1830"/>
                </a:cubicBezTo>
                <a:cubicBezTo>
                  <a:pt x="5276" y="1791"/>
                  <a:pt x="5323" y="1761"/>
                  <a:pt x="5326" y="1761"/>
                </a:cubicBezTo>
                <a:cubicBezTo>
                  <a:pt x="5328" y="1761"/>
                  <a:pt x="5503" y="1822"/>
                  <a:pt x="5714" y="1897"/>
                </a:cubicBezTo>
                <a:close/>
                <a:moveTo>
                  <a:pt x="8743" y="1802"/>
                </a:moveTo>
                <a:lnTo>
                  <a:pt x="8743" y="1802"/>
                </a:lnTo>
                <a:cubicBezTo>
                  <a:pt x="8926" y="1825"/>
                  <a:pt x="9076" y="1844"/>
                  <a:pt x="9076" y="1844"/>
                </a:cubicBezTo>
                <a:cubicBezTo>
                  <a:pt x="9076" y="1847"/>
                  <a:pt x="9037" y="1866"/>
                  <a:pt x="8990" y="1891"/>
                </a:cubicBezTo>
                <a:cubicBezTo>
                  <a:pt x="8901" y="1933"/>
                  <a:pt x="8901" y="1933"/>
                  <a:pt x="8901" y="1933"/>
                </a:cubicBezTo>
                <a:cubicBezTo>
                  <a:pt x="8651" y="1850"/>
                  <a:pt x="8651" y="1850"/>
                  <a:pt x="8651" y="1850"/>
                </a:cubicBezTo>
                <a:cubicBezTo>
                  <a:pt x="8515" y="1805"/>
                  <a:pt x="8402" y="1764"/>
                  <a:pt x="8399" y="1764"/>
                </a:cubicBezTo>
                <a:cubicBezTo>
                  <a:pt x="8396" y="1761"/>
                  <a:pt x="8396" y="1761"/>
                  <a:pt x="8402" y="1761"/>
                </a:cubicBezTo>
                <a:cubicBezTo>
                  <a:pt x="8407" y="1761"/>
                  <a:pt x="8560" y="1780"/>
                  <a:pt x="8743" y="1802"/>
                </a:cubicBezTo>
                <a:close/>
                <a:moveTo>
                  <a:pt x="3961" y="1778"/>
                </a:moveTo>
                <a:lnTo>
                  <a:pt x="3961" y="1778"/>
                </a:lnTo>
                <a:cubicBezTo>
                  <a:pt x="3936" y="1789"/>
                  <a:pt x="2363" y="2180"/>
                  <a:pt x="2363" y="2177"/>
                </a:cubicBezTo>
                <a:cubicBezTo>
                  <a:pt x="2363" y="2171"/>
                  <a:pt x="2424" y="2016"/>
                  <a:pt x="2427" y="2013"/>
                </a:cubicBezTo>
                <a:cubicBezTo>
                  <a:pt x="2430" y="2011"/>
                  <a:pt x="3944" y="1775"/>
                  <a:pt x="3961" y="1775"/>
                </a:cubicBezTo>
                <a:cubicBezTo>
                  <a:pt x="3972" y="1775"/>
                  <a:pt x="3972" y="1775"/>
                  <a:pt x="3972" y="1775"/>
                </a:cubicBezTo>
                <a:cubicBezTo>
                  <a:pt x="3961" y="1778"/>
                  <a:pt x="3961" y="1778"/>
                  <a:pt x="3961" y="1778"/>
                </a:cubicBezTo>
                <a:close/>
                <a:moveTo>
                  <a:pt x="3664" y="1783"/>
                </a:moveTo>
                <a:lnTo>
                  <a:pt x="3664" y="1783"/>
                </a:lnTo>
                <a:cubicBezTo>
                  <a:pt x="3661" y="1786"/>
                  <a:pt x="3656" y="1786"/>
                  <a:pt x="3653" y="1783"/>
                </a:cubicBezTo>
                <a:cubicBezTo>
                  <a:pt x="3653" y="1783"/>
                  <a:pt x="3653" y="1783"/>
                  <a:pt x="3659" y="1783"/>
                </a:cubicBezTo>
                <a:cubicBezTo>
                  <a:pt x="3664" y="1783"/>
                  <a:pt x="3667" y="1783"/>
                  <a:pt x="3664" y="1783"/>
                </a:cubicBezTo>
                <a:close/>
                <a:moveTo>
                  <a:pt x="2613" y="1819"/>
                </a:moveTo>
                <a:lnTo>
                  <a:pt x="2613" y="1819"/>
                </a:lnTo>
                <a:cubicBezTo>
                  <a:pt x="2593" y="1836"/>
                  <a:pt x="2574" y="1847"/>
                  <a:pt x="2552" y="1855"/>
                </a:cubicBezTo>
                <a:cubicBezTo>
                  <a:pt x="2538" y="1858"/>
                  <a:pt x="2524" y="1863"/>
                  <a:pt x="2524" y="1861"/>
                </a:cubicBezTo>
                <a:cubicBezTo>
                  <a:pt x="2524" y="1861"/>
                  <a:pt x="2544" y="1850"/>
                  <a:pt x="2566" y="1839"/>
                </a:cubicBezTo>
                <a:cubicBezTo>
                  <a:pt x="2607" y="1816"/>
                  <a:pt x="2624" y="1811"/>
                  <a:pt x="2613" y="1819"/>
                </a:cubicBezTo>
                <a:close/>
                <a:moveTo>
                  <a:pt x="1986" y="1827"/>
                </a:moveTo>
                <a:lnTo>
                  <a:pt x="1986" y="1827"/>
                </a:lnTo>
                <a:cubicBezTo>
                  <a:pt x="1983" y="1830"/>
                  <a:pt x="1956" y="1872"/>
                  <a:pt x="1919" y="1919"/>
                </a:cubicBezTo>
                <a:cubicBezTo>
                  <a:pt x="1858" y="2005"/>
                  <a:pt x="1858" y="2005"/>
                  <a:pt x="1858" y="2005"/>
                </a:cubicBezTo>
                <a:cubicBezTo>
                  <a:pt x="1795" y="2049"/>
                  <a:pt x="1795" y="2049"/>
                  <a:pt x="1795" y="2049"/>
                </a:cubicBezTo>
                <a:cubicBezTo>
                  <a:pt x="1759" y="2074"/>
                  <a:pt x="1728" y="2091"/>
                  <a:pt x="1725" y="2091"/>
                </a:cubicBezTo>
                <a:cubicBezTo>
                  <a:pt x="1725" y="2091"/>
                  <a:pt x="1983" y="1822"/>
                  <a:pt x="1986" y="1822"/>
                </a:cubicBezTo>
                <a:cubicBezTo>
                  <a:pt x="1986" y="1822"/>
                  <a:pt x="1986" y="1825"/>
                  <a:pt x="1986" y="1827"/>
                </a:cubicBezTo>
                <a:close/>
                <a:moveTo>
                  <a:pt x="6601" y="1897"/>
                </a:moveTo>
                <a:lnTo>
                  <a:pt x="6601" y="1897"/>
                </a:lnTo>
                <a:cubicBezTo>
                  <a:pt x="6821" y="1936"/>
                  <a:pt x="7001" y="1969"/>
                  <a:pt x="7009" y="1969"/>
                </a:cubicBezTo>
                <a:cubicBezTo>
                  <a:pt x="7020" y="1972"/>
                  <a:pt x="7020" y="1972"/>
                  <a:pt x="7020" y="1972"/>
                </a:cubicBezTo>
                <a:cubicBezTo>
                  <a:pt x="7020" y="2088"/>
                  <a:pt x="7020" y="2088"/>
                  <a:pt x="7020" y="2088"/>
                </a:cubicBezTo>
                <a:cubicBezTo>
                  <a:pt x="7020" y="2155"/>
                  <a:pt x="7020" y="2207"/>
                  <a:pt x="7018" y="2207"/>
                </a:cubicBezTo>
                <a:cubicBezTo>
                  <a:pt x="7015" y="2207"/>
                  <a:pt x="6235" y="1844"/>
                  <a:pt x="6213" y="1833"/>
                </a:cubicBezTo>
                <a:cubicBezTo>
                  <a:pt x="6208" y="1830"/>
                  <a:pt x="6202" y="1827"/>
                  <a:pt x="6205" y="1827"/>
                </a:cubicBezTo>
                <a:cubicBezTo>
                  <a:pt x="6208" y="1827"/>
                  <a:pt x="6385" y="1858"/>
                  <a:pt x="6601" y="1897"/>
                </a:cubicBezTo>
                <a:close/>
                <a:moveTo>
                  <a:pt x="3254" y="1833"/>
                </a:moveTo>
                <a:lnTo>
                  <a:pt x="3254" y="1833"/>
                </a:lnTo>
                <a:cubicBezTo>
                  <a:pt x="3254" y="1833"/>
                  <a:pt x="3251" y="1833"/>
                  <a:pt x="3248" y="1833"/>
                </a:cubicBezTo>
                <a:cubicBezTo>
                  <a:pt x="3245" y="1830"/>
                  <a:pt x="3245" y="1830"/>
                  <a:pt x="3251" y="1830"/>
                </a:cubicBezTo>
                <a:cubicBezTo>
                  <a:pt x="3254" y="1830"/>
                  <a:pt x="3256" y="1830"/>
                  <a:pt x="3254" y="1833"/>
                </a:cubicBezTo>
                <a:close/>
                <a:moveTo>
                  <a:pt x="6471" y="2063"/>
                </a:moveTo>
                <a:lnTo>
                  <a:pt x="6471" y="2063"/>
                </a:lnTo>
                <a:cubicBezTo>
                  <a:pt x="6651" y="2174"/>
                  <a:pt x="6796" y="2268"/>
                  <a:pt x="6796" y="2268"/>
                </a:cubicBezTo>
                <a:cubicBezTo>
                  <a:pt x="6793" y="2268"/>
                  <a:pt x="6682" y="2224"/>
                  <a:pt x="6546" y="2169"/>
                </a:cubicBezTo>
                <a:cubicBezTo>
                  <a:pt x="6302" y="2069"/>
                  <a:pt x="6302" y="2069"/>
                  <a:pt x="6302" y="2069"/>
                </a:cubicBezTo>
                <a:cubicBezTo>
                  <a:pt x="6233" y="1977"/>
                  <a:pt x="6233" y="1977"/>
                  <a:pt x="6233" y="1977"/>
                </a:cubicBezTo>
                <a:cubicBezTo>
                  <a:pt x="6149" y="1869"/>
                  <a:pt x="6138" y="1855"/>
                  <a:pt x="6144" y="1855"/>
                </a:cubicBezTo>
                <a:cubicBezTo>
                  <a:pt x="6144" y="1855"/>
                  <a:pt x="6294" y="1949"/>
                  <a:pt x="6471" y="2063"/>
                </a:cubicBezTo>
                <a:close/>
                <a:moveTo>
                  <a:pt x="7248" y="1952"/>
                </a:moveTo>
                <a:lnTo>
                  <a:pt x="7248" y="1952"/>
                </a:lnTo>
                <a:cubicBezTo>
                  <a:pt x="7337" y="2002"/>
                  <a:pt x="7414" y="2047"/>
                  <a:pt x="7417" y="2049"/>
                </a:cubicBezTo>
                <a:cubicBezTo>
                  <a:pt x="7422" y="2055"/>
                  <a:pt x="7422" y="2055"/>
                  <a:pt x="7422" y="2055"/>
                </a:cubicBezTo>
                <a:cubicBezTo>
                  <a:pt x="7406" y="2049"/>
                  <a:pt x="7406" y="2049"/>
                  <a:pt x="7406" y="2049"/>
                </a:cubicBezTo>
                <a:cubicBezTo>
                  <a:pt x="7189" y="1985"/>
                  <a:pt x="7067" y="1947"/>
                  <a:pt x="7065" y="1944"/>
                </a:cubicBezTo>
                <a:cubicBezTo>
                  <a:pt x="7062" y="1944"/>
                  <a:pt x="7065" y="1922"/>
                  <a:pt x="7067" y="1900"/>
                </a:cubicBezTo>
                <a:cubicBezTo>
                  <a:pt x="7073" y="1855"/>
                  <a:pt x="7073" y="1855"/>
                  <a:pt x="7073" y="1855"/>
                </a:cubicBezTo>
                <a:cubicBezTo>
                  <a:pt x="7081" y="1858"/>
                  <a:pt x="7081" y="1858"/>
                  <a:pt x="7081" y="1858"/>
                </a:cubicBezTo>
                <a:cubicBezTo>
                  <a:pt x="7084" y="1858"/>
                  <a:pt x="7159" y="1900"/>
                  <a:pt x="7248" y="1952"/>
                </a:cubicBezTo>
                <a:close/>
                <a:moveTo>
                  <a:pt x="7439" y="1972"/>
                </a:moveTo>
                <a:lnTo>
                  <a:pt x="7439" y="1972"/>
                </a:lnTo>
                <a:cubicBezTo>
                  <a:pt x="7475" y="2016"/>
                  <a:pt x="7500" y="2052"/>
                  <a:pt x="7500" y="2055"/>
                </a:cubicBezTo>
                <a:cubicBezTo>
                  <a:pt x="7497" y="2055"/>
                  <a:pt x="7162" y="1863"/>
                  <a:pt x="7162" y="1861"/>
                </a:cubicBezTo>
                <a:cubicBezTo>
                  <a:pt x="7162" y="1858"/>
                  <a:pt x="7209" y="1863"/>
                  <a:pt x="7270" y="1875"/>
                </a:cubicBezTo>
                <a:cubicBezTo>
                  <a:pt x="7378" y="1891"/>
                  <a:pt x="7378" y="1891"/>
                  <a:pt x="7378" y="1891"/>
                </a:cubicBezTo>
                <a:cubicBezTo>
                  <a:pt x="7439" y="1972"/>
                  <a:pt x="7439" y="1972"/>
                  <a:pt x="7439" y="1972"/>
                </a:cubicBezTo>
                <a:close/>
                <a:moveTo>
                  <a:pt x="9904" y="2532"/>
                </a:moveTo>
                <a:lnTo>
                  <a:pt x="9904" y="2532"/>
                </a:lnTo>
                <a:cubicBezTo>
                  <a:pt x="10323" y="2906"/>
                  <a:pt x="10669" y="3214"/>
                  <a:pt x="10675" y="3220"/>
                </a:cubicBezTo>
                <a:cubicBezTo>
                  <a:pt x="10686" y="3231"/>
                  <a:pt x="10686" y="3231"/>
                  <a:pt x="10686" y="3231"/>
                </a:cubicBezTo>
                <a:cubicBezTo>
                  <a:pt x="10678" y="3228"/>
                  <a:pt x="10678" y="3228"/>
                  <a:pt x="10678" y="3228"/>
                </a:cubicBezTo>
                <a:cubicBezTo>
                  <a:pt x="10658" y="3217"/>
                  <a:pt x="8721" y="2088"/>
                  <a:pt x="8715" y="2083"/>
                </a:cubicBezTo>
                <a:cubicBezTo>
                  <a:pt x="8712" y="2080"/>
                  <a:pt x="8765" y="2052"/>
                  <a:pt x="8926" y="1969"/>
                </a:cubicBezTo>
                <a:cubicBezTo>
                  <a:pt x="9042" y="1905"/>
                  <a:pt x="9139" y="1855"/>
                  <a:pt x="9139" y="1855"/>
                </a:cubicBezTo>
                <a:cubicBezTo>
                  <a:pt x="9142" y="1855"/>
                  <a:pt x="9486" y="2160"/>
                  <a:pt x="9904" y="2532"/>
                </a:cubicBezTo>
                <a:close/>
                <a:moveTo>
                  <a:pt x="5018" y="1894"/>
                </a:moveTo>
                <a:lnTo>
                  <a:pt x="5018" y="1894"/>
                </a:lnTo>
                <a:cubicBezTo>
                  <a:pt x="5015" y="1897"/>
                  <a:pt x="4807" y="2180"/>
                  <a:pt x="4804" y="2182"/>
                </a:cubicBezTo>
                <a:cubicBezTo>
                  <a:pt x="4804" y="2185"/>
                  <a:pt x="4618" y="2138"/>
                  <a:pt x="4618" y="2135"/>
                </a:cubicBezTo>
                <a:cubicBezTo>
                  <a:pt x="4615" y="2135"/>
                  <a:pt x="4621" y="2130"/>
                  <a:pt x="4629" y="2127"/>
                </a:cubicBezTo>
                <a:cubicBezTo>
                  <a:pt x="4635" y="2121"/>
                  <a:pt x="4724" y="2066"/>
                  <a:pt x="4826" y="2005"/>
                </a:cubicBezTo>
                <a:cubicBezTo>
                  <a:pt x="4932" y="1941"/>
                  <a:pt x="5015" y="1888"/>
                  <a:pt x="5018" y="1888"/>
                </a:cubicBezTo>
                <a:cubicBezTo>
                  <a:pt x="5018" y="1888"/>
                  <a:pt x="5020" y="1891"/>
                  <a:pt x="5018" y="1894"/>
                </a:cubicBezTo>
                <a:close/>
                <a:moveTo>
                  <a:pt x="6690" y="2094"/>
                </a:moveTo>
                <a:lnTo>
                  <a:pt x="6690" y="2094"/>
                </a:lnTo>
                <a:cubicBezTo>
                  <a:pt x="6868" y="2177"/>
                  <a:pt x="7012" y="2246"/>
                  <a:pt x="7012" y="2249"/>
                </a:cubicBezTo>
                <a:cubicBezTo>
                  <a:pt x="7015" y="2255"/>
                  <a:pt x="6990" y="2343"/>
                  <a:pt x="6987" y="2343"/>
                </a:cubicBezTo>
                <a:cubicBezTo>
                  <a:pt x="6984" y="2343"/>
                  <a:pt x="6341" y="1938"/>
                  <a:pt x="6332" y="1930"/>
                </a:cubicBezTo>
                <a:cubicBezTo>
                  <a:pt x="6327" y="1925"/>
                  <a:pt x="6302" y="1913"/>
                  <a:pt x="6690" y="2094"/>
                </a:cubicBezTo>
                <a:close/>
                <a:moveTo>
                  <a:pt x="2419" y="1938"/>
                </a:moveTo>
                <a:lnTo>
                  <a:pt x="2419" y="1938"/>
                </a:lnTo>
                <a:cubicBezTo>
                  <a:pt x="2419" y="1941"/>
                  <a:pt x="2238" y="2108"/>
                  <a:pt x="2230" y="2116"/>
                </a:cubicBezTo>
                <a:cubicBezTo>
                  <a:pt x="2225" y="2119"/>
                  <a:pt x="2238" y="2105"/>
                  <a:pt x="2255" y="2083"/>
                </a:cubicBezTo>
                <a:cubicBezTo>
                  <a:pt x="2313" y="2022"/>
                  <a:pt x="2391" y="1947"/>
                  <a:pt x="2408" y="1941"/>
                </a:cubicBezTo>
                <a:cubicBezTo>
                  <a:pt x="2416" y="1938"/>
                  <a:pt x="2419" y="1936"/>
                  <a:pt x="2419" y="1938"/>
                </a:cubicBezTo>
                <a:close/>
                <a:moveTo>
                  <a:pt x="5398" y="2227"/>
                </a:moveTo>
                <a:lnTo>
                  <a:pt x="5398" y="2227"/>
                </a:lnTo>
                <a:cubicBezTo>
                  <a:pt x="5578" y="2382"/>
                  <a:pt x="5722" y="2513"/>
                  <a:pt x="5722" y="2513"/>
                </a:cubicBezTo>
                <a:cubicBezTo>
                  <a:pt x="5719" y="2513"/>
                  <a:pt x="5689" y="2501"/>
                  <a:pt x="5653" y="2485"/>
                </a:cubicBezTo>
                <a:cubicBezTo>
                  <a:pt x="5484" y="2410"/>
                  <a:pt x="5209" y="2307"/>
                  <a:pt x="5020" y="2249"/>
                </a:cubicBezTo>
                <a:cubicBezTo>
                  <a:pt x="4965" y="2232"/>
                  <a:pt x="4912" y="2216"/>
                  <a:pt x="4907" y="2213"/>
                </a:cubicBezTo>
                <a:cubicBezTo>
                  <a:pt x="4898" y="2210"/>
                  <a:pt x="4896" y="2207"/>
                  <a:pt x="4896" y="2205"/>
                </a:cubicBezTo>
                <a:cubicBezTo>
                  <a:pt x="4896" y="2202"/>
                  <a:pt x="4934" y="2141"/>
                  <a:pt x="4982" y="2069"/>
                </a:cubicBezTo>
                <a:cubicBezTo>
                  <a:pt x="5034" y="1988"/>
                  <a:pt x="5068" y="1941"/>
                  <a:pt x="5070" y="1941"/>
                </a:cubicBezTo>
                <a:cubicBezTo>
                  <a:pt x="5073" y="1944"/>
                  <a:pt x="5220" y="2071"/>
                  <a:pt x="5398" y="2227"/>
                </a:cubicBezTo>
                <a:close/>
                <a:moveTo>
                  <a:pt x="7550" y="1994"/>
                </a:moveTo>
                <a:lnTo>
                  <a:pt x="7550" y="1994"/>
                </a:lnTo>
                <a:cubicBezTo>
                  <a:pt x="7592" y="2019"/>
                  <a:pt x="7628" y="2038"/>
                  <a:pt x="7628" y="2041"/>
                </a:cubicBezTo>
                <a:cubicBezTo>
                  <a:pt x="7628" y="2044"/>
                  <a:pt x="7581" y="2094"/>
                  <a:pt x="7578" y="2091"/>
                </a:cubicBezTo>
                <a:cubicBezTo>
                  <a:pt x="7578" y="2091"/>
                  <a:pt x="7553" y="2060"/>
                  <a:pt x="7522" y="2022"/>
                </a:cubicBezTo>
                <a:cubicBezTo>
                  <a:pt x="7495" y="1985"/>
                  <a:pt x="7470" y="1952"/>
                  <a:pt x="7467" y="1949"/>
                </a:cubicBezTo>
                <a:cubicBezTo>
                  <a:pt x="7459" y="1941"/>
                  <a:pt x="7467" y="1944"/>
                  <a:pt x="7550" y="1994"/>
                </a:cubicBezTo>
                <a:close/>
                <a:moveTo>
                  <a:pt x="5833" y="2035"/>
                </a:moveTo>
                <a:lnTo>
                  <a:pt x="5833" y="2035"/>
                </a:lnTo>
                <a:cubicBezTo>
                  <a:pt x="6277" y="2096"/>
                  <a:pt x="6277" y="2096"/>
                  <a:pt x="6277" y="2096"/>
                </a:cubicBezTo>
                <a:cubicBezTo>
                  <a:pt x="6524" y="2221"/>
                  <a:pt x="6524" y="2221"/>
                  <a:pt x="6524" y="2221"/>
                </a:cubicBezTo>
                <a:cubicBezTo>
                  <a:pt x="6662" y="2288"/>
                  <a:pt x="6773" y="2346"/>
                  <a:pt x="6773" y="2346"/>
                </a:cubicBezTo>
                <a:cubicBezTo>
                  <a:pt x="6771" y="2349"/>
                  <a:pt x="5403" y="1983"/>
                  <a:pt x="5381" y="1974"/>
                </a:cubicBezTo>
                <a:cubicBezTo>
                  <a:pt x="5364" y="1972"/>
                  <a:pt x="5364" y="1972"/>
                  <a:pt x="5364" y="1972"/>
                </a:cubicBezTo>
                <a:cubicBezTo>
                  <a:pt x="5378" y="1972"/>
                  <a:pt x="5378" y="1972"/>
                  <a:pt x="5378" y="1972"/>
                </a:cubicBezTo>
                <a:cubicBezTo>
                  <a:pt x="5387" y="1974"/>
                  <a:pt x="5592" y="2002"/>
                  <a:pt x="5833" y="2035"/>
                </a:cubicBezTo>
                <a:close/>
                <a:moveTo>
                  <a:pt x="6083" y="2199"/>
                </a:moveTo>
                <a:lnTo>
                  <a:pt x="6083" y="2199"/>
                </a:lnTo>
                <a:cubicBezTo>
                  <a:pt x="6535" y="2321"/>
                  <a:pt x="6907" y="2421"/>
                  <a:pt x="6904" y="2421"/>
                </a:cubicBezTo>
                <a:cubicBezTo>
                  <a:pt x="6904" y="2424"/>
                  <a:pt x="6857" y="2460"/>
                  <a:pt x="6796" y="2504"/>
                </a:cubicBezTo>
                <a:cubicBezTo>
                  <a:pt x="6687" y="2585"/>
                  <a:pt x="6687" y="2585"/>
                  <a:pt x="6687" y="2585"/>
                </a:cubicBezTo>
                <a:cubicBezTo>
                  <a:pt x="6668" y="2618"/>
                  <a:pt x="6668" y="2618"/>
                  <a:pt x="6668" y="2618"/>
                </a:cubicBezTo>
                <a:cubicBezTo>
                  <a:pt x="6654" y="2637"/>
                  <a:pt x="6640" y="2657"/>
                  <a:pt x="6635" y="2662"/>
                </a:cubicBezTo>
                <a:cubicBezTo>
                  <a:pt x="6624" y="2673"/>
                  <a:pt x="6624" y="2673"/>
                  <a:pt x="6624" y="2673"/>
                </a:cubicBezTo>
                <a:cubicBezTo>
                  <a:pt x="6163" y="2440"/>
                  <a:pt x="6163" y="2440"/>
                  <a:pt x="6163" y="2440"/>
                </a:cubicBezTo>
                <a:cubicBezTo>
                  <a:pt x="5578" y="2149"/>
                  <a:pt x="5237" y="1977"/>
                  <a:pt x="5248" y="1980"/>
                </a:cubicBezTo>
                <a:cubicBezTo>
                  <a:pt x="5253" y="1980"/>
                  <a:pt x="5628" y="2080"/>
                  <a:pt x="6083" y="2199"/>
                </a:cubicBezTo>
                <a:close/>
                <a:moveTo>
                  <a:pt x="7151" y="2041"/>
                </a:moveTo>
                <a:lnTo>
                  <a:pt x="7151" y="2041"/>
                </a:lnTo>
                <a:cubicBezTo>
                  <a:pt x="7198" y="2069"/>
                  <a:pt x="7234" y="2091"/>
                  <a:pt x="7234" y="2094"/>
                </a:cubicBezTo>
                <a:cubicBezTo>
                  <a:pt x="7234" y="2096"/>
                  <a:pt x="7056" y="2205"/>
                  <a:pt x="7056" y="2202"/>
                </a:cubicBezTo>
                <a:cubicBezTo>
                  <a:pt x="7051" y="2199"/>
                  <a:pt x="7059" y="1988"/>
                  <a:pt x="7062" y="1988"/>
                </a:cubicBezTo>
                <a:cubicBezTo>
                  <a:pt x="7062" y="1991"/>
                  <a:pt x="7101" y="2013"/>
                  <a:pt x="7151" y="2041"/>
                </a:cubicBezTo>
                <a:close/>
                <a:moveTo>
                  <a:pt x="5853" y="2327"/>
                </a:moveTo>
                <a:lnTo>
                  <a:pt x="5853" y="2327"/>
                </a:lnTo>
                <a:cubicBezTo>
                  <a:pt x="6216" y="2507"/>
                  <a:pt x="6510" y="2657"/>
                  <a:pt x="6510" y="2657"/>
                </a:cubicBezTo>
                <a:cubicBezTo>
                  <a:pt x="6507" y="2659"/>
                  <a:pt x="5864" y="2568"/>
                  <a:pt x="5841" y="2562"/>
                </a:cubicBezTo>
                <a:cubicBezTo>
                  <a:pt x="5839" y="2562"/>
                  <a:pt x="5692" y="2435"/>
                  <a:pt x="5514" y="2282"/>
                </a:cubicBezTo>
                <a:cubicBezTo>
                  <a:pt x="5154" y="1966"/>
                  <a:pt x="5187" y="1997"/>
                  <a:pt x="5192" y="1997"/>
                </a:cubicBezTo>
                <a:cubicBezTo>
                  <a:pt x="5192" y="1997"/>
                  <a:pt x="5489" y="2144"/>
                  <a:pt x="5853" y="2327"/>
                </a:cubicBezTo>
                <a:close/>
                <a:moveTo>
                  <a:pt x="7392" y="2083"/>
                </a:moveTo>
                <a:lnTo>
                  <a:pt x="7392" y="2083"/>
                </a:lnTo>
                <a:cubicBezTo>
                  <a:pt x="7478" y="2110"/>
                  <a:pt x="7550" y="2133"/>
                  <a:pt x="7550" y="2135"/>
                </a:cubicBezTo>
                <a:cubicBezTo>
                  <a:pt x="7550" y="2138"/>
                  <a:pt x="7514" y="2202"/>
                  <a:pt x="7511" y="2207"/>
                </a:cubicBezTo>
                <a:cubicBezTo>
                  <a:pt x="7508" y="2207"/>
                  <a:pt x="7459" y="2177"/>
                  <a:pt x="7395" y="2141"/>
                </a:cubicBezTo>
                <a:cubicBezTo>
                  <a:pt x="7334" y="2102"/>
                  <a:pt x="7264" y="2060"/>
                  <a:pt x="7242" y="2049"/>
                </a:cubicBezTo>
                <a:cubicBezTo>
                  <a:pt x="7223" y="2038"/>
                  <a:pt x="7206" y="2027"/>
                  <a:pt x="7206" y="2027"/>
                </a:cubicBezTo>
                <a:cubicBezTo>
                  <a:pt x="7206" y="2027"/>
                  <a:pt x="7212" y="2027"/>
                  <a:pt x="7220" y="2030"/>
                </a:cubicBezTo>
                <a:cubicBezTo>
                  <a:pt x="7231" y="2033"/>
                  <a:pt x="7309" y="2058"/>
                  <a:pt x="7392" y="2083"/>
                </a:cubicBezTo>
                <a:close/>
                <a:moveTo>
                  <a:pt x="12489" y="2268"/>
                </a:moveTo>
                <a:lnTo>
                  <a:pt x="12489" y="2268"/>
                </a:lnTo>
                <a:cubicBezTo>
                  <a:pt x="12622" y="2388"/>
                  <a:pt x="12730" y="2485"/>
                  <a:pt x="12730" y="2488"/>
                </a:cubicBezTo>
                <a:cubicBezTo>
                  <a:pt x="12730" y="2488"/>
                  <a:pt x="12716" y="2479"/>
                  <a:pt x="12703" y="2468"/>
                </a:cubicBezTo>
                <a:cubicBezTo>
                  <a:pt x="12689" y="2454"/>
                  <a:pt x="12633" y="2410"/>
                  <a:pt x="12581" y="2368"/>
                </a:cubicBezTo>
                <a:cubicBezTo>
                  <a:pt x="12484" y="2288"/>
                  <a:pt x="12484" y="2288"/>
                  <a:pt x="12484" y="2288"/>
                </a:cubicBezTo>
                <a:cubicBezTo>
                  <a:pt x="12353" y="2160"/>
                  <a:pt x="12353" y="2160"/>
                  <a:pt x="12353" y="2160"/>
                </a:cubicBezTo>
                <a:cubicBezTo>
                  <a:pt x="12281" y="2091"/>
                  <a:pt x="12220" y="2030"/>
                  <a:pt x="12220" y="2027"/>
                </a:cubicBezTo>
                <a:cubicBezTo>
                  <a:pt x="12220" y="2027"/>
                  <a:pt x="12225" y="2030"/>
                  <a:pt x="12234" y="2038"/>
                </a:cubicBezTo>
                <a:cubicBezTo>
                  <a:pt x="12242" y="2047"/>
                  <a:pt x="12359" y="2152"/>
                  <a:pt x="12489" y="2268"/>
                </a:cubicBezTo>
                <a:close/>
                <a:moveTo>
                  <a:pt x="12325" y="2069"/>
                </a:moveTo>
                <a:lnTo>
                  <a:pt x="12325" y="2069"/>
                </a:lnTo>
                <a:cubicBezTo>
                  <a:pt x="12325" y="2071"/>
                  <a:pt x="12306" y="2058"/>
                  <a:pt x="12298" y="2047"/>
                </a:cubicBezTo>
                <a:cubicBezTo>
                  <a:pt x="12295" y="2044"/>
                  <a:pt x="12300" y="2047"/>
                  <a:pt x="12309" y="2052"/>
                </a:cubicBezTo>
                <a:cubicBezTo>
                  <a:pt x="12320" y="2060"/>
                  <a:pt x="12325" y="2069"/>
                  <a:pt x="12325" y="2069"/>
                </a:cubicBezTo>
                <a:close/>
                <a:moveTo>
                  <a:pt x="2069" y="2160"/>
                </a:moveTo>
                <a:lnTo>
                  <a:pt x="2069" y="2160"/>
                </a:lnTo>
                <a:cubicBezTo>
                  <a:pt x="2008" y="2221"/>
                  <a:pt x="1903" y="2324"/>
                  <a:pt x="1836" y="2393"/>
                </a:cubicBezTo>
                <a:cubicBezTo>
                  <a:pt x="1711" y="2515"/>
                  <a:pt x="1711" y="2515"/>
                  <a:pt x="1711" y="2515"/>
                </a:cubicBezTo>
                <a:cubicBezTo>
                  <a:pt x="1667" y="2446"/>
                  <a:pt x="1667" y="2446"/>
                  <a:pt x="1667" y="2446"/>
                </a:cubicBezTo>
                <a:cubicBezTo>
                  <a:pt x="1623" y="2377"/>
                  <a:pt x="1623" y="2377"/>
                  <a:pt x="1623" y="2377"/>
                </a:cubicBezTo>
                <a:cubicBezTo>
                  <a:pt x="1631" y="2371"/>
                  <a:pt x="1631" y="2371"/>
                  <a:pt x="1631" y="2371"/>
                </a:cubicBezTo>
                <a:cubicBezTo>
                  <a:pt x="1656" y="2354"/>
                  <a:pt x="2172" y="2052"/>
                  <a:pt x="2175" y="2052"/>
                </a:cubicBezTo>
                <a:cubicBezTo>
                  <a:pt x="2177" y="2052"/>
                  <a:pt x="2127" y="2102"/>
                  <a:pt x="2069" y="2160"/>
                </a:cubicBezTo>
                <a:close/>
                <a:moveTo>
                  <a:pt x="2344" y="2130"/>
                </a:moveTo>
                <a:lnTo>
                  <a:pt x="2344" y="2130"/>
                </a:lnTo>
                <a:cubicBezTo>
                  <a:pt x="2319" y="2194"/>
                  <a:pt x="2319" y="2194"/>
                  <a:pt x="2319" y="2194"/>
                </a:cubicBezTo>
                <a:cubicBezTo>
                  <a:pt x="2039" y="2382"/>
                  <a:pt x="2039" y="2382"/>
                  <a:pt x="2039" y="2382"/>
                </a:cubicBezTo>
                <a:cubicBezTo>
                  <a:pt x="1747" y="2573"/>
                  <a:pt x="1731" y="2585"/>
                  <a:pt x="1736" y="2579"/>
                </a:cubicBezTo>
                <a:cubicBezTo>
                  <a:pt x="1747" y="2568"/>
                  <a:pt x="2366" y="2058"/>
                  <a:pt x="2369" y="2060"/>
                </a:cubicBezTo>
                <a:cubicBezTo>
                  <a:pt x="2369" y="2060"/>
                  <a:pt x="2358" y="2094"/>
                  <a:pt x="2344" y="2130"/>
                </a:cubicBezTo>
                <a:close/>
                <a:moveTo>
                  <a:pt x="7830" y="2171"/>
                </a:moveTo>
                <a:lnTo>
                  <a:pt x="7830" y="2171"/>
                </a:lnTo>
                <a:cubicBezTo>
                  <a:pt x="7913" y="2227"/>
                  <a:pt x="7983" y="2271"/>
                  <a:pt x="7983" y="2274"/>
                </a:cubicBezTo>
                <a:cubicBezTo>
                  <a:pt x="7986" y="2277"/>
                  <a:pt x="7980" y="2274"/>
                  <a:pt x="7969" y="2271"/>
                </a:cubicBezTo>
                <a:cubicBezTo>
                  <a:pt x="7944" y="2260"/>
                  <a:pt x="7633" y="2130"/>
                  <a:pt x="7628" y="2127"/>
                </a:cubicBezTo>
                <a:cubicBezTo>
                  <a:pt x="7622" y="2124"/>
                  <a:pt x="7669" y="2069"/>
                  <a:pt x="7678" y="2071"/>
                </a:cubicBezTo>
                <a:cubicBezTo>
                  <a:pt x="7680" y="2071"/>
                  <a:pt x="7750" y="2119"/>
                  <a:pt x="7830" y="2171"/>
                </a:cubicBezTo>
                <a:close/>
                <a:moveTo>
                  <a:pt x="1864" y="2091"/>
                </a:moveTo>
                <a:lnTo>
                  <a:pt x="1864" y="2091"/>
                </a:lnTo>
                <a:cubicBezTo>
                  <a:pt x="1784" y="2169"/>
                  <a:pt x="1606" y="2338"/>
                  <a:pt x="1606" y="2335"/>
                </a:cubicBezTo>
                <a:cubicBezTo>
                  <a:pt x="1603" y="2335"/>
                  <a:pt x="1584" y="2277"/>
                  <a:pt x="1584" y="2268"/>
                </a:cubicBezTo>
                <a:cubicBezTo>
                  <a:pt x="1584" y="2263"/>
                  <a:pt x="1617" y="2241"/>
                  <a:pt x="1728" y="2169"/>
                </a:cubicBezTo>
                <a:cubicBezTo>
                  <a:pt x="1808" y="2116"/>
                  <a:pt x="1875" y="2074"/>
                  <a:pt x="1878" y="2074"/>
                </a:cubicBezTo>
                <a:cubicBezTo>
                  <a:pt x="1881" y="2074"/>
                  <a:pt x="1875" y="2080"/>
                  <a:pt x="1864" y="2091"/>
                </a:cubicBezTo>
                <a:close/>
                <a:moveTo>
                  <a:pt x="3750" y="3616"/>
                </a:moveTo>
                <a:lnTo>
                  <a:pt x="3750" y="3616"/>
                </a:lnTo>
                <a:cubicBezTo>
                  <a:pt x="3414" y="5153"/>
                  <a:pt x="3414" y="5153"/>
                  <a:pt x="3414" y="5153"/>
                </a:cubicBezTo>
                <a:cubicBezTo>
                  <a:pt x="3351" y="5658"/>
                  <a:pt x="3351" y="5658"/>
                  <a:pt x="3351" y="5658"/>
                </a:cubicBezTo>
                <a:cubicBezTo>
                  <a:pt x="3317" y="5935"/>
                  <a:pt x="3287" y="6165"/>
                  <a:pt x="3287" y="6168"/>
                </a:cubicBezTo>
                <a:cubicBezTo>
                  <a:pt x="3284" y="6174"/>
                  <a:pt x="2363" y="2271"/>
                  <a:pt x="2358" y="2232"/>
                </a:cubicBezTo>
                <a:cubicBezTo>
                  <a:pt x="2358" y="2224"/>
                  <a:pt x="2358" y="2221"/>
                  <a:pt x="2360" y="2221"/>
                </a:cubicBezTo>
                <a:cubicBezTo>
                  <a:pt x="2363" y="2221"/>
                  <a:pt x="2752" y="2188"/>
                  <a:pt x="3223" y="2149"/>
                </a:cubicBezTo>
                <a:cubicBezTo>
                  <a:pt x="3695" y="2108"/>
                  <a:pt x="4080" y="2077"/>
                  <a:pt x="4080" y="2077"/>
                </a:cubicBezTo>
                <a:cubicBezTo>
                  <a:pt x="4083" y="2077"/>
                  <a:pt x="3933" y="2770"/>
                  <a:pt x="3750" y="3616"/>
                </a:cubicBezTo>
                <a:close/>
                <a:moveTo>
                  <a:pt x="4277" y="2105"/>
                </a:moveTo>
                <a:lnTo>
                  <a:pt x="4277" y="2105"/>
                </a:lnTo>
                <a:cubicBezTo>
                  <a:pt x="4355" y="2121"/>
                  <a:pt x="4421" y="2133"/>
                  <a:pt x="4421" y="2133"/>
                </a:cubicBezTo>
                <a:cubicBezTo>
                  <a:pt x="4424" y="2135"/>
                  <a:pt x="3536" y="4790"/>
                  <a:pt x="3528" y="4806"/>
                </a:cubicBezTo>
                <a:cubicBezTo>
                  <a:pt x="3525" y="4817"/>
                  <a:pt x="3525" y="4817"/>
                  <a:pt x="3525" y="4817"/>
                </a:cubicBezTo>
                <a:cubicBezTo>
                  <a:pt x="3528" y="4806"/>
                  <a:pt x="3528" y="4806"/>
                  <a:pt x="3528" y="4806"/>
                </a:cubicBezTo>
                <a:cubicBezTo>
                  <a:pt x="3528" y="4792"/>
                  <a:pt x="4116" y="2088"/>
                  <a:pt x="4119" y="2083"/>
                </a:cubicBezTo>
                <a:cubicBezTo>
                  <a:pt x="4119" y="2080"/>
                  <a:pt x="4122" y="2077"/>
                  <a:pt x="4125" y="2077"/>
                </a:cubicBezTo>
                <a:cubicBezTo>
                  <a:pt x="4127" y="2077"/>
                  <a:pt x="4197" y="2091"/>
                  <a:pt x="4277" y="2105"/>
                </a:cubicBezTo>
                <a:close/>
                <a:moveTo>
                  <a:pt x="9406" y="3100"/>
                </a:moveTo>
                <a:lnTo>
                  <a:pt x="9406" y="3100"/>
                </a:lnTo>
                <a:cubicBezTo>
                  <a:pt x="9810" y="3650"/>
                  <a:pt x="10142" y="4099"/>
                  <a:pt x="10140" y="4099"/>
                </a:cubicBezTo>
                <a:cubicBezTo>
                  <a:pt x="10140" y="4099"/>
                  <a:pt x="10054" y="4024"/>
                  <a:pt x="9951" y="3933"/>
                </a:cubicBezTo>
                <a:cubicBezTo>
                  <a:pt x="9762" y="3766"/>
                  <a:pt x="9762" y="3766"/>
                  <a:pt x="9762" y="3766"/>
                </a:cubicBezTo>
                <a:cubicBezTo>
                  <a:pt x="9529" y="3505"/>
                  <a:pt x="9529" y="3505"/>
                  <a:pt x="9529" y="3505"/>
                </a:cubicBezTo>
                <a:cubicBezTo>
                  <a:pt x="9297" y="3242"/>
                  <a:pt x="9297" y="3242"/>
                  <a:pt x="9297" y="3242"/>
                </a:cubicBezTo>
                <a:cubicBezTo>
                  <a:pt x="8759" y="2820"/>
                  <a:pt x="8759" y="2820"/>
                  <a:pt x="8759" y="2820"/>
                </a:cubicBezTo>
                <a:cubicBezTo>
                  <a:pt x="8465" y="2585"/>
                  <a:pt x="8221" y="2393"/>
                  <a:pt x="8219" y="2390"/>
                </a:cubicBezTo>
                <a:cubicBezTo>
                  <a:pt x="8216" y="2385"/>
                  <a:pt x="8216" y="2382"/>
                  <a:pt x="8216" y="2382"/>
                </a:cubicBezTo>
                <a:cubicBezTo>
                  <a:pt x="8219" y="2382"/>
                  <a:pt x="8321" y="2318"/>
                  <a:pt x="8443" y="2244"/>
                </a:cubicBezTo>
                <a:cubicBezTo>
                  <a:pt x="8565" y="2166"/>
                  <a:pt x="8665" y="2105"/>
                  <a:pt x="8665" y="2105"/>
                </a:cubicBezTo>
                <a:cubicBezTo>
                  <a:pt x="8668" y="2105"/>
                  <a:pt x="9001" y="2551"/>
                  <a:pt x="9406" y="3100"/>
                </a:cubicBezTo>
                <a:close/>
                <a:moveTo>
                  <a:pt x="7323" y="2266"/>
                </a:moveTo>
                <a:lnTo>
                  <a:pt x="7323" y="2266"/>
                </a:lnTo>
                <a:cubicBezTo>
                  <a:pt x="7353" y="2346"/>
                  <a:pt x="7375" y="2413"/>
                  <a:pt x="7375" y="2413"/>
                </a:cubicBezTo>
                <a:cubicBezTo>
                  <a:pt x="7373" y="2415"/>
                  <a:pt x="7081" y="2244"/>
                  <a:pt x="7076" y="2238"/>
                </a:cubicBezTo>
                <a:cubicBezTo>
                  <a:pt x="7073" y="2235"/>
                  <a:pt x="7262" y="2119"/>
                  <a:pt x="7267" y="2119"/>
                </a:cubicBezTo>
                <a:cubicBezTo>
                  <a:pt x="7270" y="2121"/>
                  <a:pt x="7295" y="2185"/>
                  <a:pt x="7323" y="2266"/>
                </a:cubicBezTo>
                <a:close/>
                <a:moveTo>
                  <a:pt x="4876" y="2169"/>
                </a:moveTo>
                <a:lnTo>
                  <a:pt x="4876" y="2169"/>
                </a:lnTo>
                <a:cubicBezTo>
                  <a:pt x="4865" y="2182"/>
                  <a:pt x="4854" y="2196"/>
                  <a:pt x="4851" y="2196"/>
                </a:cubicBezTo>
                <a:cubicBezTo>
                  <a:pt x="4848" y="2196"/>
                  <a:pt x="4846" y="2194"/>
                  <a:pt x="4846" y="2194"/>
                </a:cubicBezTo>
                <a:cubicBezTo>
                  <a:pt x="4848" y="2185"/>
                  <a:pt x="4893" y="2135"/>
                  <a:pt x="4893" y="2138"/>
                </a:cubicBezTo>
                <a:cubicBezTo>
                  <a:pt x="4893" y="2138"/>
                  <a:pt x="4887" y="2152"/>
                  <a:pt x="4876" y="2169"/>
                </a:cubicBezTo>
                <a:close/>
                <a:moveTo>
                  <a:pt x="4629" y="2177"/>
                </a:moveTo>
                <a:lnTo>
                  <a:pt x="4629" y="2177"/>
                </a:lnTo>
                <a:cubicBezTo>
                  <a:pt x="4713" y="2199"/>
                  <a:pt x="4782" y="2216"/>
                  <a:pt x="4785" y="2218"/>
                </a:cubicBezTo>
                <a:cubicBezTo>
                  <a:pt x="4785" y="2218"/>
                  <a:pt x="4737" y="2368"/>
                  <a:pt x="4677" y="2549"/>
                </a:cubicBezTo>
                <a:cubicBezTo>
                  <a:pt x="4591" y="2809"/>
                  <a:pt x="4552" y="2931"/>
                  <a:pt x="4496" y="3128"/>
                </a:cubicBezTo>
                <a:cubicBezTo>
                  <a:pt x="4427" y="3364"/>
                  <a:pt x="4324" y="3705"/>
                  <a:pt x="4316" y="3716"/>
                </a:cubicBezTo>
                <a:cubicBezTo>
                  <a:pt x="4313" y="3719"/>
                  <a:pt x="4313" y="3716"/>
                  <a:pt x="4316" y="3705"/>
                </a:cubicBezTo>
                <a:cubicBezTo>
                  <a:pt x="4316" y="3697"/>
                  <a:pt x="4349" y="3345"/>
                  <a:pt x="4388" y="2926"/>
                </a:cubicBezTo>
                <a:cubicBezTo>
                  <a:pt x="4430" y="2507"/>
                  <a:pt x="4463" y="2160"/>
                  <a:pt x="4463" y="2152"/>
                </a:cubicBezTo>
                <a:cubicBezTo>
                  <a:pt x="4466" y="2146"/>
                  <a:pt x="4468" y="2141"/>
                  <a:pt x="4471" y="2141"/>
                </a:cubicBezTo>
                <a:cubicBezTo>
                  <a:pt x="4474" y="2141"/>
                  <a:pt x="4543" y="2158"/>
                  <a:pt x="4629" y="2177"/>
                </a:cubicBezTo>
                <a:close/>
                <a:moveTo>
                  <a:pt x="7406" y="2191"/>
                </a:moveTo>
                <a:lnTo>
                  <a:pt x="7406" y="2191"/>
                </a:lnTo>
                <a:cubicBezTo>
                  <a:pt x="7453" y="2216"/>
                  <a:pt x="7489" y="2241"/>
                  <a:pt x="7489" y="2244"/>
                </a:cubicBezTo>
                <a:cubicBezTo>
                  <a:pt x="7489" y="2249"/>
                  <a:pt x="7417" y="2407"/>
                  <a:pt x="7414" y="2407"/>
                </a:cubicBezTo>
                <a:cubicBezTo>
                  <a:pt x="7411" y="2407"/>
                  <a:pt x="7350" y="2241"/>
                  <a:pt x="7317" y="2146"/>
                </a:cubicBezTo>
                <a:cubicBezTo>
                  <a:pt x="7317" y="2144"/>
                  <a:pt x="7317" y="2141"/>
                  <a:pt x="7317" y="2141"/>
                </a:cubicBezTo>
                <a:cubicBezTo>
                  <a:pt x="7320" y="2141"/>
                  <a:pt x="7359" y="2163"/>
                  <a:pt x="7406" y="2191"/>
                </a:cubicBezTo>
                <a:close/>
                <a:moveTo>
                  <a:pt x="9776" y="2743"/>
                </a:moveTo>
                <a:lnTo>
                  <a:pt x="9776" y="2743"/>
                </a:lnTo>
                <a:cubicBezTo>
                  <a:pt x="10342" y="3073"/>
                  <a:pt x="10808" y="3345"/>
                  <a:pt x="10811" y="3347"/>
                </a:cubicBezTo>
                <a:cubicBezTo>
                  <a:pt x="10816" y="3353"/>
                  <a:pt x="10816" y="3353"/>
                  <a:pt x="10816" y="3353"/>
                </a:cubicBezTo>
                <a:cubicBezTo>
                  <a:pt x="10542" y="3777"/>
                  <a:pt x="10542" y="3777"/>
                  <a:pt x="10542" y="3777"/>
                </a:cubicBezTo>
                <a:cubicBezTo>
                  <a:pt x="10392" y="4013"/>
                  <a:pt x="10267" y="4204"/>
                  <a:pt x="10267" y="4202"/>
                </a:cubicBezTo>
                <a:cubicBezTo>
                  <a:pt x="10265" y="4202"/>
                  <a:pt x="8743" y="2149"/>
                  <a:pt x="8743" y="2146"/>
                </a:cubicBezTo>
                <a:cubicBezTo>
                  <a:pt x="8743" y="2144"/>
                  <a:pt x="8746" y="2144"/>
                  <a:pt x="8746" y="2144"/>
                </a:cubicBezTo>
                <a:cubicBezTo>
                  <a:pt x="8748" y="2144"/>
                  <a:pt x="9212" y="2415"/>
                  <a:pt x="9776" y="2743"/>
                </a:cubicBezTo>
                <a:close/>
                <a:moveTo>
                  <a:pt x="7714" y="2280"/>
                </a:moveTo>
                <a:lnTo>
                  <a:pt x="7714" y="2280"/>
                </a:lnTo>
                <a:cubicBezTo>
                  <a:pt x="7858" y="2427"/>
                  <a:pt x="7883" y="2454"/>
                  <a:pt x="7869" y="2446"/>
                </a:cubicBezTo>
                <a:cubicBezTo>
                  <a:pt x="7863" y="2440"/>
                  <a:pt x="7789" y="2393"/>
                  <a:pt x="7705" y="2338"/>
                </a:cubicBezTo>
                <a:cubicBezTo>
                  <a:pt x="7553" y="2235"/>
                  <a:pt x="7553" y="2235"/>
                  <a:pt x="7553" y="2235"/>
                </a:cubicBezTo>
                <a:cubicBezTo>
                  <a:pt x="7561" y="2224"/>
                  <a:pt x="7561" y="2224"/>
                  <a:pt x="7561" y="2224"/>
                </a:cubicBezTo>
                <a:cubicBezTo>
                  <a:pt x="7564" y="2218"/>
                  <a:pt x="7572" y="2202"/>
                  <a:pt x="7581" y="2188"/>
                </a:cubicBezTo>
                <a:cubicBezTo>
                  <a:pt x="7589" y="2174"/>
                  <a:pt x="7594" y="2163"/>
                  <a:pt x="7597" y="2163"/>
                </a:cubicBezTo>
                <a:cubicBezTo>
                  <a:pt x="7597" y="2163"/>
                  <a:pt x="7650" y="2216"/>
                  <a:pt x="7714" y="2280"/>
                </a:cubicBezTo>
                <a:close/>
                <a:moveTo>
                  <a:pt x="4837" y="2235"/>
                </a:moveTo>
                <a:lnTo>
                  <a:pt x="4837" y="2235"/>
                </a:lnTo>
                <a:cubicBezTo>
                  <a:pt x="4837" y="2246"/>
                  <a:pt x="4735" y="2593"/>
                  <a:pt x="4732" y="2590"/>
                </a:cubicBezTo>
                <a:cubicBezTo>
                  <a:pt x="4732" y="2590"/>
                  <a:pt x="4815" y="2246"/>
                  <a:pt x="4821" y="2230"/>
                </a:cubicBezTo>
                <a:cubicBezTo>
                  <a:pt x="4823" y="2224"/>
                  <a:pt x="4837" y="2230"/>
                  <a:pt x="4837" y="2235"/>
                </a:cubicBezTo>
                <a:close/>
                <a:moveTo>
                  <a:pt x="7955" y="2304"/>
                </a:moveTo>
                <a:lnTo>
                  <a:pt x="7955" y="2304"/>
                </a:lnTo>
                <a:cubicBezTo>
                  <a:pt x="8052" y="2343"/>
                  <a:pt x="8132" y="2379"/>
                  <a:pt x="8135" y="2379"/>
                </a:cubicBezTo>
                <a:cubicBezTo>
                  <a:pt x="8135" y="2382"/>
                  <a:pt x="8127" y="2396"/>
                  <a:pt x="8113" y="2410"/>
                </a:cubicBezTo>
                <a:cubicBezTo>
                  <a:pt x="8088" y="2438"/>
                  <a:pt x="8088" y="2438"/>
                  <a:pt x="8088" y="2438"/>
                </a:cubicBezTo>
                <a:cubicBezTo>
                  <a:pt x="7930" y="2332"/>
                  <a:pt x="7930" y="2332"/>
                  <a:pt x="7930" y="2332"/>
                </a:cubicBezTo>
                <a:cubicBezTo>
                  <a:pt x="7844" y="2277"/>
                  <a:pt x="7775" y="2230"/>
                  <a:pt x="7777" y="2230"/>
                </a:cubicBezTo>
                <a:cubicBezTo>
                  <a:pt x="7777" y="2230"/>
                  <a:pt x="7858" y="2263"/>
                  <a:pt x="7955" y="2304"/>
                </a:cubicBezTo>
                <a:close/>
                <a:moveTo>
                  <a:pt x="4982" y="2274"/>
                </a:moveTo>
                <a:lnTo>
                  <a:pt x="4982" y="2274"/>
                </a:lnTo>
                <a:cubicBezTo>
                  <a:pt x="5079" y="2304"/>
                  <a:pt x="5079" y="2304"/>
                  <a:pt x="5079" y="2304"/>
                </a:cubicBezTo>
                <a:cubicBezTo>
                  <a:pt x="5079" y="2313"/>
                  <a:pt x="5079" y="2313"/>
                  <a:pt x="5079" y="2313"/>
                </a:cubicBezTo>
                <a:cubicBezTo>
                  <a:pt x="5076" y="2318"/>
                  <a:pt x="4205" y="4595"/>
                  <a:pt x="4183" y="4654"/>
                </a:cubicBezTo>
                <a:cubicBezTo>
                  <a:pt x="4177" y="4662"/>
                  <a:pt x="4174" y="4670"/>
                  <a:pt x="4174" y="4668"/>
                </a:cubicBezTo>
                <a:cubicBezTo>
                  <a:pt x="4172" y="4668"/>
                  <a:pt x="4868" y="2266"/>
                  <a:pt x="4873" y="2249"/>
                </a:cubicBezTo>
                <a:cubicBezTo>
                  <a:pt x="4873" y="2246"/>
                  <a:pt x="4876" y="2244"/>
                  <a:pt x="4879" y="2244"/>
                </a:cubicBezTo>
                <a:cubicBezTo>
                  <a:pt x="4882" y="2244"/>
                  <a:pt x="4929" y="2257"/>
                  <a:pt x="4982" y="2274"/>
                </a:cubicBezTo>
                <a:close/>
                <a:moveTo>
                  <a:pt x="7902" y="2357"/>
                </a:moveTo>
                <a:lnTo>
                  <a:pt x="7902" y="2357"/>
                </a:lnTo>
                <a:cubicBezTo>
                  <a:pt x="7991" y="2415"/>
                  <a:pt x="8063" y="2463"/>
                  <a:pt x="8063" y="2463"/>
                </a:cubicBezTo>
                <a:cubicBezTo>
                  <a:pt x="8063" y="2465"/>
                  <a:pt x="8027" y="2524"/>
                  <a:pt x="8022" y="2532"/>
                </a:cubicBezTo>
                <a:cubicBezTo>
                  <a:pt x="8016" y="2537"/>
                  <a:pt x="8016" y="2537"/>
                  <a:pt x="8016" y="2537"/>
                </a:cubicBezTo>
                <a:cubicBezTo>
                  <a:pt x="7897" y="2418"/>
                  <a:pt x="7897" y="2418"/>
                  <a:pt x="7897" y="2418"/>
                </a:cubicBezTo>
                <a:cubicBezTo>
                  <a:pt x="7766" y="2282"/>
                  <a:pt x="7730" y="2246"/>
                  <a:pt x="7739" y="2249"/>
                </a:cubicBezTo>
                <a:cubicBezTo>
                  <a:pt x="7741" y="2252"/>
                  <a:pt x="7816" y="2299"/>
                  <a:pt x="7902" y="2357"/>
                </a:cubicBezTo>
                <a:close/>
                <a:moveTo>
                  <a:pt x="1908" y="4002"/>
                </a:moveTo>
                <a:lnTo>
                  <a:pt x="1908" y="4002"/>
                </a:lnTo>
                <a:cubicBezTo>
                  <a:pt x="1692" y="4959"/>
                  <a:pt x="1512" y="5746"/>
                  <a:pt x="1512" y="5752"/>
                </a:cubicBezTo>
                <a:cubicBezTo>
                  <a:pt x="1509" y="5763"/>
                  <a:pt x="1509" y="5763"/>
                  <a:pt x="1509" y="5763"/>
                </a:cubicBezTo>
                <a:cubicBezTo>
                  <a:pt x="1506" y="5746"/>
                  <a:pt x="1506" y="5746"/>
                  <a:pt x="1506" y="5746"/>
                </a:cubicBezTo>
                <a:cubicBezTo>
                  <a:pt x="1503" y="5738"/>
                  <a:pt x="1462" y="5117"/>
                  <a:pt x="1412" y="4368"/>
                </a:cubicBezTo>
                <a:cubicBezTo>
                  <a:pt x="1320" y="3003"/>
                  <a:pt x="1320" y="3003"/>
                  <a:pt x="1320" y="3003"/>
                </a:cubicBezTo>
                <a:cubicBezTo>
                  <a:pt x="1329" y="2998"/>
                  <a:pt x="1329" y="2998"/>
                  <a:pt x="1329" y="2998"/>
                </a:cubicBezTo>
                <a:cubicBezTo>
                  <a:pt x="1331" y="2995"/>
                  <a:pt x="1551" y="2826"/>
                  <a:pt x="1817" y="2623"/>
                </a:cubicBezTo>
                <a:cubicBezTo>
                  <a:pt x="2105" y="2402"/>
                  <a:pt x="2299" y="2257"/>
                  <a:pt x="2302" y="2260"/>
                </a:cubicBezTo>
                <a:cubicBezTo>
                  <a:pt x="2302" y="2263"/>
                  <a:pt x="2125" y="3048"/>
                  <a:pt x="1908" y="4002"/>
                </a:cubicBezTo>
                <a:close/>
                <a:moveTo>
                  <a:pt x="7178" y="2341"/>
                </a:moveTo>
                <a:lnTo>
                  <a:pt x="7178" y="2341"/>
                </a:lnTo>
                <a:cubicBezTo>
                  <a:pt x="7314" y="2421"/>
                  <a:pt x="7303" y="2413"/>
                  <a:pt x="7300" y="2415"/>
                </a:cubicBezTo>
                <a:cubicBezTo>
                  <a:pt x="7300" y="2418"/>
                  <a:pt x="7037" y="2366"/>
                  <a:pt x="7026" y="2360"/>
                </a:cubicBezTo>
                <a:cubicBezTo>
                  <a:pt x="7023" y="2360"/>
                  <a:pt x="7023" y="2349"/>
                  <a:pt x="7031" y="2327"/>
                </a:cubicBezTo>
                <a:cubicBezTo>
                  <a:pt x="7034" y="2310"/>
                  <a:pt x="7040" y="2288"/>
                  <a:pt x="7042" y="2280"/>
                </a:cubicBezTo>
                <a:cubicBezTo>
                  <a:pt x="7045" y="2271"/>
                  <a:pt x="7048" y="2266"/>
                  <a:pt x="7051" y="2266"/>
                </a:cubicBezTo>
                <a:cubicBezTo>
                  <a:pt x="7054" y="2268"/>
                  <a:pt x="7112" y="2299"/>
                  <a:pt x="7178" y="2341"/>
                </a:cubicBezTo>
                <a:close/>
                <a:moveTo>
                  <a:pt x="7678" y="2493"/>
                </a:moveTo>
                <a:lnTo>
                  <a:pt x="7678" y="2493"/>
                </a:lnTo>
                <a:cubicBezTo>
                  <a:pt x="7758" y="2612"/>
                  <a:pt x="7827" y="2709"/>
                  <a:pt x="7825" y="2709"/>
                </a:cubicBezTo>
                <a:cubicBezTo>
                  <a:pt x="7822" y="2712"/>
                  <a:pt x="7434" y="2454"/>
                  <a:pt x="7436" y="2449"/>
                </a:cubicBezTo>
                <a:cubicBezTo>
                  <a:pt x="7436" y="2446"/>
                  <a:pt x="7456" y="2404"/>
                  <a:pt x="7478" y="2357"/>
                </a:cubicBezTo>
                <a:cubicBezTo>
                  <a:pt x="7508" y="2291"/>
                  <a:pt x="7520" y="2271"/>
                  <a:pt x="7522" y="2274"/>
                </a:cubicBezTo>
                <a:cubicBezTo>
                  <a:pt x="7525" y="2277"/>
                  <a:pt x="7594" y="2377"/>
                  <a:pt x="7678" y="2493"/>
                </a:cubicBezTo>
                <a:close/>
                <a:moveTo>
                  <a:pt x="4338" y="3098"/>
                </a:moveTo>
                <a:lnTo>
                  <a:pt x="4338" y="3098"/>
                </a:lnTo>
                <a:cubicBezTo>
                  <a:pt x="4260" y="3894"/>
                  <a:pt x="4260" y="3894"/>
                  <a:pt x="4260" y="3894"/>
                </a:cubicBezTo>
                <a:cubicBezTo>
                  <a:pt x="3883" y="4454"/>
                  <a:pt x="3883" y="4454"/>
                  <a:pt x="3883" y="4454"/>
                </a:cubicBezTo>
                <a:cubicBezTo>
                  <a:pt x="3675" y="4765"/>
                  <a:pt x="3503" y="5020"/>
                  <a:pt x="3500" y="5023"/>
                </a:cubicBezTo>
                <a:cubicBezTo>
                  <a:pt x="3495" y="5028"/>
                  <a:pt x="3642" y="4584"/>
                  <a:pt x="4227" y="2834"/>
                </a:cubicBezTo>
                <a:cubicBezTo>
                  <a:pt x="4330" y="2532"/>
                  <a:pt x="4413" y="2288"/>
                  <a:pt x="4413" y="2293"/>
                </a:cubicBezTo>
                <a:cubicBezTo>
                  <a:pt x="4413" y="2296"/>
                  <a:pt x="4380" y="2659"/>
                  <a:pt x="4338" y="3098"/>
                </a:cubicBezTo>
                <a:close/>
                <a:moveTo>
                  <a:pt x="12661" y="2354"/>
                </a:moveTo>
                <a:lnTo>
                  <a:pt x="12661" y="2354"/>
                </a:lnTo>
                <a:cubicBezTo>
                  <a:pt x="12741" y="2413"/>
                  <a:pt x="12741" y="2413"/>
                  <a:pt x="12741" y="2413"/>
                </a:cubicBezTo>
                <a:cubicBezTo>
                  <a:pt x="12755" y="2432"/>
                  <a:pt x="12755" y="2432"/>
                  <a:pt x="12755" y="2432"/>
                </a:cubicBezTo>
                <a:cubicBezTo>
                  <a:pt x="12761" y="2443"/>
                  <a:pt x="12769" y="2460"/>
                  <a:pt x="12775" y="2468"/>
                </a:cubicBezTo>
                <a:cubicBezTo>
                  <a:pt x="12780" y="2476"/>
                  <a:pt x="12780" y="2482"/>
                  <a:pt x="12777" y="2479"/>
                </a:cubicBezTo>
                <a:cubicBezTo>
                  <a:pt x="12772" y="2476"/>
                  <a:pt x="12589" y="2313"/>
                  <a:pt x="12575" y="2299"/>
                </a:cubicBezTo>
                <a:cubicBezTo>
                  <a:pt x="12564" y="2285"/>
                  <a:pt x="12575" y="2293"/>
                  <a:pt x="12661" y="2354"/>
                </a:cubicBezTo>
                <a:close/>
                <a:moveTo>
                  <a:pt x="6859" y="2335"/>
                </a:moveTo>
                <a:lnTo>
                  <a:pt x="6859" y="2335"/>
                </a:lnTo>
                <a:cubicBezTo>
                  <a:pt x="6909" y="2357"/>
                  <a:pt x="6954" y="2374"/>
                  <a:pt x="6956" y="2377"/>
                </a:cubicBezTo>
                <a:cubicBezTo>
                  <a:pt x="6962" y="2379"/>
                  <a:pt x="6962" y="2379"/>
                  <a:pt x="6962" y="2379"/>
                </a:cubicBezTo>
                <a:cubicBezTo>
                  <a:pt x="6954" y="2385"/>
                  <a:pt x="6954" y="2385"/>
                  <a:pt x="6954" y="2385"/>
                </a:cubicBezTo>
                <a:cubicBezTo>
                  <a:pt x="6948" y="2393"/>
                  <a:pt x="6948" y="2393"/>
                  <a:pt x="6948" y="2393"/>
                </a:cubicBezTo>
                <a:cubicBezTo>
                  <a:pt x="6854" y="2346"/>
                  <a:pt x="6854" y="2346"/>
                  <a:pt x="6854" y="2346"/>
                </a:cubicBezTo>
                <a:cubicBezTo>
                  <a:pt x="6804" y="2321"/>
                  <a:pt x="6762" y="2299"/>
                  <a:pt x="6762" y="2296"/>
                </a:cubicBezTo>
                <a:lnTo>
                  <a:pt x="6765" y="2296"/>
                </a:lnTo>
                <a:cubicBezTo>
                  <a:pt x="6768" y="2299"/>
                  <a:pt x="6812" y="2316"/>
                  <a:pt x="6859" y="2335"/>
                </a:cubicBezTo>
                <a:close/>
                <a:moveTo>
                  <a:pt x="1567" y="2338"/>
                </a:moveTo>
                <a:lnTo>
                  <a:pt x="1567" y="2338"/>
                </a:lnTo>
                <a:cubicBezTo>
                  <a:pt x="1575" y="2368"/>
                  <a:pt x="1575" y="2368"/>
                  <a:pt x="1575" y="2368"/>
                </a:cubicBezTo>
                <a:cubicBezTo>
                  <a:pt x="1476" y="2537"/>
                  <a:pt x="1476" y="2537"/>
                  <a:pt x="1476" y="2537"/>
                </a:cubicBezTo>
                <a:cubicBezTo>
                  <a:pt x="1384" y="2696"/>
                  <a:pt x="1362" y="2729"/>
                  <a:pt x="1368" y="2718"/>
                </a:cubicBezTo>
                <a:cubicBezTo>
                  <a:pt x="1368" y="2712"/>
                  <a:pt x="1556" y="2307"/>
                  <a:pt x="1556" y="2307"/>
                </a:cubicBezTo>
                <a:cubicBezTo>
                  <a:pt x="1556" y="2307"/>
                  <a:pt x="1562" y="2321"/>
                  <a:pt x="1567" y="2338"/>
                </a:cubicBezTo>
                <a:close/>
                <a:moveTo>
                  <a:pt x="7800" y="2440"/>
                </a:moveTo>
                <a:lnTo>
                  <a:pt x="7800" y="2440"/>
                </a:lnTo>
                <a:cubicBezTo>
                  <a:pt x="7997" y="2573"/>
                  <a:pt x="7997" y="2573"/>
                  <a:pt x="7997" y="2573"/>
                </a:cubicBezTo>
                <a:cubicBezTo>
                  <a:pt x="7980" y="2607"/>
                  <a:pt x="7980" y="2607"/>
                  <a:pt x="7980" y="2607"/>
                </a:cubicBezTo>
                <a:cubicBezTo>
                  <a:pt x="7969" y="2623"/>
                  <a:pt x="7949" y="2662"/>
                  <a:pt x="7933" y="2693"/>
                </a:cubicBezTo>
                <a:cubicBezTo>
                  <a:pt x="7916" y="2723"/>
                  <a:pt x="7902" y="2748"/>
                  <a:pt x="7900" y="2748"/>
                </a:cubicBezTo>
                <a:cubicBezTo>
                  <a:pt x="7900" y="2748"/>
                  <a:pt x="7830" y="2651"/>
                  <a:pt x="7750" y="2537"/>
                </a:cubicBezTo>
                <a:cubicBezTo>
                  <a:pt x="7669" y="2421"/>
                  <a:pt x="7600" y="2321"/>
                  <a:pt x="7597" y="2316"/>
                </a:cubicBezTo>
                <a:cubicBezTo>
                  <a:pt x="7592" y="2310"/>
                  <a:pt x="7592" y="2307"/>
                  <a:pt x="7594" y="2307"/>
                </a:cubicBezTo>
                <a:cubicBezTo>
                  <a:pt x="7597" y="2310"/>
                  <a:pt x="7689" y="2368"/>
                  <a:pt x="7800" y="2440"/>
                </a:cubicBezTo>
                <a:close/>
                <a:moveTo>
                  <a:pt x="5220" y="2354"/>
                </a:moveTo>
                <a:lnTo>
                  <a:pt x="5220" y="2354"/>
                </a:lnTo>
                <a:cubicBezTo>
                  <a:pt x="5276" y="2374"/>
                  <a:pt x="5323" y="2390"/>
                  <a:pt x="5326" y="2390"/>
                </a:cubicBezTo>
                <a:cubicBezTo>
                  <a:pt x="5326" y="2393"/>
                  <a:pt x="4518" y="4781"/>
                  <a:pt x="4504" y="4812"/>
                </a:cubicBezTo>
                <a:cubicBezTo>
                  <a:pt x="4496" y="4826"/>
                  <a:pt x="4496" y="4831"/>
                  <a:pt x="4524" y="4720"/>
                </a:cubicBezTo>
                <a:cubicBezTo>
                  <a:pt x="4568" y="4537"/>
                  <a:pt x="5115" y="2321"/>
                  <a:pt x="5115" y="2321"/>
                </a:cubicBezTo>
                <a:cubicBezTo>
                  <a:pt x="5115" y="2316"/>
                  <a:pt x="5120" y="2318"/>
                  <a:pt x="5220" y="2354"/>
                </a:cubicBezTo>
                <a:close/>
                <a:moveTo>
                  <a:pt x="13052" y="3125"/>
                </a:moveTo>
                <a:lnTo>
                  <a:pt x="13052" y="3125"/>
                </a:lnTo>
                <a:cubicBezTo>
                  <a:pt x="13354" y="3542"/>
                  <a:pt x="13604" y="3883"/>
                  <a:pt x="13601" y="3883"/>
                </a:cubicBezTo>
                <a:cubicBezTo>
                  <a:pt x="13601" y="3885"/>
                  <a:pt x="13335" y="3719"/>
                  <a:pt x="13008" y="3516"/>
                </a:cubicBezTo>
                <a:cubicBezTo>
                  <a:pt x="12680" y="3311"/>
                  <a:pt x="12411" y="3145"/>
                  <a:pt x="12409" y="3142"/>
                </a:cubicBezTo>
                <a:cubicBezTo>
                  <a:pt x="12406" y="3142"/>
                  <a:pt x="12411" y="3064"/>
                  <a:pt x="12445" y="2757"/>
                </a:cubicBezTo>
                <a:cubicBezTo>
                  <a:pt x="12467" y="2549"/>
                  <a:pt x="12486" y="2371"/>
                  <a:pt x="12489" y="2366"/>
                </a:cubicBezTo>
                <a:cubicBezTo>
                  <a:pt x="12489" y="2357"/>
                  <a:pt x="12489" y="2357"/>
                  <a:pt x="12489" y="2357"/>
                </a:cubicBezTo>
                <a:cubicBezTo>
                  <a:pt x="12495" y="2363"/>
                  <a:pt x="12495" y="2363"/>
                  <a:pt x="12495" y="2363"/>
                </a:cubicBezTo>
                <a:cubicBezTo>
                  <a:pt x="12497" y="2366"/>
                  <a:pt x="12747" y="2709"/>
                  <a:pt x="13052" y="3125"/>
                </a:cubicBezTo>
                <a:close/>
                <a:moveTo>
                  <a:pt x="2793" y="4243"/>
                </a:moveTo>
                <a:lnTo>
                  <a:pt x="2793" y="4243"/>
                </a:lnTo>
                <a:cubicBezTo>
                  <a:pt x="3034" y="5272"/>
                  <a:pt x="3234" y="6118"/>
                  <a:pt x="3231" y="6118"/>
                </a:cubicBezTo>
                <a:cubicBezTo>
                  <a:pt x="3231" y="6118"/>
                  <a:pt x="3201" y="6057"/>
                  <a:pt x="3162" y="5982"/>
                </a:cubicBezTo>
                <a:cubicBezTo>
                  <a:pt x="3123" y="5907"/>
                  <a:pt x="2918" y="5494"/>
                  <a:pt x="2704" y="5064"/>
                </a:cubicBezTo>
                <a:cubicBezTo>
                  <a:pt x="2319" y="4285"/>
                  <a:pt x="2319" y="4285"/>
                  <a:pt x="2319" y="4285"/>
                </a:cubicBezTo>
                <a:cubicBezTo>
                  <a:pt x="2333" y="3325"/>
                  <a:pt x="2333" y="3325"/>
                  <a:pt x="2333" y="3325"/>
                </a:cubicBezTo>
                <a:cubicBezTo>
                  <a:pt x="2341" y="2798"/>
                  <a:pt x="2349" y="2368"/>
                  <a:pt x="2349" y="2366"/>
                </a:cubicBezTo>
                <a:cubicBezTo>
                  <a:pt x="2349" y="2366"/>
                  <a:pt x="2349" y="2366"/>
                  <a:pt x="2352" y="2366"/>
                </a:cubicBezTo>
                <a:cubicBezTo>
                  <a:pt x="2352" y="2368"/>
                  <a:pt x="2552" y="3211"/>
                  <a:pt x="2793" y="4243"/>
                </a:cubicBezTo>
                <a:close/>
                <a:moveTo>
                  <a:pt x="2297" y="3336"/>
                </a:moveTo>
                <a:lnTo>
                  <a:pt x="2297" y="3336"/>
                </a:lnTo>
                <a:cubicBezTo>
                  <a:pt x="2283" y="4279"/>
                  <a:pt x="2283" y="4279"/>
                  <a:pt x="2283" y="4279"/>
                </a:cubicBezTo>
                <a:cubicBezTo>
                  <a:pt x="1917" y="5011"/>
                  <a:pt x="1917" y="5011"/>
                  <a:pt x="1917" y="5011"/>
                </a:cubicBezTo>
                <a:cubicBezTo>
                  <a:pt x="1717" y="5414"/>
                  <a:pt x="1553" y="5741"/>
                  <a:pt x="1551" y="5738"/>
                </a:cubicBezTo>
                <a:cubicBezTo>
                  <a:pt x="1551" y="5738"/>
                  <a:pt x="2288" y="2476"/>
                  <a:pt x="2308" y="2399"/>
                </a:cubicBezTo>
                <a:cubicBezTo>
                  <a:pt x="2308" y="2396"/>
                  <a:pt x="2311" y="2390"/>
                  <a:pt x="2311" y="2393"/>
                </a:cubicBezTo>
                <a:cubicBezTo>
                  <a:pt x="2311" y="2393"/>
                  <a:pt x="2305" y="2818"/>
                  <a:pt x="2297" y="3336"/>
                </a:cubicBezTo>
                <a:close/>
                <a:moveTo>
                  <a:pt x="7045" y="2413"/>
                </a:moveTo>
                <a:lnTo>
                  <a:pt x="7045" y="2413"/>
                </a:lnTo>
                <a:cubicBezTo>
                  <a:pt x="7065" y="2424"/>
                  <a:pt x="7084" y="2432"/>
                  <a:pt x="7087" y="2435"/>
                </a:cubicBezTo>
                <a:cubicBezTo>
                  <a:pt x="7090" y="2438"/>
                  <a:pt x="7023" y="2418"/>
                  <a:pt x="6995" y="2410"/>
                </a:cubicBezTo>
                <a:cubicBezTo>
                  <a:pt x="6990" y="2407"/>
                  <a:pt x="6990" y="2407"/>
                  <a:pt x="6990" y="2407"/>
                </a:cubicBezTo>
                <a:cubicBezTo>
                  <a:pt x="6995" y="2402"/>
                  <a:pt x="6995" y="2402"/>
                  <a:pt x="6995" y="2402"/>
                </a:cubicBezTo>
                <a:cubicBezTo>
                  <a:pt x="6998" y="2399"/>
                  <a:pt x="7001" y="2396"/>
                  <a:pt x="7001" y="2396"/>
                </a:cubicBezTo>
                <a:cubicBezTo>
                  <a:pt x="7004" y="2396"/>
                  <a:pt x="7023" y="2404"/>
                  <a:pt x="7045" y="2413"/>
                </a:cubicBezTo>
                <a:close/>
                <a:moveTo>
                  <a:pt x="1642" y="2474"/>
                </a:moveTo>
                <a:lnTo>
                  <a:pt x="1642" y="2474"/>
                </a:lnTo>
                <a:cubicBezTo>
                  <a:pt x="1664" y="2507"/>
                  <a:pt x="1684" y="2537"/>
                  <a:pt x="1684" y="2540"/>
                </a:cubicBezTo>
                <a:cubicBezTo>
                  <a:pt x="1684" y="2543"/>
                  <a:pt x="1659" y="2573"/>
                  <a:pt x="1628" y="2607"/>
                </a:cubicBezTo>
                <a:cubicBezTo>
                  <a:pt x="1584" y="2654"/>
                  <a:pt x="1556" y="2682"/>
                  <a:pt x="1501" y="2729"/>
                </a:cubicBezTo>
                <a:cubicBezTo>
                  <a:pt x="1428" y="2787"/>
                  <a:pt x="1428" y="2787"/>
                  <a:pt x="1428" y="2787"/>
                </a:cubicBezTo>
                <a:cubicBezTo>
                  <a:pt x="1362" y="2879"/>
                  <a:pt x="1362" y="2879"/>
                  <a:pt x="1362" y="2879"/>
                </a:cubicBezTo>
                <a:cubicBezTo>
                  <a:pt x="1304" y="2962"/>
                  <a:pt x="1248" y="3031"/>
                  <a:pt x="1245" y="3026"/>
                </a:cubicBezTo>
                <a:cubicBezTo>
                  <a:pt x="1245" y="3026"/>
                  <a:pt x="1304" y="2920"/>
                  <a:pt x="1379" y="2790"/>
                </a:cubicBezTo>
                <a:cubicBezTo>
                  <a:pt x="1453" y="2659"/>
                  <a:pt x="1531" y="2521"/>
                  <a:pt x="1553" y="2479"/>
                </a:cubicBezTo>
                <a:cubicBezTo>
                  <a:pt x="1578" y="2440"/>
                  <a:pt x="1598" y="2407"/>
                  <a:pt x="1598" y="2410"/>
                </a:cubicBezTo>
                <a:cubicBezTo>
                  <a:pt x="1600" y="2410"/>
                  <a:pt x="1620" y="2440"/>
                  <a:pt x="1642" y="2474"/>
                </a:cubicBezTo>
                <a:close/>
                <a:moveTo>
                  <a:pt x="5453" y="2440"/>
                </a:moveTo>
                <a:lnTo>
                  <a:pt x="5453" y="2440"/>
                </a:lnTo>
                <a:cubicBezTo>
                  <a:pt x="5500" y="2460"/>
                  <a:pt x="5539" y="2474"/>
                  <a:pt x="5542" y="2476"/>
                </a:cubicBezTo>
                <a:cubicBezTo>
                  <a:pt x="5542" y="2476"/>
                  <a:pt x="5328" y="2978"/>
                  <a:pt x="5065" y="3594"/>
                </a:cubicBezTo>
                <a:cubicBezTo>
                  <a:pt x="4532" y="4842"/>
                  <a:pt x="4557" y="4781"/>
                  <a:pt x="4554" y="4781"/>
                </a:cubicBezTo>
                <a:cubicBezTo>
                  <a:pt x="4554" y="4778"/>
                  <a:pt x="5337" y="2468"/>
                  <a:pt x="5359" y="2410"/>
                </a:cubicBezTo>
                <a:cubicBezTo>
                  <a:pt x="5359" y="2410"/>
                  <a:pt x="5362" y="2407"/>
                  <a:pt x="5364" y="2407"/>
                </a:cubicBezTo>
                <a:cubicBezTo>
                  <a:pt x="5367" y="2407"/>
                  <a:pt x="5406" y="2421"/>
                  <a:pt x="5453" y="2440"/>
                </a:cubicBezTo>
                <a:close/>
                <a:moveTo>
                  <a:pt x="8637" y="2768"/>
                </a:moveTo>
                <a:lnTo>
                  <a:pt x="8637" y="2768"/>
                </a:lnTo>
                <a:cubicBezTo>
                  <a:pt x="8887" y="2965"/>
                  <a:pt x="9092" y="3128"/>
                  <a:pt x="9095" y="3131"/>
                </a:cubicBezTo>
                <a:cubicBezTo>
                  <a:pt x="9098" y="3134"/>
                  <a:pt x="9089" y="3131"/>
                  <a:pt x="9076" y="3123"/>
                </a:cubicBezTo>
                <a:cubicBezTo>
                  <a:pt x="8585" y="2856"/>
                  <a:pt x="8060" y="2571"/>
                  <a:pt x="8060" y="2571"/>
                </a:cubicBezTo>
                <a:cubicBezTo>
                  <a:pt x="8058" y="2571"/>
                  <a:pt x="8182" y="2410"/>
                  <a:pt x="8185" y="2410"/>
                </a:cubicBezTo>
                <a:cubicBezTo>
                  <a:pt x="8185" y="2410"/>
                  <a:pt x="8391" y="2571"/>
                  <a:pt x="8637" y="2768"/>
                </a:cubicBezTo>
                <a:close/>
                <a:moveTo>
                  <a:pt x="7270" y="2446"/>
                </a:moveTo>
                <a:lnTo>
                  <a:pt x="7270" y="2446"/>
                </a:lnTo>
                <a:cubicBezTo>
                  <a:pt x="7328" y="2460"/>
                  <a:pt x="7375" y="2468"/>
                  <a:pt x="7378" y="2471"/>
                </a:cubicBezTo>
                <a:cubicBezTo>
                  <a:pt x="7381" y="2474"/>
                  <a:pt x="7361" y="2507"/>
                  <a:pt x="7356" y="2513"/>
                </a:cubicBezTo>
                <a:cubicBezTo>
                  <a:pt x="7353" y="2515"/>
                  <a:pt x="7170" y="2432"/>
                  <a:pt x="7167" y="2429"/>
                </a:cubicBezTo>
                <a:cubicBezTo>
                  <a:pt x="7162" y="2424"/>
                  <a:pt x="7151" y="2421"/>
                  <a:pt x="7270" y="2446"/>
                </a:cubicBezTo>
                <a:close/>
                <a:moveTo>
                  <a:pt x="7078" y="2513"/>
                </a:moveTo>
                <a:lnTo>
                  <a:pt x="7078" y="2513"/>
                </a:lnTo>
                <a:cubicBezTo>
                  <a:pt x="7148" y="2551"/>
                  <a:pt x="7201" y="2585"/>
                  <a:pt x="7201" y="2587"/>
                </a:cubicBezTo>
                <a:cubicBezTo>
                  <a:pt x="7198" y="2587"/>
                  <a:pt x="6760" y="2582"/>
                  <a:pt x="6760" y="2579"/>
                </a:cubicBezTo>
                <a:cubicBezTo>
                  <a:pt x="6757" y="2576"/>
                  <a:pt x="6945" y="2438"/>
                  <a:pt x="6951" y="2438"/>
                </a:cubicBezTo>
                <a:cubicBezTo>
                  <a:pt x="6954" y="2438"/>
                  <a:pt x="7012" y="2471"/>
                  <a:pt x="7078" y="2513"/>
                </a:cubicBezTo>
                <a:close/>
                <a:moveTo>
                  <a:pt x="7317" y="2543"/>
                </a:moveTo>
                <a:lnTo>
                  <a:pt x="7317" y="2543"/>
                </a:lnTo>
                <a:cubicBezTo>
                  <a:pt x="7320" y="2546"/>
                  <a:pt x="7275" y="2585"/>
                  <a:pt x="7270" y="2585"/>
                </a:cubicBezTo>
                <a:cubicBezTo>
                  <a:pt x="7267" y="2585"/>
                  <a:pt x="7101" y="2485"/>
                  <a:pt x="7095" y="2479"/>
                </a:cubicBezTo>
                <a:cubicBezTo>
                  <a:pt x="7092" y="2476"/>
                  <a:pt x="7142" y="2490"/>
                  <a:pt x="7203" y="2507"/>
                </a:cubicBezTo>
                <a:cubicBezTo>
                  <a:pt x="7264" y="2526"/>
                  <a:pt x="7317" y="2543"/>
                  <a:pt x="7317" y="2543"/>
                </a:cubicBezTo>
                <a:close/>
                <a:moveTo>
                  <a:pt x="7539" y="2623"/>
                </a:moveTo>
                <a:lnTo>
                  <a:pt x="7539" y="2623"/>
                </a:lnTo>
                <a:cubicBezTo>
                  <a:pt x="7592" y="2679"/>
                  <a:pt x="7633" y="2726"/>
                  <a:pt x="7633" y="2726"/>
                </a:cubicBezTo>
                <a:cubicBezTo>
                  <a:pt x="7633" y="2729"/>
                  <a:pt x="7389" y="2537"/>
                  <a:pt x="7386" y="2532"/>
                </a:cubicBezTo>
                <a:cubicBezTo>
                  <a:pt x="7386" y="2532"/>
                  <a:pt x="7392" y="2521"/>
                  <a:pt x="7400" y="2507"/>
                </a:cubicBezTo>
                <a:cubicBezTo>
                  <a:pt x="7414" y="2488"/>
                  <a:pt x="7414" y="2488"/>
                  <a:pt x="7414" y="2488"/>
                </a:cubicBezTo>
                <a:cubicBezTo>
                  <a:pt x="7428" y="2504"/>
                  <a:pt x="7428" y="2504"/>
                  <a:pt x="7428" y="2504"/>
                </a:cubicBezTo>
                <a:cubicBezTo>
                  <a:pt x="7439" y="2513"/>
                  <a:pt x="7489" y="2565"/>
                  <a:pt x="7539" y="2623"/>
                </a:cubicBezTo>
                <a:close/>
                <a:moveTo>
                  <a:pt x="5708" y="2549"/>
                </a:moveTo>
                <a:lnTo>
                  <a:pt x="5708" y="2549"/>
                </a:lnTo>
                <a:cubicBezTo>
                  <a:pt x="5778" y="2579"/>
                  <a:pt x="5839" y="2604"/>
                  <a:pt x="5844" y="2604"/>
                </a:cubicBezTo>
                <a:cubicBezTo>
                  <a:pt x="5850" y="2604"/>
                  <a:pt x="5853" y="2604"/>
                  <a:pt x="5850" y="2610"/>
                </a:cubicBezTo>
                <a:cubicBezTo>
                  <a:pt x="5847" y="2618"/>
                  <a:pt x="4835" y="4523"/>
                  <a:pt x="4832" y="4526"/>
                </a:cubicBezTo>
                <a:cubicBezTo>
                  <a:pt x="4829" y="4529"/>
                  <a:pt x="4826" y="4529"/>
                  <a:pt x="4826" y="4529"/>
                </a:cubicBezTo>
                <a:cubicBezTo>
                  <a:pt x="4826" y="4529"/>
                  <a:pt x="4996" y="4071"/>
                  <a:pt x="5201" y="3514"/>
                </a:cubicBezTo>
                <a:cubicBezTo>
                  <a:pt x="5403" y="2956"/>
                  <a:pt x="5572" y="2499"/>
                  <a:pt x="5572" y="2496"/>
                </a:cubicBezTo>
                <a:cubicBezTo>
                  <a:pt x="5572" y="2493"/>
                  <a:pt x="5575" y="2493"/>
                  <a:pt x="5578" y="2493"/>
                </a:cubicBezTo>
                <a:cubicBezTo>
                  <a:pt x="5581" y="2493"/>
                  <a:pt x="5639" y="2518"/>
                  <a:pt x="5708" y="2549"/>
                </a:cubicBezTo>
                <a:close/>
                <a:moveTo>
                  <a:pt x="12977" y="2734"/>
                </a:moveTo>
                <a:lnTo>
                  <a:pt x="12977" y="2734"/>
                </a:lnTo>
                <a:cubicBezTo>
                  <a:pt x="13274" y="2973"/>
                  <a:pt x="13274" y="2973"/>
                  <a:pt x="13274" y="2973"/>
                </a:cubicBezTo>
                <a:cubicBezTo>
                  <a:pt x="13501" y="3300"/>
                  <a:pt x="13501" y="3300"/>
                  <a:pt x="13501" y="3300"/>
                </a:cubicBezTo>
                <a:cubicBezTo>
                  <a:pt x="13629" y="3478"/>
                  <a:pt x="13732" y="3627"/>
                  <a:pt x="13734" y="3630"/>
                </a:cubicBezTo>
                <a:cubicBezTo>
                  <a:pt x="13734" y="3633"/>
                  <a:pt x="13732" y="3630"/>
                  <a:pt x="13726" y="3625"/>
                </a:cubicBezTo>
                <a:cubicBezTo>
                  <a:pt x="13718" y="3616"/>
                  <a:pt x="13110" y="2965"/>
                  <a:pt x="12686" y="2504"/>
                </a:cubicBezTo>
                <a:cubicBezTo>
                  <a:pt x="12678" y="2499"/>
                  <a:pt x="12675" y="2493"/>
                  <a:pt x="12678" y="2493"/>
                </a:cubicBezTo>
                <a:cubicBezTo>
                  <a:pt x="12680" y="2496"/>
                  <a:pt x="12816" y="2604"/>
                  <a:pt x="12977" y="2734"/>
                </a:cubicBezTo>
                <a:close/>
                <a:moveTo>
                  <a:pt x="1409" y="2540"/>
                </a:moveTo>
                <a:lnTo>
                  <a:pt x="1409" y="2540"/>
                </a:lnTo>
                <a:cubicBezTo>
                  <a:pt x="1406" y="2549"/>
                  <a:pt x="1365" y="2640"/>
                  <a:pt x="1315" y="2745"/>
                </a:cubicBezTo>
                <a:cubicBezTo>
                  <a:pt x="1259" y="2870"/>
                  <a:pt x="1226" y="2934"/>
                  <a:pt x="1226" y="2928"/>
                </a:cubicBezTo>
                <a:cubicBezTo>
                  <a:pt x="1226" y="2923"/>
                  <a:pt x="1229" y="2895"/>
                  <a:pt x="1232" y="2865"/>
                </a:cubicBezTo>
                <a:cubicBezTo>
                  <a:pt x="1240" y="2809"/>
                  <a:pt x="1240" y="2809"/>
                  <a:pt x="1240" y="2809"/>
                </a:cubicBezTo>
                <a:cubicBezTo>
                  <a:pt x="1326" y="2668"/>
                  <a:pt x="1326" y="2668"/>
                  <a:pt x="1326" y="2668"/>
                </a:cubicBezTo>
                <a:cubicBezTo>
                  <a:pt x="1373" y="2590"/>
                  <a:pt x="1412" y="2529"/>
                  <a:pt x="1412" y="2529"/>
                </a:cubicBezTo>
                <a:cubicBezTo>
                  <a:pt x="1415" y="2529"/>
                  <a:pt x="1412" y="2535"/>
                  <a:pt x="1409" y="2540"/>
                </a:cubicBezTo>
                <a:close/>
                <a:moveTo>
                  <a:pt x="1853" y="2551"/>
                </a:moveTo>
                <a:lnTo>
                  <a:pt x="1853" y="2551"/>
                </a:lnTo>
                <a:cubicBezTo>
                  <a:pt x="1839" y="2562"/>
                  <a:pt x="1395" y="2904"/>
                  <a:pt x="1392" y="2901"/>
                </a:cubicBezTo>
                <a:cubicBezTo>
                  <a:pt x="1392" y="2901"/>
                  <a:pt x="1406" y="2879"/>
                  <a:pt x="1423" y="2856"/>
                </a:cubicBezTo>
                <a:cubicBezTo>
                  <a:pt x="1453" y="2812"/>
                  <a:pt x="1453" y="2812"/>
                  <a:pt x="1453" y="2812"/>
                </a:cubicBezTo>
                <a:cubicBezTo>
                  <a:pt x="1653" y="2679"/>
                  <a:pt x="1653" y="2679"/>
                  <a:pt x="1653" y="2679"/>
                </a:cubicBezTo>
                <a:cubicBezTo>
                  <a:pt x="1764" y="2604"/>
                  <a:pt x="1856" y="2543"/>
                  <a:pt x="1858" y="2543"/>
                </a:cubicBezTo>
                <a:cubicBezTo>
                  <a:pt x="1858" y="2543"/>
                  <a:pt x="1856" y="2546"/>
                  <a:pt x="1853" y="2551"/>
                </a:cubicBezTo>
                <a:close/>
                <a:moveTo>
                  <a:pt x="7483" y="2684"/>
                </a:moveTo>
                <a:lnTo>
                  <a:pt x="7483" y="2684"/>
                </a:lnTo>
                <a:cubicBezTo>
                  <a:pt x="7553" y="2751"/>
                  <a:pt x="7603" y="2804"/>
                  <a:pt x="7594" y="2801"/>
                </a:cubicBezTo>
                <a:cubicBezTo>
                  <a:pt x="7553" y="2773"/>
                  <a:pt x="7306" y="2607"/>
                  <a:pt x="7306" y="2604"/>
                </a:cubicBezTo>
                <a:cubicBezTo>
                  <a:pt x="7309" y="2601"/>
                  <a:pt x="7356" y="2562"/>
                  <a:pt x="7359" y="2562"/>
                </a:cubicBezTo>
                <a:cubicBezTo>
                  <a:pt x="7361" y="2562"/>
                  <a:pt x="7417" y="2618"/>
                  <a:pt x="7483" y="2684"/>
                </a:cubicBezTo>
                <a:close/>
                <a:moveTo>
                  <a:pt x="7711" y="2676"/>
                </a:moveTo>
                <a:lnTo>
                  <a:pt x="7711" y="2676"/>
                </a:lnTo>
                <a:cubicBezTo>
                  <a:pt x="7800" y="2737"/>
                  <a:pt x="7875" y="2787"/>
                  <a:pt x="7875" y="2790"/>
                </a:cubicBezTo>
                <a:cubicBezTo>
                  <a:pt x="7875" y="2790"/>
                  <a:pt x="7861" y="2809"/>
                  <a:pt x="7844" y="2829"/>
                </a:cubicBezTo>
                <a:cubicBezTo>
                  <a:pt x="7816" y="2868"/>
                  <a:pt x="7816" y="2868"/>
                  <a:pt x="7816" y="2868"/>
                </a:cubicBezTo>
                <a:cubicBezTo>
                  <a:pt x="7800" y="2851"/>
                  <a:pt x="7800" y="2851"/>
                  <a:pt x="7800" y="2851"/>
                </a:cubicBezTo>
                <a:cubicBezTo>
                  <a:pt x="7783" y="2831"/>
                  <a:pt x="7550" y="2579"/>
                  <a:pt x="7539" y="2571"/>
                </a:cubicBezTo>
                <a:cubicBezTo>
                  <a:pt x="7531" y="2557"/>
                  <a:pt x="7522" y="2551"/>
                  <a:pt x="7711" y="2676"/>
                </a:cubicBezTo>
                <a:close/>
                <a:moveTo>
                  <a:pt x="4954" y="2826"/>
                </a:moveTo>
                <a:lnTo>
                  <a:pt x="4954" y="2826"/>
                </a:lnTo>
                <a:cubicBezTo>
                  <a:pt x="4923" y="2954"/>
                  <a:pt x="4779" y="3547"/>
                  <a:pt x="4632" y="4141"/>
                </a:cubicBezTo>
                <a:cubicBezTo>
                  <a:pt x="4485" y="4737"/>
                  <a:pt x="4363" y="5225"/>
                  <a:pt x="4363" y="5225"/>
                </a:cubicBezTo>
                <a:cubicBezTo>
                  <a:pt x="4358" y="5228"/>
                  <a:pt x="4052" y="5106"/>
                  <a:pt x="4050" y="5100"/>
                </a:cubicBezTo>
                <a:cubicBezTo>
                  <a:pt x="4050" y="5097"/>
                  <a:pt x="4266" y="4537"/>
                  <a:pt x="4527" y="3855"/>
                </a:cubicBezTo>
                <a:cubicBezTo>
                  <a:pt x="4787" y="3170"/>
                  <a:pt x="5004" y="2607"/>
                  <a:pt x="5007" y="2601"/>
                </a:cubicBezTo>
                <a:cubicBezTo>
                  <a:pt x="5018" y="2568"/>
                  <a:pt x="5007" y="2618"/>
                  <a:pt x="4954" y="2826"/>
                </a:cubicBezTo>
                <a:close/>
                <a:moveTo>
                  <a:pt x="8490" y="3109"/>
                </a:moveTo>
                <a:lnTo>
                  <a:pt x="8490" y="3109"/>
                </a:lnTo>
                <a:cubicBezTo>
                  <a:pt x="8734" y="3375"/>
                  <a:pt x="8937" y="3594"/>
                  <a:pt x="8937" y="3597"/>
                </a:cubicBezTo>
                <a:cubicBezTo>
                  <a:pt x="8940" y="3600"/>
                  <a:pt x="8937" y="3600"/>
                  <a:pt x="8931" y="3597"/>
                </a:cubicBezTo>
                <a:cubicBezTo>
                  <a:pt x="8904" y="3575"/>
                  <a:pt x="7927" y="2782"/>
                  <a:pt x="7927" y="2782"/>
                </a:cubicBezTo>
                <a:cubicBezTo>
                  <a:pt x="7927" y="2779"/>
                  <a:pt x="7949" y="2737"/>
                  <a:pt x="7974" y="2687"/>
                </a:cubicBezTo>
                <a:cubicBezTo>
                  <a:pt x="8024" y="2599"/>
                  <a:pt x="8024" y="2599"/>
                  <a:pt x="8024" y="2599"/>
                </a:cubicBezTo>
                <a:cubicBezTo>
                  <a:pt x="8035" y="2610"/>
                  <a:pt x="8035" y="2610"/>
                  <a:pt x="8035" y="2610"/>
                </a:cubicBezTo>
                <a:cubicBezTo>
                  <a:pt x="8041" y="2618"/>
                  <a:pt x="8246" y="2840"/>
                  <a:pt x="8490" y="3109"/>
                </a:cubicBezTo>
                <a:close/>
                <a:moveTo>
                  <a:pt x="6280" y="2662"/>
                </a:moveTo>
                <a:lnTo>
                  <a:pt x="6280" y="2662"/>
                </a:lnTo>
                <a:cubicBezTo>
                  <a:pt x="6452" y="2687"/>
                  <a:pt x="6593" y="2707"/>
                  <a:pt x="6593" y="2707"/>
                </a:cubicBezTo>
                <a:cubicBezTo>
                  <a:pt x="6596" y="2707"/>
                  <a:pt x="6596" y="2707"/>
                  <a:pt x="6596" y="2709"/>
                </a:cubicBezTo>
                <a:cubicBezTo>
                  <a:pt x="6596" y="2712"/>
                  <a:pt x="6493" y="2898"/>
                  <a:pt x="6490" y="2901"/>
                </a:cubicBezTo>
                <a:cubicBezTo>
                  <a:pt x="6488" y="2904"/>
                  <a:pt x="5952" y="2623"/>
                  <a:pt x="5947" y="2618"/>
                </a:cubicBezTo>
                <a:cubicBezTo>
                  <a:pt x="5944" y="2615"/>
                  <a:pt x="5947" y="2612"/>
                  <a:pt x="5952" y="2615"/>
                </a:cubicBezTo>
                <a:cubicBezTo>
                  <a:pt x="5961" y="2615"/>
                  <a:pt x="6105" y="2637"/>
                  <a:pt x="6280" y="2662"/>
                </a:cubicBezTo>
                <a:close/>
                <a:moveTo>
                  <a:pt x="7206" y="2623"/>
                </a:moveTo>
                <a:lnTo>
                  <a:pt x="7206" y="2623"/>
                </a:lnTo>
                <a:cubicBezTo>
                  <a:pt x="7217" y="2626"/>
                  <a:pt x="7217" y="2626"/>
                  <a:pt x="7217" y="2626"/>
                </a:cubicBezTo>
                <a:cubicBezTo>
                  <a:pt x="7123" y="2698"/>
                  <a:pt x="7123" y="2698"/>
                  <a:pt x="7123" y="2698"/>
                </a:cubicBezTo>
                <a:cubicBezTo>
                  <a:pt x="7070" y="2737"/>
                  <a:pt x="7026" y="2770"/>
                  <a:pt x="7023" y="2770"/>
                </a:cubicBezTo>
                <a:cubicBezTo>
                  <a:pt x="7015" y="2768"/>
                  <a:pt x="6773" y="2621"/>
                  <a:pt x="6773" y="2618"/>
                </a:cubicBezTo>
                <a:cubicBezTo>
                  <a:pt x="6773" y="2615"/>
                  <a:pt x="7192" y="2621"/>
                  <a:pt x="7206" y="2623"/>
                </a:cubicBezTo>
                <a:close/>
                <a:moveTo>
                  <a:pt x="6845" y="2707"/>
                </a:moveTo>
                <a:lnTo>
                  <a:pt x="6845" y="2707"/>
                </a:lnTo>
                <a:cubicBezTo>
                  <a:pt x="6918" y="2748"/>
                  <a:pt x="6976" y="2787"/>
                  <a:pt x="6973" y="2787"/>
                </a:cubicBezTo>
                <a:cubicBezTo>
                  <a:pt x="6973" y="2787"/>
                  <a:pt x="6873" y="2815"/>
                  <a:pt x="6757" y="2842"/>
                </a:cubicBezTo>
                <a:cubicBezTo>
                  <a:pt x="6613" y="2879"/>
                  <a:pt x="6540" y="2895"/>
                  <a:pt x="6540" y="2892"/>
                </a:cubicBezTo>
                <a:cubicBezTo>
                  <a:pt x="6540" y="2890"/>
                  <a:pt x="6579" y="2829"/>
                  <a:pt x="6624" y="2757"/>
                </a:cubicBezTo>
                <a:cubicBezTo>
                  <a:pt x="6682" y="2662"/>
                  <a:pt x="6707" y="2626"/>
                  <a:pt x="6710" y="2626"/>
                </a:cubicBezTo>
                <a:cubicBezTo>
                  <a:pt x="6712" y="2626"/>
                  <a:pt x="6773" y="2662"/>
                  <a:pt x="6845" y="2707"/>
                </a:cubicBezTo>
                <a:close/>
                <a:moveTo>
                  <a:pt x="6177" y="2782"/>
                </a:moveTo>
                <a:lnTo>
                  <a:pt x="6177" y="2782"/>
                </a:lnTo>
                <a:cubicBezTo>
                  <a:pt x="6335" y="2862"/>
                  <a:pt x="6466" y="2931"/>
                  <a:pt x="6466" y="2931"/>
                </a:cubicBezTo>
                <a:cubicBezTo>
                  <a:pt x="6466" y="2934"/>
                  <a:pt x="6108" y="3309"/>
                  <a:pt x="5669" y="3763"/>
                </a:cubicBezTo>
                <a:cubicBezTo>
                  <a:pt x="4740" y="4734"/>
                  <a:pt x="4799" y="4673"/>
                  <a:pt x="4796" y="4673"/>
                </a:cubicBezTo>
                <a:cubicBezTo>
                  <a:pt x="4796" y="4673"/>
                  <a:pt x="5869" y="2648"/>
                  <a:pt x="5880" y="2632"/>
                </a:cubicBezTo>
                <a:cubicBezTo>
                  <a:pt x="5880" y="2632"/>
                  <a:pt x="5883" y="2629"/>
                  <a:pt x="5886" y="2629"/>
                </a:cubicBezTo>
                <a:cubicBezTo>
                  <a:pt x="5886" y="2629"/>
                  <a:pt x="6019" y="2698"/>
                  <a:pt x="6177" y="2782"/>
                </a:cubicBezTo>
                <a:close/>
                <a:moveTo>
                  <a:pt x="7470" y="2759"/>
                </a:moveTo>
                <a:lnTo>
                  <a:pt x="7470" y="2759"/>
                </a:lnTo>
                <a:cubicBezTo>
                  <a:pt x="7578" y="2834"/>
                  <a:pt x="7667" y="2892"/>
                  <a:pt x="7667" y="2892"/>
                </a:cubicBezTo>
                <a:cubicBezTo>
                  <a:pt x="7664" y="2895"/>
                  <a:pt x="7087" y="2787"/>
                  <a:pt x="7078" y="2784"/>
                </a:cubicBezTo>
                <a:cubicBezTo>
                  <a:pt x="7070" y="2782"/>
                  <a:pt x="7070" y="2782"/>
                  <a:pt x="7070" y="2782"/>
                </a:cubicBezTo>
                <a:cubicBezTo>
                  <a:pt x="7170" y="2707"/>
                  <a:pt x="7170" y="2707"/>
                  <a:pt x="7170" y="2707"/>
                </a:cubicBezTo>
                <a:cubicBezTo>
                  <a:pt x="7226" y="2662"/>
                  <a:pt x="7270" y="2629"/>
                  <a:pt x="7270" y="2629"/>
                </a:cubicBezTo>
                <a:cubicBezTo>
                  <a:pt x="7273" y="2629"/>
                  <a:pt x="7361" y="2687"/>
                  <a:pt x="7470" y="2759"/>
                </a:cubicBezTo>
                <a:close/>
                <a:moveTo>
                  <a:pt x="8734" y="2978"/>
                </a:moveTo>
                <a:lnTo>
                  <a:pt x="8734" y="2978"/>
                </a:lnTo>
                <a:cubicBezTo>
                  <a:pt x="9026" y="3137"/>
                  <a:pt x="9267" y="3267"/>
                  <a:pt x="9267" y="3270"/>
                </a:cubicBezTo>
                <a:cubicBezTo>
                  <a:pt x="9273" y="3275"/>
                  <a:pt x="9414" y="3691"/>
                  <a:pt x="9411" y="3691"/>
                </a:cubicBezTo>
                <a:cubicBezTo>
                  <a:pt x="9408" y="3691"/>
                  <a:pt x="8357" y="2823"/>
                  <a:pt x="8230" y="2715"/>
                </a:cubicBezTo>
                <a:cubicBezTo>
                  <a:pt x="8210" y="2698"/>
                  <a:pt x="8199" y="2687"/>
                  <a:pt x="8202" y="2690"/>
                </a:cubicBezTo>
                <a:cubicBezTo>
                  <a:pt x="8205" y="2690"/>
                  <a:pt x="8446" y="2820"/>
                  <a:pt x="8734" y="2978"/>
                </a:cubicBezTo>
                <a:close/>
                <a:moveTo>
                  <a:pt x="13305" y="3311"/>
                </a:moveTo>
                <a:lnTo>
                  <a:pt x="13305" y="3311"/>
                </a:lnTo>
                <a:cubicBezTo>
                  <a:pt x="13787" y="3880"/>
                  <a:pt x="13787" y="3880"/>
                  <a:pt x="13787" y="3880"/>
                </a:cubicBezTo>
                <a:cubicBezTo>
                  <a:pt x="13734" y="3905"/>
                  <a:pt x="13734" y="3905"/>
                  <a:pt x="13734" y="3905"/>
                </a:cubicBezTo>
                <a:cubicBezTo>
                  <a:pt x="13707" y="3919"/>
                  <a:pt x="13682" y="3930"/>
                  <a:pt x="13679" y="3927"/>
                </a:cubicBezTo>
                <a:cubicBezTo>
                  <a:pt x="13679" y="3924"/>
                  <a:pt x="12816" y="2745"/>
                  <a:pt x="12805" y="2729"/>
                </a:cubicBezTo>
                <a:cubicBezTo>
                  <a:pt x="12789" y="2704"/>
                  <a:pt x="12883" y="2815"/>
                  <a:pt x="13305" y="3311"/>
                </a:cubicBezTo>
                <a:close/>
                <a:moveTo>
                  <a:pt x="7722" y="2842"/>
                </a:moveTo>
                <a:lnTo>
                  <a:pt x="7722" y="2842"/>
                </a:lnTo>
                <a:cubicBezTo>
                  <a:pt x="7755" y="2868"/>
                  <a:pt x="7783" y="2890"/>
                  <a:pt x="7780" y="2892"/>
                </a:cubicBezTo>
                <a:cubicBezTo>
                  <a:pt x="7780" y="2895"/>
                  <a:pt x="7775" y="2898"/>
                  <a:pt x="7769" y="2901"/>
                </a:cubicBezTo>
                <a:cubicBezTo>
                  <a:pt x="7761" y="2909"/>
                  <a:pt x="7761" y="2909"/>
                  <a:pt x="7761" y="2909"/>
                </a:cubicBezTo>
                <a:cubicBezTo>
                  <a:pt x="7683" y="2831"/>
                  <a:pt x="7683" y="2831"/>
                  <a:pt x="7683" y="2831"/>
                </a:cubicBezTo>
                <a:cubicBezTo>
                  <a:pt x="7606" y="2754"/>
                  <a:pt x="7606" y="2754"/>
                  <a:pt x="7606" y="2754"/>
                </a:cubicBezTo>
                <a:cubicBezTo>
                  <a:pt x="7633" y="2776"/>
                  <a:pt x="7633" y="2776"/>
                  <a:pt x="7633" y="2776"/>
                </a:cubicBezTo>
                <a:cubicBezTo>
                  <a:pt x="7650" y="2787"/>
                  <a:pt x="7689" y="2818"/>
                  <a:pt x="7722" y="2842"/>
                </a:cubicBezTo>
                <a:close/>
                <a:moveTo>
                  <a:pt x="8507" y="3325"/>
                </a:moveTo>
                <a:lnTo>
                  <a:pt x="8507" y="3325"/>
                </a:lnTo>
                <a:cubicBezTo>
                  <a:pt x="8831" y="3605"/>
                  <a:pt x="9106" y="3841"/>
                  <a:pt x="9114" y="3849"/>
                </a:cubicBezTo>
                <a:cubicBezTo>
                  <a:pt x="9126" y="3860"/>
                  <a:pt x="9126" y="3860"/>
                  <a:pt x="9126" y="3860"/>
                </a:cubicBezTo>
                <a:cubicBezTo>
                  <a:pt x="9114" y="3852"/>
                  <a:pt x="9114" y="3852"/>
                  <a:pt x="9114" y="3852"/>
                </a:cubicBezTo>
                <a:cubicBezTo>
                  <a:pt x="9092" y="3835"/>
                  <a:pt x="7855" y="2901"/>
                  <a:pt x="7850" y="2895"/>
                </a:cubicBezTo>
                <a:cubicBezTo>
                  <a:pt x="7841" y="2890"/>
                  <a:pt x="7841" y="2890"/>
                  <a:pt x="7841" y="2890"/>
                </a:cubicBezTo>
                <a:cubicBezTo>
                  <a:pt x="7872" y="2851"/>
                  <a:pt x="7872" y="2851"/>
                  <a:pt x="7872" y="2851"/>
                </a:cubicBezTo>
                <a:cubicBezTo>
                  <a:pt x="7888" y="2831"/>
                  <a:pt x="7905" y="2815"/>
                  <a:pt x="7908" y="2815"/>
                </a:cubicBezTo>
                <a:cubicBezTo>
                  <a:pt x="7908" y="2815"/>
                  <a:pt x="8180" y="3045"/>
                  <a:pt x="8507" y="3325"/>
                </a:cubicBezTo>
                <a:close/>
                <a:moveTo>
                  <a:pt x="6959" y="2873"/>
                </a:moveTo>
                <a:lnTo>
                  <a:pt x="6959" y="2873"/>
                </a:lnTo>
                <a:cubicBezTo>
                  <a:pt x="6943" y="2898"/>
                  <a:pt x="6904" y="2959"/>
                  <a:pt x="6876" y="3009"/>
                </a:cubicBezTo>
                <a:cubicBezTo>
                  <a:pt x="6845" y="3059"/>
                  <a:pt x="6818" y="3098"/>
                  <a:pt x="6818" y="3098"/>
                </a:cubicBezTo>
                <a:cubicBezTo>
                  <a:pt x="6815" y="3098"/>
                  <a:pt x="6554" y="2942"/>
                  <a:pt x="6549" y="2937"/>
                </a:cubicBezTo>
                <a:cubicBezTo>
                  <a:pt x="6546" y="2937"/>
                  <a:pt x="6546" y="2934"/>
                  <a:pt x="6549" y="2934"/>
                </a:cubicBezTo>
                <a:cubicBezTo>
                  <a:pt x="6552" y="2931"/>
                  <a:pt x="6968" y="2826"/>
                  <a:pt x="6979" y="2826"/>
                </a:cubicBezTo>
                <a:cubicBezTo>
                  <a:pt x="6987" y="2826"/>
                  <a:pt x="6987" y="2826"/>
                  <a:pt x="6987" y="2826"/>
                </a:cubicBezTo>
                <a:cubicBezTo>
                  <a:pt x="6959" y="2873"/>
                  <a:pt x="6959" y="2873"/>
                  <a:pt x="6959" y="2873"/>
                </a:cubicBezTo>
                <a:close/>
                <a:moveTo>
                  <a:pt x="7422" y="2884"/>
                </a:moveTo>
                <a:lnTo>
                  <a:pt x="7422" y="2884"/>
                </a:lnTo>
                <a:cubicBezTo>
                  <a:pt x="7578" y="2915"/>
                  <a:pt x="7705" y="2940"/>
                  <a:pt x="7708" y="2940"/>
                </a:cubicBezTo>
                <a:cubicBezTo>
                  <a:pt x="7708" y="2942"/>
                  <a:pt x="7678" y="2962"/>
                  <a:pt x="7642" y="2987"/>
                </a:cubicBezTo>
                <a:cubicBezTo>
                  <a:pt x="7575" y="3031"/>
                  <a:pt x="7575" y="3031"/>
                  <a:pt x="7575" y="3031"/>
                </a:cubicBezTo>
                <a:cubicBezTo>
                  <a:pt x="7561" y="3053"/>
                  <a:pt x="7561" y="3053"/>
                  <a:pt x="7561" y="3053"/>
                </a:cubicBezTo>
                <a:cubicBezTo>
                  <a:pt x="7547" y="3073"/>
                  <a:pt x="7520" y="3098"/>
                  <a:pt x="7514" y="3098"/>
                </a:cubicBezTo>
                <a:cubicBezTo>
                  <a:pt x="7511" y="3098"/>
                  <a:pt x="7120" y="2837"/>
                  <a:pt x="7115" y="2831"/>
                </a:cubicBezTo>
                <a:cubicBezTo>
                  <a:pt x="7112" y="2829"/>
                  <a:pt x="7117" y="2829"/>
                  <a:pt x="7123" y="2829"/>
                </a:cubicBezTo>
                <a:cubicBezTo>
                  <a:pt x="7131" y="2831"/>
                  <a:pt x="7264" y="2856"/>
                  <a:pt x="7422" y="2884"/>
                </a:cubicBezTo>
                <a:close/>
                <a:moveTo>
                  <a:pt x="9076" y="3530"/>
                </a:moveTo>
                <a:lnTo>
                  <a:pt x="9076" y="3530"/>
                </a:lnTo>
                <a:cubicBezTo>
                  <a:pt x="9497" y="3905"/>
                  <a:pt x="9846" y="4221"/>
                  <a:pt x="9857" y="4229"/>
                </a:cubicBezTo>
                <a:cubicBezTo>
                  <a:pt x="9865" y="4238"/>
                  <a:pt x="9871" y="4243"/>
                  <a:pt x="9865" y="4240"/>
                </a:cubicBezTo>
                <a:cubicBezTo>
                  <a:pt x="9862" y="4240"/>
                  <a:pt x="9696" y="4132"/>
                  <a:pt x="9500" y="4002"/>
                </a:cubicBezTo>
                <a:cubicBezTo>
                  <a:pt x="9142" y="3766"/>
                  <a:pt x="9142" y="3766"/>
                  <a:pt x="9142" y="3766"/>
                </a:cubicBezTo>
                <a:cubicBezTo>
                  <a:pt x="8726" y="3311"/>
                  <a:pt x="8726" y="3311"/>
                  <a:pt x="8726" y="3311"/>
                </a:cubicBezTo>
                <a:cubicBezTo>
                  <a:pt x="8499" y="3064"/>
                  <a:pt x="8307" y="2854"/>
                  <a:pt x="8299" y="2845"/>
                </a:cubicBezTo>
                <a:cubicBezTo>
                  <a:pt x="8288" y="2831"/>
                  <a:pt x="8288" y="2831"/>
                  <a:pt x="8288" y="2831"/>
                </a:cubicBezTo>
                <a:cubicBezTo>
                  <a:pt x="8299" y="2840"/>
                  <a:pt x="8299" y="2840"/>
                  <a:pt x="8299" y="2840"/>
                </a:cubicBezTo>
                <a:cubicBezTo>
                  <a:pt x="8305" y="2845"/>
                  <a:pt x="8654" y="3156"/>
                  <a:pt x="9076" y="3530"/>
                </a:cubicBezTo>
                <a:close/>
                <a:moveTo>
                  <a:pt x="7151" y="3123"/>
                </a:moveTo>
                <a:lnTo>
                  <a:pt x="7151" y="3123"/>
                </a:lnTo>
                <a:cubicBezTo>
                  <a:pt x="7217" y="3275"/>
                  <a:pt x="7270" y="3400"/>
                  <a:pt x="7267" y="3400"/>
                </a:cubicBezTo>
                <a:cubicBezTo>
                  <a:pt x="7259" y="3400"/>
                  <a:pt x="6851" y="3123"/>
                  <a:pt x="6851" y="3120"/>
                </a:cubicBezTo>
                <a:cubicBezTo>
                  <a:pt x="6851" y="3114"/>
                  <a:pt x="7023" y="2834"/>
                  <a:pt x="7026" y="2837"/>
                </a:cubicBezTo>
                <a:cubicBezTo>
                  <a:pt x="7026" y="2840"/>
                  <a:pt x="7081" y="2967"/>
                  <a:pt x="7151" y="3123"/>
                </a:cubicBezTo>
                <a:close/>
                <a:moveTo>
                  <a:pt x="7284" y="2987"/>
                </a:moveTo>
                <a:lnTo>
                  <a:pt x="7284" y="2987"/>
                </a:lnTo>
                <a:cubicBezTo>
                  <a:pt x="7395" y="3062"/>
                  <a:pt x="7489" y="3125"/>
                  <a:pt x="7489" y="3125"/>
                </a:cubicBezTo>
                <a:cubicBezTo>
                  <a:pt x="7492" y="3128"/>
                  <a:pt x="7320" y="3414"/>
                  <a:pt x="7317" y="3414"/>
                </a:cubicBezTo>
                <a:cubicBezTo>
                  <a:pt x="7314" y="3414"/>
                  <a:pt x="7259" y="3286"/>
                  <a:pt x="7192" y="3134"/>
                </a:cubicBezTo>
                <a:cubicBezTo>
                  <a:pt x="7126" y="2978"/>
                  <a:pt x="7070" y="2851"/>
                  <a:pt x="7070" y="2848"/>
                </a:cubicBezTo>
                <a:cubicBezTo>
                  <a:pt x="7067" y="2848"/>
                  <a:pt x="7070" y="2845"/>
                  <a:pt x="7073" y="2848"/>
                </a:cubicBezTo>
                <a:cubicBezTo>
                  <a:pt x="7076" y="2848"/>
                  <a:pt x="7170" y="2912"/>
                  <a:pt x="7284" y="2987"/>
                </a:cubicBezTo>
                <a:close/>
                <a:moveTo>
                  <a:pt x="8060" y="3137"/>
                </a:moveTo>
                <a:lnTo>
                  <a:pt x="8060" y="3137"/>
                </a:lnTo>
                <a:cubicBezTo>
                  <a:pt x="8329" y="3375"/>
                  <a:pt x="8354" y="3397"/>
                  <a:pt x="8343" y="3389"/>
                </a:cubicBezTo>
                <a:cubicBezTo>
                  <a:pt x="8327" y="3381"/>
                  <a:pt x="7789" y="2934"/>
                  <a:pt x="7789" y="2931"/>
                </a:cubicBezTo>
                <a:cubicBezTo>
                  <a:pt x="7789" y="2928"/>
                  <a:pt x="7808" y="2917"/>
                  <a:pt x="7814" y="2917"/>
                </a:cubicBezTo>
                <a:cubicBezTo>
                  <a:pt x="7814" y="2917"/>
                  <a:pt x="7925" y="3014"/>
                  <a:pt x="8060" y="3137"/>
                </a:cubicBezTo>
                <a:close/>
                <a:moveTo>
                  <a:pt x="13474" y="3406"/>
                </a:moveTo>
                <a:lnTo>
                  <a:pt x="13474" y="3406"/>
                </a:lnTo>
                <a:cubicBezTo>
                  <a:pt x="13696" y="3644"/>
                  <a:pt x="13876" y="3841"/>
                  <a:pt x="13876" y="3844"/>
                </a:cubicBezTo>
                <a:cubicBezTo>
                  <a:pt x="13873" y="3847"/>
                  <a:pt x="13829" y="3863"/>
                  <a:pt x="13823" y="3863"/>
                </a:cubicBezTo>
                <a:cubicBezTo>
                  <a:pt x="13820" y="3863"/>
                  <a:pt x="13135" y="3059"/>
                  <a:pt x="13052" y="2959"/>
                </a:cubicBezTo>
                <a:cubicBezTo>
                  <a:pt x="13035" y="2937"/>
                  <a:pt x="13035" y="2937"/>
                  <a:pt x="13035" y="2937"/>
                </a:cubicBezTo>
                <a:cubicBezTo>
                  <a:pt x="13052" y="2954"/>
                  <a:pt x="13052" y="2954"/>
                  <a:pt x="13052" y="2954"/>
                </a:cubicBezTo>
                <a:cubicBezTo>
                  <a:pt x="13063" y="2962"/>
                  <a:pt x="13252" y="3167"/>
                  <a:pt x="13474" y="3406"/>
                </a:cubicBezTo>
                <a:close/>
                <a:moveTo>
                  <a:pt x="6654" y="3042"/>
                </a:moveTo>
                <a:lnTo>
                  <a:pt x="6654" y="3042"/>
                </a:lnTo>
                <a:cubicBezTo>
                  <a:pt x="6732" y="3089"/>
                  <a:pt x="6796" y="3131"/>
                  <a:pt x="6796" y="3131"/>
                </a:cubicBezTo>
                <a:cubicBezTo>
                  <a:pt x="6796" y="3137"/>
                  <a:pt x="6163" y="3977"/>
                  <a:pt x="6160" y="3977"/>
                </a:cubicBezTo>
                <a:cubicBezTo>
                  <a:pt x="6158" y="3977"/>
                  <a:pt x="6471" y="3056"/>
                  <a:pt x="6504" y="2959"/>
                </a:cubicBezTo>
                <a:cubicBezTo>
                  <a:pt x="6507" y="2956"/>
                  <a:pt x="6507" y="2954"/>
                  <a:pt x="6510" y="2956"/>
                </a:cubicBezTo>
                <a:cubicBezTo>
                  <a:pt x="6510" y="2956"/>
                  <a:pt x="6576" y="2995"/>
                  <a:pt x="6654" y="3042"/>
                </a:cubicBezTo>
                <a:close/>
                <a:moveTo>
                  <a:pt x="8427" y="3528"/>
                </a:moveTo>
                <a:lnTo>
                  <a:pt x="8427" y="3528"/>
                </a:lnTo>
                <a:cubicBezTo>
                  <a:pt x="8793" y="3844"/>
                  <a:pt x="9092" y="4102"/>
                  <a:pt x="9092" y="4102"/>
                </a:cubicBezTo>
                <a:cubicBezTo>
                  <a:pt x="9092" y="4104"/>
                  <a:pt x="9142" y="4141"/>
                  <a:pt x="8343" y="3566"/>
                </a:cubicBezTo>
                <a:cubicBezTo>
                  <a:pt x="7947" y="3281"/>
                  <a:pt x="7625" y="3048"/>
                  <a:pt x="7625" y="3045"/>
                </a:cubicBezTo>
                <a:cubicBezTo>
                  <a:pt x="7622" y="3039"/>
                  <a:pt x="7753" y="2954"/>
                  <a:pt x="7758" y="2956"/>
                </a:cubicBezTo>
                <a:cubicBezTo>
                  <a:pt x="7758" y="2956"/>
                  <a:pt x="8060" y="3214"/>
                  <a:pt x="8427" y="3528"/>
                </a:cubicBezTo>
                <a:close/>
                <a:moveTo>
                  <a:pt x="1179" y="3009"/>
                </a:moveTo>
                <a:lnTo>
                  <a:pt x="1179" y="3009"/>
                </a:lnTo>
                <a:cubicBezTo>
                  <a:pt x="1173" y="3053"/>
                  <a:pt x="1173" y="3053"/>
                  <a:pt x="1173" y="3053"/>
                </a:cubicBezTo>
                <a:cubicBezTo>
                  <a:pt x="1121" y="3175"/>
                  <a:pt x="1121" y="3175"/>
                  <a:pt x="1121" y="3175"/>
                </a:cubicBezTo>
                <a:cubicBezTo>
                  <a:pt x="1071" y="3286"/>
                  <a:pt x="1049" y="3333"/>
                  <a:pt x="1054" y="3317"/>
                </a:cubicBezTo>
                <a:cubicBezTo>
                  <a:pt x="1057" y="3297"/>
                  <a:pt x="1182" y="2962"/>
                  <a:pt x="1184" y="2962"/>
                </a:cubicBezTo>
                <a:cubicBezTo>
                  <a:pt x="1184" y="2965"/>
                  <a:pt x="1182" y="2984"/>
                  <a:pt x="1179" y="3009"/>
                </a:cubicBezTo>
                <a:close/>
                <a:moveTo>
                  <a:pt x="6269" y="3542"/>
                </a:moveTo>
                <a:lnTo>
                  <a:pt x="6269" y="3542"/>
                </a:lnTo>
                <a:cubicBezTo>
                  <a:pt x="6086" y="4080"/>
                  <a:pt x="6086" y="4080"/>
                  <a:pt x="6086" y="4080"/>
                </a:cubicBezTo>
                <a:cubicBezTo>
                  <a:pt x="5930" y="4587"/>
                  <a:pt x="5930" y="4587"/>
                  <a:pt x="5930" y="4587"/>
                </a:cubicBezTo>
                <a:cubicBezTo>
                  <a:pt x="5844" y="4867"/>
                  <a:pt x="5772" y="5097"/>
                  <a:pt x="5772" y="5097"/>
                </a:cubicBezTo>
                <a:cubicBezTo>
                  <a:pt x="5772" y="5100"/>
                  <a:pt x="4754" y="4784"/>
                  <a:pt x="4751" y="4778"/>
                </a:cubicBezTo>
                <a:cubicBezTo>
                  <a:pt x="4751" y="4778"/>
                  <a:pt x="4763" y="4765"/>
                  <a:pt x="4776" y="4748"/>
                </a:cubicBezTo>
                <a:cubicBezTo>
                  <a:pt x="4840" y="4679"/>
                  <a:pt x="6449" y="3003"/>
                  <a:pt x="6452" y="3003"/>
                </a:cubicBezTo>
                <a:cubicBezTo>
                  <a:pt x="6452" y="3003"/>
                  <a:pt x="6368" y="3247"/>
                  <a:pt x="6269" y="3542"/>
                </a:cubicBezTo>
                <a:close/>
                <a:moveTo>
                  <a:pt x="4552" y="3153"/>
                </a:moveTo>
                <a:lnTo>
                  <a:pt x="4552" y="3153"/>
                </a:lnTo>
                <a:cubicBezTo>
                  <a:pt x="4532" y="3228"/>
                  <a:pt x="4516" y="3292"/>
                  <a:pt x="4516" y="3292"/>
                </a:cubicBezTo>
                <a:cubicBezTo>
                  <a:pt x="4516" y="3292"/>
                  <a:pt x="4510" y="3295"/>
                  <a:pt x="4507" y="3297"/>
                </a:cubicBezTo>
                <a:cubicBezTo>
                  <a:pt x="4496" y="3297"/>
                  <a:pt x="4496" y="3297"/>
                  <a:pt x="4496" y="3297"/>
                </a:cubicBezTo>
                <a:cubicBezTo>
                  <a:pt x="4499" y="3292"/>
                  <a:pt x="4499" y="3292"/>
                  <a:pt x="4499" y="3292"/>
                </a:cubicBezTo>
                <a:cubicBezTo>
                  <a:pt x="4507" y="3256"/>
                  <a:pt x="4585" y="3006"/>
                  <a:pt x="4588" y="3009"/>
                </a:cubicBezTo>
                <a:cubicBezTo>
                  <a:pt x="4588" y="3012"/>
                  <a:pt x="4571" y="3076"/>
                  <a:pt x="4552" y="3153"/>
                </a:cubicBezTo>
                <a:close/>
                <a:moveTo>
                  <a:pt x="1281" y="3286"/>
                </a:moveTo>
                <a:lnTo>
                  <a:pt x="1281" y="3286"/>
                </a:lnTo>
                <a:cubicBezTo>
                  <a:pt x="1281" y="3508"/>
                  <a:pt x="1281" y="3508"/>
                  <a:pt x="1281" y="3508"/>
                </a:cubicBezTo>
                <a:cubicBezTo>
                  <a:pt x="1293" y="3952"/>
                  <a:pt x="1293" y="3952"/>
                  <a:pt x="1293" y="3952"/>
                </a:cubicBezTo>
                <a:cubicBezTo>
                  <a:pt x="1301" y="4196"/>
                  <a:pt x="1306" y="4412"/>
                  <a:pt x="1306" y="4432"/>
                </a:cubicBezTo>
                <a:cubicBezTo>
                  <a:pt x="1306" y="4468"/>
                  <a:pt x="1306" y="4468"/>
                  <a:pt x="1306" y="4468"/>
                </a:cubicBezTo>
                <a:cubicBezTo>
                  <a:pt x="1187" y="3941"/>
                  <a:pt x="1187" y="3941"/>
                  <a:pt x="1187" y="3941"/>
                </a:cubicBezTo>
                <a:cubicBezTo>
                  <a:pt x="1071" y="3411"/>
                  <a:pt x="1071" y="3411"/>
                  <a:pt x="1071" y="3411"/>
                </a:cubicBezTo>
                <a:cubicBezTo>
                  <a:pt x="1171" y="3247"/>
                  <a:pt x="1171" y="3247"/>
                  <a:pt x="1171" y="3247"/>
                </a:cubicBezTo>
                <a:cubicBezTo>
                  <a:pt x="1284" y="3059"/>
                  <a:pt x="1281" y="3064"/>
                  <a:pt x="1281" y="3064"/>
                </a:cubicBezTo>
                <a:cubicBezTo>
                  <a:pt x="1284" y="3064"/>
                  <a:pt x="1284" y="3164"/>
                  <a:pt x="1281" y="3286"/>
                </a:cubicBezTo>
                <a:close/>
                <a:moveTo>
                  <a:pt x="7947" y="3644"/>
                </a:moveTo>
                <a:lnTo>
                  <a:pt x="7947" y="3644"/>
                </a:lnTo>
                <a:cubicBezTo>
                  <a:pt x="8138" y="3949"/>
                  <a:pt x="8299" y="4207"/>
                  <a:pt x="8307" y="4218"/>
                </a:cubicBezTo>
                <a:cubicBezTo>
                  <a:pt x="8313" y="4229"/>
                  <a:pt x="8318" y="4238"/>
                  <a:pt x="8316" y="4238"/>
                </a:cubicBezTo>
                <a:cubicBezTo>
                  <a:pt x="8313" y="4235"/>
                  <a:pt x="8094" y="4060"/>
                  <a:pt x="7825" y="3844"/>
                </a:cubicBezTo>
                <a:cubicBezTo>
                  <a:pt x="7508" y="3589"/>
                  <a:pt x="7339" y="3450"/>
                  <a:pt x="7342" y="3447"/>
                </a:cubicBezTo>
                <a:cubicBezTo>
                  <a:pt x="7342" y="3447"/>
                  <a:pt x="7397" y="3361"/>
                  <a:pt x="7467" y="3261"/>
                </a:cubicBezTo>
                <a:cubicBezTo>
                  <a:pt x="7586" y="3078"/>
                  <a:pt x="7586" y="3078"/>
                  <a:pt x="7586" y="3078"/>
                </a:cubicBezTo>
                <a:cubicBezTo>
                  <a:pt x="7592" y="3084"/>
                  <a:pt x="7592" y="3084"/>
                  <a:pt x="7592" y="3084"/>
                </a:cubicBezTo>
                <a:cubicBezTo>
                  <a:pt x="7594" y="3087"/>
                  <a:pt x="7753" y="3339"/>
                  <a:pt x="7947" y="3644"/>
                </a:cubicBezTo>
                <a:close/>
                <a:moveTo>
                  <a:pt x="8521" y="3738"/>
                </a:moveTo>
                <a:lnTo>
                  <a:pt x="8521" y="3738"/>
                </a:lnTo>
                <a:cubicBezTo>
                  <a:pt x="8995" y="4077"/>
                  <a:pt x="9381" y="4357"/>
                  <a:pt x="9378" y="4357"/>
                </a:cubicBezTo>
                <a:cubicBezTo>
                  <a:pt x="9378" y="4360"/>
                  <a:pt x="9162" y="4349"/>
                  <a:pt x="8898" y="4332"/>
                </a:cubicBezTo>
                <a:cubicBezTo>
                  <a:pt x="8635" y="4318"/>
                  <a:pt x="8418" y="4307"/>
                  <a:pt x="8413" y="4307"/>
                </a:cubicBezTo>
                <a:cubicBezTo>
                  <a:pt x="8404" y="4307"/>
                  <a:pt x="8404" y="4307"/>
                  <a:pt x="8404" y="4307"/>
                </a:cubicBezTo>
                <a:cubicBezTo>
                  <a:pt x="8033" y="3716"/>
                  <a:pt x="8033" y="3716"/>
                  <a:pt x="8033" y="3716"/>
                </a:cubicBezTo>
                <a:cubicBezTo>
                  <a:pt x="7614" y="3053"/>
                  <a:pt x="7655" y="3114"/>
                  <a:pt x="7658" y="3117"/>
                </a:cubicBezTo>
                <a:cubicBezTo>
                  <a:pt x="7661" y="3117"/>
                  <a:pt x="8049" y="3397"/>
                  <a:pt x="8521" y="3738"/>
                </a:cubicBezTo>
                <a:close/>
                <a:moveTo>
                  <a:pt x="7062" y="3309"/>
                </a:moveTo>
                <a:lnTo>
                  <a:pt x="7062" y="3309"/>
                </a:lnTo>
                <a:cubicBezTo>
                  <a:pt x="7287" y="3458"/>
                  <a:pt x="7287" y="3458"/>
                  <a:pt x="7287" y="3458"/>
                </a:cubicBezTo>
                <a:cubicBezTo>
                  <a:pt x="7281" y="3464"/>
                  <a:pt x="7281" y="3464"/>
                  <a:pt x="7281" y="3464"/>
                </a:cubicBezTo>
                <a:cubicBezTo>
                  <a:pt x="7273" y="3478"/>
                  <a:pt x="5855" y="5053"/>
                  <a:pt x="5853" y="5053"/>
                </a:cubicBezTo>
                <a:cubicBezTo>
                  <a:pt x="5853" y="5053"/>
                  <a:pt x="6072" y="4623"/>
                  <a:pt x="6341" y="4102"/>
                </a:cubicBezTo>
                <a:cubicBezTo>
                  <a:pt x="6682" y="3442"/>
                  <a:pt x="6832" y="3153"/>
                  <a:pt x="6834" y="3156"/>
                </a:cubicBezTo>
                <a:cubicBezTo>
                  <a:pt x="6837" y="3156"/>
                  <a:pt x="6940" y="3225"/>
                  <a:pt x="7062" y="3309"/>
                </a:cubicBezTo>
                <a:close/>
                <a:moveTo>
                  <a:pt x="5287" y="3170"/>
                </a:moveTo>
                <a:lnTo>
                  <a:pt x="5287" y="3170"/>
                </a:lnTo>
                <a:cubicBezTo>
                  <a:pt x="5287" y="3175"/>
                  <a:pt x="5154" y="3539"/>
                  <a:pt x="4993" y="3980"/>
                </a:cubicBezTo>
                <a:cubicBezTo>
                  <a:pt x="4779" y="4557"/>
                  <a:pt x="4685" y="4814"/>
                  <a:pt x="4657" y="4906"/>
                </a:cubicBezTo>
                <a:cubicBezTo>
                  <a:pt x="4610" y="5056"/>
                  <a:pt x="4524" y="5297"/>
                  <a:pt x="4518" y="5297"/>
                </a:cubicBezTo>
                <a:cubicBezTo>
                  <a:pt x="4516" y="5300"/>
                  <a:pt x="4488" y="5286"/>
                  <a:pt x="4457" y="5272"/>
                </a:cubicBezTo>
                <a:cubicBezTo>
                  <a:pt x="4413" y="5253"/>
                  <a:pt x="4399" y="5244"/>
                  <a:pt x="4399" y="5239"/>
                </a:cubicBezTo>
                <a:cubicBezTo>
                  <a:pt x="4402" y="5236"/>
                  <a:pt x="4543" y="4900"/>
                  <a:pt x="4718" y="4490"/>
                </a:cubicBezTo>
                <a:cubicBezTo>
                  <a:pt x="4893" y="4082"/>
                  <a:pt x="5093" y="3616"/>
                  <a:pt x="5162" y="3456"/>
                </a:cubicBezTo>
                <a:cubicBezTo>
                  <a:pt x="5231" y="3292"/>
                  <a:pt x="5289" y="3161"/>
                  <a:pt x="5289" y="3161"/>
                </a:cubicBezTo>
                <a:cubicBezTo>
                  <a:pt x="5289" y="3161"/>
                  <a:pt x="5289" y="3164"/>
                  <a:pt x="5287" y="3170"/>
                </a:cubicBezTo>
                <a:close/>
                <a:moveTo>
                  <a:pt x="12411" y="3844"/>
                </a:moveTo>
                <a:lnTo>
                  <a:pt x="12411" y="3844"/>
                </a:lnTo>
                <a:cubicBezTo>
                  <a:pt x="12434" y="4210"/>
                  <a:pt x="12453" y="4509"/>
                  <a:pt x="12453" y="4509"/>
                </a:cubicBezTo>
                <a:cubicBezTo>
                  <a:pt x="12450" y="4509"/>
                  <a:pt x="12098" y="4252"/>
                  <a:pt x="11671" y="3935"/>
                </a:cubicBezTo>
                <a:cubicBezTo>
                  <a:pt x="11241" y="3619"/>
                  <a:pt x="10894" y="3358"/>
                  <a:pt x="10897" y="3358"/>
                </a:cubicBezTo>
                <a:cubicBezTo>
                  <a:pt x="10900" y="3356"/>
                  <a:pt x="11230" y="3314"/>
                  <a:pt x="11632" y="3264"/>
                </a:cubicBezTo>
                <a:cubicBezTo>
                  <a:pt x="12364" y="3170"/>
                  <a:pt x="12364" y="3170"/>
                  <a:pt x="12364" y="3170"/>
                </a:cubicBezTo>
                <a:cubicBezTo>
                  <a:pt x="12367" y="3175"/>
                  <a:pt x="12367" y="3175"/>
                  <a:pt x="12367" y="3175"/>
                </a:cubicBezTo>
                <a:cubicBezTo>
                  <a:pt x="12370" y="3178"/>
                  <a:pt x="12389" y="3480"/>
                  <a:pt x="12411" y="3844"/>
                </a:cubicBezTo>
                <a:close/>
                <a:moveTo>
                  <a:pt x="8837" y="3688"/>
                </a:moveTo>
                <a:lnTo>
                  <a:pt x="8837" y="3688"/>
                </a:lnTo>
                <a:cubicBezTo>
                  <a:pt x="9192" y="3955"/>
                  <a:pt x="9483" y="4177"/>
                  <a:pt x="9486" y="4179"/>
                </a:cubicBezTo>
                <a:cubicBezTo>
                  <a:pt x="9492" y="4185"/>
                  <a:pt x="9492" y="4185"/>
                  <a:pt x="9492" y="4185"/>
                </a:cubicBezTo>
                <a:cubicBezTo>
                  <a:pt x="9478" y="4179"/>
                  <a:pt x="9478" y="4179"/>
                  <a:pt x="9478" y="4179"/>
                </a:cubicBezTo>
                <a:cubicBezTo>
                  <a:pt x="9395" y="4152"/>
                  <a:pt x="9148" y="4055"/>
                  <a:pt x="9137" y="4049"/>
                </a:cubicBezTo>
                <a:cubicBezTo>
                  <a:pt x="9126" y="4041"/>
                  <a:pt x="8210" y="3223"/>
                  <a:pt x="8191" y="3203"/>
                </a:cubicBezTo>
                <a:cubicBezTo>
                  <a:pt x="8185" y="3198"/>
                  <a:pt x="8182" y="3195"/>
                  <a:pt x="8185" y="3198"/>
                </a:cubicBezTo>
                <a:cubicBezTo>
                  <a:pt x="8188" y="3198"/>
                  <a:pt x="8482" y="3419"/>
                  <a:pt x="8837" y="3688"/>
                </a:cubicBezTo>
                <a:close/>
                <a:moveTo>
                  <a:pt x="12797" y="3694"/>
                </a:moveTo>
                <a:lnTo>
                  <a:pt x="12797" y="3694"/>
                </a:lnTo>
                <a:cubicBezTo>
                  <a:pt x="13005" y="3960"/>
                  <a:pt x="13177" y="4177"/>
                  <a:pt x="13174" y="4179"/>
                </a:cubicBezTo>
                <a:cubicBezTo>
                  <a:pt x="13169" y="4182"/>
                  <a:pt x="12492" y="4523"/>
                  <a:pt x="12492" y="4521"/>
                </a:cubicBezTo>
                <a:cubicBezTo>
                  <a:pt x="12489" y="4521"/>
                  <a:pt x="12409" y="3239"/>
                  <a:pt x="12409" y="3220"/>
                </a:cubicBezTo>
                <a:cubicBezTo>
                  <a:pt x="12409" y="3211"/>
                  <a:pt x="12409" y="3209"/>
                  <a:pt x="12411" y="3211"/>
                </a:cubicBezTo>
                <a:cubicBezTo>
                  <a:pt x="12414" y="3214"/>
                  <a:pt x="12586" y="3431"/>
                  <a:pt x="12797" y="3694"/>
                </a:cubicBezTo>
                <a:close/>
                <a:moveTo>
                  <a:pt x="13058" y="3589"/>
                </a:moveTo>
                <a:lnTo>
                  <a:pt x="13058" y="3589"/>
                </a:lnTo>
                <a:cubicBezTo>
                  <a:pt x="13374" y="3786"/>
                  <a:pt x="13635" y="3949"/>
                  <a:pt x="13632" y="3952"/>
                </a:cubicBezTo>
                <a:cubicBezTo>
                  <a:pt x="13632" y="3955"/>
                  <a:pt x="13219" y="4160"/>
                  <a:pt x="13213" y="4160"/>
                </a:cubicBezTo>
                <a:cubicBezTo>
                  <a:pt x="13207" y="4160"/>
                  <a:pt x="12475" y="3236"/>
                  <a:pt x="12472" y="3228"/>
                </a:cubicBezTo>
                <a:cubicBezTo>
                  <a:pt x="12470" y="3223"/>
                  <a:pt x="12414" y="3186"/>
                  <a:pt x="13058" y="3589"/>
                </a:cubicBezTo>
                <a:close/>
                <a:moveTo>
                  <a:pt x="8970" y="3372"/>
                </a:moveTo>
                <a:lnTo>
                  <a:pt x="8970" y="3372"/>
                </a:lnTo>
                <a:cubicBezTo>
                  <a:pt x="9048" y="3439"/>
                  <a:pt x="9114" y="3494"/>
                  <a:pt x="9117" y="3497"/>
                </a:cubicBezTo>
                <a:cubicBezTo>
                  <a:pt x="9123" y="3503"/>
                  <a:pt x="9123" y="3503"/>
                  <a:pt x="9123" y="3503"/>
                </a:cubicBezTo>
                <a:cubicBezTo>
                  <a:pt x="9117" y="3508"/>
                  <a:pt x="9117" y="3508"/>
                  <a:pt x="9117" y="3508"/>
                </a:cubicBezTo>
                <a:cubicBezTo>
                  <a:pt x="9112" y="3514"/>
                  <a:pt x="9112" y="3514"/>
                  <a:pt x="9112" y="3514"/>
                </a:cubicBezTo>
                <a:cubicBezTo>
                  <a:pt x="9103" y="3508"/>
                  <a:pt x="9103" y="3508"/>
                  <a:pt x="9103" y="3508"/>
                </a:cubicBezTo>
                <a:cubicBezTo>
                  <a:pt x="9084" y="3494"/>
                  <a:pt x="8795" y="3234"/>
                  <a:pt x="8793" y="3231"/>
                </a:cubicBezTo>
                <a:cubicBezTo>
                  <a:pt x="8793" y="3228"/>
                  <a:pt x="8798" y="3234"/>
                  <a:pt x="8809" y="3242"/>
                </a:cubicBezTo>
                <a:cubicBezTo>
                  <a:pt x="8820" y="3250"/>
                  <a:pt x="8893" y="3309"/>
                  <a:pt x="8970" y="3372"/>
                </a:cubicBezTo>
                <a:close/>
                <a:moveTo>
                  <a:pt x="6488" y="3730"/>
                </a:moveTo>
                <a:lnTo>
                  <a:pt x="6488" y="3730"/>
                </a:lnTo>
                <a:cubicBezTo>
                  <a:pt x="6374" y="3946"/>
                  <a:pt x="6280" y="4124"/>
                  <a:pt x="6280" y="4127"/>
                </a:cubicBezTo>
                <a:cubicBezTo>
                  <a:pt x="6277" y="4129"/>
                  <a:pt x="6135" y="4080"/>
                  <a:pt x="6135" y="4074"/>
                </a:cubicBezTo>
                <a:cubicBezTo>
                  <a:pt x="6135" y="4071"/>
                  <a:pt x="6693" y="3328"/>
                  <a:pt x="6696" y="3331"/>
                </a:cubicBezTo>
                <a:cubicBezTo>
                  <a:pt x="6696" y="3333"/>
                  <a:pt x="6601" y="3511"/>
                  <a:pt x="6488" y="3730"/>
                </a:cubicBezTo>
                <a:close/>
                <a:moveTo>
                  <a:pt x="4504" y="3342"/>
                </a:moveTo>
                <a:lnTo>
                  <a:pt x="4504" y="3342"/>
                </a:lnTo>
                <a:cubicBezTo>
                  <a:pt x="4504" y="3345"/>
                  <a:pt x="4493" y="3386"/>
                  <a:pt x="4480" y="3436"/>
                </a:cubicBezTo>
                <a:cubicBezTo>
                  <a:pt x="4468" y="3483"/>
                  <a:pt x="4391" y="3752"/>
                  <a:pt x="4308" y="4032"/>
                </a:cubicBezTo>
                <a:cubicBezTo>
                  <a:pt x="4166" y="4507"/>
                  <a:pt x="4147" y="4565"/>
                  <a:pt x="4147" y="4559"/>
                </a:cubicBezTo>
                <a:cubicBezTo>
                  <a:pt x="4147" y="4557"/>
                  <a:pt x="4163" y="4482"/>
                  <a:pt x="4186" y="4387"/>
                </a:cubicBezTo>
                <a:cubicBezTo>
                  <a:pt x="4230" y="4199"/>
                  <a:pt x="4288" y="3991"/>
                  <a:pt x="4394" y="3641"/>
                </a:cubicBezTo>
                <a:cubicBezTo>
                  <a:pt x="4488" y="3325"/>
                  <a:pt x="4482" y="3345"/>
                  <a:pt x="4493" y="3339"/>
                </a:cubicBezTo>
                <a:cubicBezTo>
                  <a:pt x="4504" y="3333"/>
                  <a:pt x="4507" y="3333"/>
                  <a:pt x="4504" y="3342"/>
                </a:cubicBezTo>
                <a:close/>
                <a:moveTo>
                  <a:pt x="9768" y="3938"/>
                </a:moveTo>
                <a:lnTo>
                  <a:pt x="9768" y="3938"/>
                </a:lnTo>
                <a:cubicBezTo>
                  <a:pt x="10267" y="4612"/>
                  <a:pt x="10259" y="4601"/>
                  <a:pt x="10148" y="4462"/>
                </a:cubicBezTo>
                <a:cubicBezTo>
                  <a:pt x="10093" y="4390"/>
                  <a:pt x="10093" y="4390"/>
                  <a:pt x="10093" y="4390"/>
                </a:cubicBezTo>
                <a:cubicBezTo>
                  <a:pt x="9982" y="4293"/>
                  <a:pt x="9982" y="4293"/>
                  <a:pt x="9982" y="4293"/>
                </a:cubicBezTo>
                <a:cubicBezTo>
                  <a:pt x="9923" y="4240"/>
                  <a:pt x="9857" y="4182"/>
                  <a:pt x="9837" y="4166"/>
                </a:cubicBezTo>
                <a:cubicBezTo>
                  <a:pt x="9818" y="4146"/>
                  <a:pt x="9735" y="4055"/>
                  <a:pt x="9638" y="3938"/>
                </a:cubicBezTo>
                <a:cubicBezTo>
                  <a:pt x="9546" y="3833"/>
                  <a:pt x="9469" y="3741"/>
                  <a:pt x="9467" y="3741"/>
                </a:cubicBezTo>
                <a:cubicBezTo>
                  <a:pt x="9464" y="3733"/>
                  <a:pt x="9342" y="3375"/>
                  <a:pt x="9342" y="3370"/>
                </a:cubicBezTo>
                <a:cubicBezTo>
                  <a:pt x="9342" y="3367"/>
                  <a:pt x="9345" y="3370"/>
                  <a:pt x="9347" y="3372"/>
                </a:cubicBezTo>
                <a:cubicBezTo>
                  <a:pt x="9350" y="3375"/>
                  <a:pt x="9541" y="3630"/>
                  <a:pt x="9768" y="3938"/>
                </a:cubicBezTo>
                <a:close/>
                <a:moveTo>
                  <a:pt x="11171" y="4190"/>
                </a:moveTo>
                <a:lnTo>
                  <a:pt x="11171" y="4190"/>
                </a:lnTo>
                <a:cubicBezTo>
                  <a:pt x="11352" y="4629"/>
                  <a:pt x="11499" y="4989"/>
                  <a:pt x="11496" y="4989"/>
                </a:cubicBezTo>
                <a:cubicBezTo>
                  <a:pt x="11496" y="4992"/>
                  <a:pt x="10303" y="4240"/>
                  <a:pt x="10295" y="4235"/>
                </a:cubicBezTo>
                <a:cubicBezTo>
                  <a:pt x="10292" y="4232"/>
                  <a:pt x="10414" y="4041"/>
                  <a:pt x="10564" y="3808"/>
                </a:cubicBezTo>
                <a:cubicBezTo>
                  <a:pt x="10714" y="3578"/>
                  <a:pt x="10839" y="3389"/>
                  <a:pt x="10841" y="3389"/>
                </a:cubicBezTo>
                <a:cubicBezTo>
                  <a:pt x="10841" y="3392"/>
                  <a:pt x="10991" y="3752"/>
                  <a:pt x="11171" y="4190"/>
                </a:cubicBezTo>
                <a:close/>
                <a:moveTo>
                  <a:pt x="11701" y="4002"/>
                </a:moveTo>
                <a:lnTo>
                  <a:pt x="11701" y="4002"/>
                </a:lnTo>
                <a:cubicBezTo>
                  <a:pt x="12106" y="4301"/>
                  <a:pt x="12436" y="4545"/>
                  <a:pt x="12436" y="4548"/>
                </a:cubicBezTo>
                <a:cubicBezTo>
                  <a:pt x="12439" y="4551"/>
                  <a:pt x="12015" y="4767"/>
                  <a:pt x="12009" y="4765"/>
                </a:cubicBezTo>
                <a:cubicBezTo>
                  <a:pt x="12006" y="4765"/>
                  <a:pt x="10980" y="3492"/>
                  <a:pt x="10955" y="3458"/>
                </a:cubicBezTo>
                <a:cubicBezTo>
                  <a:pt x="10950" y="3447"/>
                  <a:pt x="10950" y="3447"/>
                  <a:pt x="10950" y="3447"/>
                </a:cubicBezTo>
                <a:cubicBezTo>
                  <a:pt x="10958" y="3453"/>
                  <a:pt x="10958" y="3453"/>
                  <a:pt x="10958" y="3453"/>
                </a:cubicBezTo>
                <a:cubicBezTo>
                  <a:pt x="10964" y="3456"/>
                  <a:pt x="11299" y="3702"/>
                  <a:pt x="11701" y="4002"/>
                </a:cubicBezTo>
                <a:close/>
                <a:moveTo>
                  <a:pt x="11454" y="4132"/>
                </a:moveTo>
                <a:lnTo>
                  <a:pt x="11454" y="4132"/>
                </a:lnTo>
                <a:cubicBezTo>
                  <a:pt x="11740" y="4487"/>
                  <a:pt x="11973" y="4781"/>
                  <a:pt x="11973" y="4781"/>
                </a:cubicBezTo>
                <a:cubicBezTo>
                  <a:pt x="11976" y="4787"/>
                  <a:pt x="11560" y="5011"/>
                  <a:pt x="11552" y="5011"/>
                </a:cubicBezTo>
                <a:cubicBezTo>
                  <a:pt x="11549" y="5011"/>
                  <a:pt x="11427" y="4717"/>
                  <a:pt x="11227" y="4238"/>
                </a:cubicBezTo>
                <a:cubicBezTo>
                  <a:pt x="11052" y="3811"/>
                  <a:pt x="10911" y="3461"/>
                  <a:pt x="10911" y="3461"/>
                </a:cubicBezTo>
                <a:cubicBezTo>
                  <a:pt x="10911" y="3458"/>
                  <a:pt x="10900" y="3444"/>
                  <a:pt x="11454" y="4132"/>
                </a:cubicBezTo>
                <a:close/>
                <a:moveTo>
                  <a:pt x="8216" y="4271"/>
                </a:moveTo>
                <a:lnTo>
                  <a:pt x="8216" y="4271"/>
                </a:lnTo>
                <a:cubicBezTo>
                  <a:pt x="8704" y="4701"/>
                  <a:pt x="9106" y="5053"/>
                  <a:pt x="9106" y="5056"/>
                </a:cubicBezTo>
                <a:cubicBezTo>
                  <a:pt x="9103" y="5059"/>
                  <a:pt x="5389" y="6831"/>
                  <a:pt x="5387" y="6828"/>
                </a:cubicBezTo>
                <a:cubicBezTo>
                  <a:pt x="5381" y="6828"/>
                  <a:pt x="5478" y="6662"/>
                  <a:pt x="6019" y="5735"/>
                </a:cubicBezTo>
                <a:cubicBezTo>
                  <a:pt x="6549" y="4826"/>
                  <a:pt x="6873" y="4268"/>
                  <a:pt x="7112" y="3847"/>
                </a:cubicBezTo>
                <a:cubicBezTo>
                  <a:pt x="7226" y="3650"/>
                  <a:pt x="7320" y="3486"/>
                  <a:pt x="7320" y="3486"/>
                </a:cubicBezTo>
                <a:cubicBezTo>
                  <a:pt x="7323" y="3489"/>
                  <a:pt x="7725" y="3841"/>
                  <a:pt x="8216" y="4271"/>
                </a:cubicBezTo>
                <a:close/>
                <a:moveTo>
                  <a:pt x="1193" y="4129"/>
                </a:moveTo>
                <a:lnTo>
                  <a:pt x="1193" y="4129"/>
                </a:lnTo>
                <a:cubicBezTo>
                  <a:pt x="1326" y="4723"/>
                  <a:pt x="1326" y="4723"/>
                  <a:pt x="1326" y="4723"/>
                </a:cubicBezTo>
                <a:cubicBezTo>
                  <a:pt x="1068" y="5061"/>
                  <a:pt x="1068" y="5061"/>
                  <a:pt x="1068" y="5061"/>
                </a:cubicBezTo>
                <a:cubicBezTo>
                  <a:pt x="926" y="5247"/>
                  <a:pt x="810" y="5397"/>
                  <a:pt x="807" y="5397"/>
                </a:cubicBezTo>
                <a:cubicBezTo>
                  <a:pt x="807" y="5394"/>
                  <a:pt x="1049" y="3558"/>
                  <a:pt x="1054" y="3530"/>
                </a:cubicBezTo>
                <a:cubicBezTo>
                  <a:pt x="1057" y="3519"/>
                  <a:pt x="1057" y="3519"/>
                  <a:pt x="1057" y="3519"/>
                </a:cubicBezTo>
                <a:cubicBezTo>
                  <a:pt x="1060" y="3525"/>
                  <a:pt x="1060" y="3525"/>
                  <a:pt x="1060" y="3525"/>
                </a:cubicBezTo>
                <a:cubicBezTo>
                  <a:pt x="1060" y="3530"/>
                  <a:pt x="1121" y="3802"/>
                  <a:pt x="1193" y="4129"/>
                </a:cubicBezTo>
                <a:close/>
                <a:moveTo>
                  <a:pt x="9297" y="3644"/>
                </a:moveTo>
                <a:lnTo>
                  <a:pt x="9297" y="3644"/>
                </a:lnTo>
                <a:cubicBezTo>
                  <a:pt x="9439" y="3761"/>
                  <a:pt x="9439" y="3761"/>
                  <a:pt x="9439" y="3761"/>
                </a:cubicBezTo>
                <a:cubicBezTo>
                  <a:pt x="9510" y="3847"/>
                  <a:pt x="9510" y="3847"/>
                  <a:pt x="9510" y="3847"/>
                </a:cubicBezTo>
                <a:cubicBezTo>
                  <a:pt x="9588" y="3935"/>
                  <a:pt x="9602" y="3955"/>
                  <a:pt x="9585" y="3938"/>
                </a:cubicBezTo>
                <a:cubicBezTo>
                  <a:pt x="9579" y="3933"/>
                  <a:pt x="9481" y="3847"/>
                  <a:pt x="9370" y="3747"/>
                </a:cubicBezTo>
                <a:cubicBezTo>
                  <a:pt x="9256" y="3644"/>
                  <a:pt x="9159" y="3558"/>
                  <a:pt x="9150" y="3550"/>
                </a:cubicBezTo>
                <a:cubicBezTo>
                  <a:pt x="9137" y="3539"/>
                  <a:pt x="9137" y="3539"/>
                  <a:pt x="9137" y="3539"/>
                </a:cubicBezTo>
                <a:cubicBezTo>
                  <a:pt x="9145" y="3533"/>
                  <a:pt x="9145" y="3533"/>
                  <a:pt x="9145" y="3533"/>
                </a:cubicBezTo>
                <a:cubicBezTo>
                  <a:pt x="9150" y="3530"/>
                  <a:pt x="9153" y="3528"/>
                  <a:pt x="9156" y="3528"/>
                </a:cubicBezTo>
                <a:cubicBezTo>
                  <a:pt x="9156" y="3528"/>
                  <a:pt x="9220" y="3580"/>
                  <a:pt x="9297" y="3644"/>
                </a:cubicBezTo>
                <a:close/>
                <a:moveTo>
                  <a:pt x="10314" y="4432"/>
                </a:moveTo>
                <a:lnTo>
                  <a:pt x="10314" y="4432"/>
                </a:lnTo>
                <a:cubicBezTo>
                  <a:pt x="10733" y="4898"/>
                  <a:pt x="11074" y="5283"/>
                  <a:pt x="11074" y="5283"/>
                </a:cubicBezTo>
                <a:cubicBezTo>
                  <a:pt x="11074" y="5286"/>
                  <a:pt x="10908" y="5405"/>
                  <a:pt x="10902" y="5405"/>
                </a:cubicBezTo>
                <a:cubicBezTo>
                  <a:pt x="10902" y="5405"/>
                  <a:pt x="10603" y="5003"/>
                  <a:pt x="10237" y="4509"/>
                </a:cubicBezTo>
                <a:cubicBezTo>
                  <a:pt x="9469" y="3472"/>
                  <a:pt x="9549" y="3583"/>
                  <a:pt x="9552" y="3583"/>
                </a:cubicBezTo>
                <a:cubicBezTo>
                  <a:pt x="9552" y="3583"/>
                  <a:pt x="9896" y="3966"/>
                  <a:pt x="10314" y="4432"/>
                </a:cubicBezTo>
                <a:close/>
                <a:moveTo>
                  <a:pt x="899" y="4437"/>
                </a:moveTo>
                <a:lnTo>
                  <a:pt x="899" y="4437"/>
                </a:lnTo>
                <a:cubicBezTo>
                  <a:pt x="838" y="4895"/>
                  <a:pt x="788" y="5272"/>
                  <a:pt x="788" y="5278"/>
                </a:cubicBezTo>
                <a:cubicBezTo>
                  <a:pt x="785" y="5286"/>
                  <a:pt x="785" y="5286"/>
                  <a:pt x="785" y="5286"/>
                </a:cubicBezTo>
                <a:cubicBezTo>
                  <a:pt x="782" y="5272"/>
                  <a:pt x="782" y="5272"/>
                  <a:pt x="782" y="5272"/>
                </a:cubicBezTo>
                <a:cubicBezTo>
                  <a:pt x="782" y="5267"/>
                  <a:pt x="766" y="5078"/>
                  <a:pt x="749" y="4856"/>
                </a:cubicBezTo>
                <a:cubicBezTo>
                  <a:pt x="716" y="4454"/>
                  <a:pt x="716" y="4454"/>
                  <a:pt x="716" y="4454"/>
                </a:cubicBezTo>
                <a:cubicBezTo>
                  <a:pt x="860" y="4027"/>
                  <a:pt x="860" y="4027"/>
                  <a:pt x="860" y="4027"/>
                </a:cubicBezTo>
                <a:cubicBezTo>
                  <a:pt x="940" y="3794"/>
                  <a:pt x="1007" y="3602"/>
                  <a:pt x="1007" y="3605"/>
                </a:cubicBezTo>
                <a:cubicBezTo>
                  <a:pt x="1007" y="3605"/>
                  <a:pt x="960" y="3982"/>
                  <a:pt x="899" y="4437"/>
                </a:cubicBezTo>
                <a:close/>
                <a:moveTo>
                  <a:pt x="7201" y="3614"/>
                </a:moveTo>
                <a:lnTo>
                  <a:pt x="7201" y="3614"/>
                </a:lnTo>
                <a:cubicBezTo>
                  <a:pt x="7195" y="3627"/>
                  <a:pt x="5991" y="5694"/>
                  <a:pt x="5988" y="5694"/>
                </a:cubicBezTo>
                <a:cubicBezTo>
                  <a:pt x="5986" y="5694"/>
                  <a:pt x="5786" y="5189"/>
                  <a:pt x="5786" y="5183"/>
                </a:cubicBezTo>
                <a:cubicBezTo>
                  <a:pt x="5786" y="5181"/>
                  <a:pt x="7198" y="3608"/>
                  <a:pt x="7201" y="3608"/>
                </a:cubicBezTo>
                <a:cubicBezTo>
                  <a:pt x="7201" y="3608"/>
                  <a:pt x="7201" y="3611"/>
                  <a:pt x="7201" y="3614"/>
                </a:cubicBezTo>
                <a:close/>
                <a:moveTo>
                  <a:pt x="13859" y="3730"/>
                </a:moveTo>
                <a:lnTo>
                  <a:pt x="13859" y="3730"/>
                </a:lnTo>
                <a:cubicBezTo>
                  <a:pt x="13901" y="3783"/>
                  <a:pt x="13937" y="3830"/>
                  <a:pt x="13937" y="3833"/>
                </a:cubicBezTo>
                <a:cubicBezTo>
                  <a:pt x="13940" y="3838"/>
                  <a:pt x="13937" y="3838"/>
                  <a:pt x="13931" y="3838"/>
                </a:cubicBezTo>
                <a:cubicBezTo>
                  <a:pt x="13923" y="3835"/>
                  <a:pt x="13904" y="3811"/>
                  <a:pt x="13795" y="3652"/>
                </a:cubicBezTo>
                <a:cubicBezTo>
                  <a:pt x="13759" y="3602"/>
                  <a:pt x="13784" y="3630"/>
                  <a:pt x="13859" y="3730"/>
                </a:cubicBezTo>
                <a:close/>
                <a:moveTo>
                  <a:pt x="913" y="3763"/>
                </a:moveTo>
                <a:lnTo>
                  <a:pt x="913" y="3763"/>
                </a:lnTo>
                <a:cubicBezTo>
                  <a:pt x="890" y="3827"/>
                  <a:pt x="871" y="3883"/>
                  <a:pt x="871" y="3883"/>
                </a:cubicBezTo>
                <a:cubicBezTo>
                  <a:pt x="868" y="3885"/>
                  <a:pt x="865" y="3880"/>
                  <a:pt x="863" y="3869"/>
                </a:cubicBezTo>
                <a:cubicBezTo>
                  <a:pt x="857" y="3852"/>
                  <a:pt x="857" y="3852"/>
                  <a:pt x="857" y="3852"/>
                </a:cubicBezTo>
                <a:cubicBezTo>
                  <a:pt x="902" y="3747"/>
                  <a:pt x="902" y="3747"/>
                  <a:pt x="902" y="3747"/>
                </a:cubicBezTo>
                <a:cubicBezTo>
                  <a:pt x="929" y="3688"/>
                  <a:pt x="951" y="3644"/>
                  <a:pt x="951" y="3644"/>
                </a:cubicBezTo>
                <a:cubicBezTo>
                  <a:pt x="951" y="3644"/>
                  <a:pt x="935" y="3700"/>
                  <a:pt x="913" y="3763"/>
                </a:cubicBezTo>
                <a:close/>
                <a:moveTo>
                  <a:pt x="9078" y="3761"/>
                </a:moveTo>
                <a:lnTo>
                  <a:pt x="9078" y="3761"/>
                </a:lnTo>
                <a:cubicBezTo>
                  <a:pt x="9112" y="3788"/>
                  <a:pt x="9162" y="3835"/>
                  <a:pt x="9142" y="3824"/>
                </a:cubicBezTo>
                <a:cubicBezTo>
                  <a:pt x="9134" y="3819"/>
                  <a:pt x="9017" y="3719"/>
                  <a:pt x="9017" y="3716"/>
                </a:cubicBezTo>
                <a:cubicBezTo>
                  <a:pt x="9017" y="3713"/>
                  <a:pt x="9040" y="3727"/>
                  <a:pt x="9078" y="3761"/>
                </a:cubicBezTo>
                <a:close/>
                <a:moveTo>
                  <a:pt x="9660" y="4149"/>
                </a:moveTo>
                <a:lnTo>
                  <a:pt x="9660" y="4149"/>
                </a:lnTo>
                <a:cubicBezTo>
                  <a:pt x="10068" y="4415"/>
                  <a:pt x="10068" y="4415"/>
                  <a:pt x="10068" y="4415"/>
                </a:cubicBezTo>
                <a:cubicBezTo>
                  <a:pt x="10320" y="4889"/>
                  <a:pt x="10320" y="4889"/>
                  <a:pt x="10320" y="4889"/>
                </a:cubicBezTo>
                <a:cubicBezTo>
                  <a:pt x="10459" y="5150"/>
                  <a:pt x="10578" y="5375"/>
                  <a:pt x="10583" y="5389"/>
                </a:cubicBezTo>
                <a:cubicBezTo>
                  <a:pt x="10597" y="5411"/>
                  <a:pt x="10597" y="5411"/>
                  <a:pt x="10597" y="5411"/>
                </a:cubicBezTo>
                <a:cubicBezTo>
                  <a:pt x="10586" y="5402"/>
                  <a:pt x="10586" y="5402"/>
                  <a:pt x="10586" y="5402"/>
                </a:cubicBezTo>
                <a:cubicBezTo>
                  <a:pt x="10583" y="5397"/>
                  <a:pt x="10364" y="5133"/>
                  <a:pt x="10101" y="4817"/>
                </a:cubicBezTo>
                <a:cubicBezTo>
                  <a:pt x="9624" y="4240"/>
                  <a:pt x="9624" y="4240"/>
                  <a:pt x="9624" y="4240"/>
                </a:cubicBezTo>
                <a:cubicBezTo>
                  <a:pt x="9489" y="4121"/>
                  <a:pt x="9489" y="4121"/>
                  <a:pt x="9489" y="4121"/>
                </a:cubicBezTo>
                <a:cubicBezTo>
                  <a:pt x="9353" y="4005"/>
                  <a:pt x="9353" y="4005"/>
                  <a:pt x="9353" y="4005"/>
                </a:cubicBezTo>
                <a:cubicBezTo>
                  <a:pt x="9303" y="3949"/>
                  <a:pt x="9303" y="3949"/>
                  <a:pt x="9303" y="3949"/>
                </a:cubicBezTo>
                <a:cubicBezTo>
                  <a:pt x="9278" y="3919"/>
                  <a:pt x="9250" y="3888"/>
                  <a:pt x="9245" y="3883"/>
                </a:cubicBezTo>
                <a:cubicBezTo>
                  <a:pt x="9234" y="3869"/>
                  <a:pt x="9234" y="3869"/>
                  <a:pt x="9234" y="3869"/>
                </a:cubicBezTo>
                <a:cubicBezTo>
                  <a:pt x="9245" y="3877"/>
                  <a:pt x="9245" y="3877"/>
                  <a:pt x="9245" y="3877"/>
                </a:cubicBezTo>
                <a:cubicBezTo>
                  <a:pt x="9250" y="3880"/>
                  <a:pt x="9439" y="4002"/>
                  <a:pt x="9660" y="4149"/>
                </a:cubicBezTo>
                <a:close/>
                <a:moveTo>
                  <a:pt x="14092" y="4066"/>
                </a:moveTo>
                <a:lnTo>
                  <a:pt x="14092" y="4066"/>
                </a:lnTo>
                <a:cubicBezTo>
                  <a:pt x="14156" y="4166"/>
                  <a:pt x="14209" y="4249"/>
                  <a:pt x="14209" y="4249"/>
                </a:cubicBezTo>
                <a:cubicBezTo>
                  <a:pt x="14206" y="4252"/>
                  <a:pt x="13920" y="3883"/>
                  <a:pt x="13920" y="3880"/>
                </a:cubicBezTo>
                <a:cubicBezTo>
                  <a:pt x="13920" y="3874"/>
                  <a:pt x="13965" y="3871"/>
                  <a:pt x="13970" y="3877"/>
                </a:cubicBezTo>
                <a:cubicBezTo>
                  <a:pt x="13973" y="3880"/>
                  <a:pt x="14028" y="3963"/>
                  <a:pt x="14092" y="4066"/>
                </a:cubicBezTo>
                <a:close/>
                <a:moveTo>
                  <a:pt x="13915" y="3969"/>
                </a:moveTo>
                <a:lnTo>
                  <a:pt x="13915" y="3969"/>
                </a:lnTo>
                <a:cubicBezTo>
                  <a:pt x="13937" y="4016"/>
                  <a:pt x="13954" y="4055"/>
                  <a:pt x="13954" y="4055"/>
                </a:cubicBezTo>
                <a:cubicBezTo>
                  <a:pt x="13951" y="4057"/>
                  <a:pt x="13845" y="3902"/>
                  <a:pt x="13845" y="3897"/>
                </a:cubicBezTo>
                <a:cubicBezTo>
                  <a:pt x="13845" y="3894"/>
                  <a:pt x="13862" y="3888"/>
                  <a:pt x="13870" y="3885"/>
                </a:cubicBezTo>
                <a:cubicBezTo>
                  <a:pt x="13870" y="3885"/>
                  <a:pt x="13893" y="3924"/>
                  <a:pt x="13915" y="3969"/>
                </a:cubicBezTo>
                <a:close/>
                <a:moveTo>
                  <a:pt x="1365" y="4171"/>
                </a:moveTo>
                <a:lnTo>
                  <a:pt x="1365" y="4171"/>
                </a:lnTo>
                <a:cubicBezTo>
                  <a:pt x="1373" y="4310"/>
                  <a:pt x="1381" y="4432"/>
                  <a:pt x="1381" y="4440"/>
                </a:cubicBezTo>
                <a:cubicBezTo>
                  <a:pt x="1384" y="4459"/>
                  <a:pt x="1384" y="4459"/>
                  <a:pt x="1384" y="4459"/>
                </a:cubicBezTo>
                <a:cubicBezTo>
                  <a:pt x="1376" y="4462"/>
                  <a:pt x="1376" y="4462"/>
                  <a:pt x="1376" y="4462"/>
                </a:cubicBezTo>
                <a:cubicBezTo>
                  <a:pt x="1373" y="4462"/>
                  <a:pt x="1368" y="4462"/>
                  <a:pt x="1368" y="4462"/>
                </a:cubicBezTo>
                <a:cubicBezTo>
                  <a:pt x="1368" y="4462"/>
                  <a:pt x="1362" y="4379"/>
                  <a:pt x="1356" y="4279"/>
                </a:cubicBezTo>
                <a:cubicBezTo>
                  <a:pt x="1348" y="4107"/>
                  <a:pt x="1342" y="3905"/>
                  <a:pt x="1345" y="3913"/>
                </a:cubicBezTo>
                <a:cubicBezTo>
                  <a:pt x="1348" y="3916"/>
                  <a:pt x="1354" y="4032"/>
                  <a:pt x="1365" y="4171"/>
                </a:cubicBezTo>
                <a:close/>
                <a:moveTo>
                  <a:pt x="13973" y="4154"/>
                </a:moveTo>
                <a:lnTo>
                  <a:pt x="13973" y="4154"/>
                </a:lnTo>
                <a:cubicBezTo>
                  <a:pt x="14062" y="4290"/>
                  <a:pt x="14134" y="4401"/>
                  <a:pt x="14134" y="4404"/>
                </a:cubicBezTo>
                <a:cubicBezTo>
                  <a:pt x="14137" y="4410"/>
                  <a:pt x="14114" y="4385"/>
                  <a:pt x="13884" y="4146"/>
                </a:cubicBezTo>
                <a:cubicBezTo>
                  <a:pt x="13787" y="4043"/>
                  <a:pt x="13709" y="3960"/>
                  <a:pt x="13712" y="3957"/>
                </a:cubicBezTo>
                <a:cubicBezTo>
                  <a:pt x="13712" y="3955"/>
                  <a:pt x="13801" y="3913"/>
                  <a:pt x="13807" y="3913"/>
                </a:cubicBezTo>
                <a:cubicBezTo>
                  <a:pt x="13809" y="3913"/>
                  <a:pt x="13884" y="4021"/>
                  <a:pt x="13973" y="4154"/>
                </a:cubicBezTo>
                <a:close/>
                <a:moveTo>
                  <a:pt x="13676" y="4374"/>
                </a:moveTo>
                <a:lnTo>
                  <a:pt x="13676" y="4374"/>
                </a:lnTo>
                <a:cubicBezTo>
                  <a:pt x="13687" y="4587"/>
                  <a:pt x="13696" y="4781"/>
                  <a:pt x="13696" y="4809"/>
                </a:cubicBezTo>
                <a:cubicBezTo>
                  <a:pt x="13698" y="4856"/>
                  <a:pt x="13698" y="4856"/>
                  <a:pt x="13698" y="4856"/>
                </a:cubicBezTo>
                <a:cubicBezTo>
                  <a:pt x="13693" y="4851"/>
                  <a:pt x="13693" y="4851"/>
                  <a:pt x="13693" y="4851"/>
                </a:cubicBezTo>
                <a:cubicBezTo>
                  <a:pt x="13687" y="4842"/>
                  <a:pt x="13238" y="4196"/>
                  <a:pt x="13235" y="4193"/>
                </a:cubicBezTo>
                <a:cubicBezTo>
                  <a:pt x="13235" y="4188"/>
                  <a:pt x="13651" y="3982"/>
                  <a:pt x="13657" y="3982"/>
                </a:cubicBezTo>
                <a:cubicBezTo>
                  <a:pt x="13660" y="3985"/>
                  <a:pt x="13665" y="4132"/>
                  <a:pt x="13676" y="4374"/>
                </a:cubicBezTo>
                <a:close/>
                <a:moveTo>
                  <a:pt x="10131" y="4141"/>
                </a:moveTo>
                <a:lnTo>
                  <a:pt x="10131" y="4141"/>
                </a:lnTo>
                <a:cubicBezTo>
                  <a:pt x="10256" y="4252"/>
                  <a:pt x="10256" y="4252"/>
                  <a:pt x="10256" y="4252"/>
                </a:cubicBezTo>
                <a:cubicBezTo>
                  <a:pt x="10453" y="4498"/>
                  <a:pt x="10453" y="4498"/>
                  <a:pt x="10453" y="4498"/>
                </a:cubicBezTo>
                <a:cubicBezTo>
                  <a:pt x="10561" y="4634"/>
                  <a:pt x="10656" y="4754"/>
                  <a:pt x="10661" y="4762"/>
                </a:cubicBezTo>
                <a:cubicBezTo>
                  <a:pt x="10675" y="4778"/>
                  <a:pt x="10675" y="4778"/>
                  <a:pt x="10675" y="4778"/>
                </a:cubicBezTo>
                <a:cubicBezTo>
                  <a:pt x="10661" y="4767"/>
                  <a:pt x="10661" y="4767"/>
                  <a:pt x="10661" y="4767"/>
                </a:cubicBezTo>
                <a:cubicBezTo>
                  <a:pt x="10650" y="4756"/>
                  <a:pt x="10020" y="4052"/>
                  <a:pt x="9998" y="4027"/>
                </a:cubicBezTo>
                <a:cubicBezTo>
                  <a:pt x="9990" y="4019"/>
                  <a:pt x="9990" y="4019"/>
                  <a:pt x="9990" y="4019"/>
                </a:cubicBezTo>
                <a:cubicBezTo>
                  <a:pt x="9998" y="4024"/>
                  <a:pt x="9998" y="4024"/>
                  <a:pt x="9998" y="4024"/>
                </a:cubicBezTo>
                <a:cubicBezTo>
                  <a:pt x="10004" y="4027"/>
                  <a:pt x="10062" y="4080"/>
                  <a:pt x="10131" y="4141"/>
                </a:cubicBezTo>
                <a:close/>
                <a:moveTo>
                  <a:pt x="8205" y="4196"/>
                </a:moveTo>
                <a:lnTo>
                  <a:pt x="8205" y="4196"/>
                </a:lnTo>
                <a:cubicBezTo>
                  <a:pt x="8379" y="4335"/>
                  <a:pt x="8379" y="4335"/>
                  <a:pt x="8379" y="4335"/>
                </a:cubicBezTo>
                <a:cubicBezTo>
                  <a:pt x="8413" y="4374"/>
                  <a:pt x="8413" y="4374"/>
                  <a:pt x="8413" y="4374"/>
                </a:cubicBezTo>
                <a:cubicBezTo>
                  <a:pt x="8432" y="4393"/>
                  <a:pt x="8460" y="4423"/>
                  <a:pt x="8474" y="4440"/>
                </a:cubicBezTo>
                <a:cubicBezTo>
                  <a:pt x="8490" y="4457"/>
                  <a:pt x="8499" y="4471"/>
                  <a:pt x="8499" y="4471"/>
                </a:cubicBezTo>
                <a:cubicBezTo>
                  <a:pt x="8493" y="4468"/>
                  <a:pt x="7988" y="4027"/>
                  <a:pt x="7988" y="4024"/>
                </a:cubicBezTo>
                <a:cubicBezTo>
                  <a:pt x="7988" y="4021"/>
                  <a:pt x="8013" y="4041"/>
                  <a:pt x="8205" y="4196"/>
                </a:cubicBezTo>
                <a:close/>
                <a:moveTo>
                  <a:pt x="14026" y="4507"/>
                </a:moveTo>
                <a:lnTo>
                  <a:pt x="14026" y="4507"/>
                </a:lnTo>
                <a:cubicBezTo>
                  <a:pt x="14203" y="4776"/>
                  <a:pt x="14350" y="4995"/>
                  <a:pt x="14347" y="4995"/>
                </a:cubicBezTo>
                <a:cubicBezTo>
                  <a:pt x="14347" y="4995"/>
                  <a:pt x="13743" y="4906"/>
                  <a:pt x="13740" y="4903"/>
                </a:cubicBezTo>
                <a:cubicBezTo>
                  <a:pt x="13734" y="4900"/>
                  <a:pt x="13696" y="4024"/>
                  <a:pt x="13698" y="4024"/>
                </a:cubicBezTo>
                <a:cubicBezTo>
                  <a:pt x="13701" y="4024"/>
                  <a:pt x="13848" y="4240"/>
                  <a:pt x="14026" y="4507"/>
                </a:cubicBezTo>
                <a:close/>
                <a:moveTo>
                  <a:pt x="3861" y="5125"/>
                </a:moveTo>
                <a:lnTo>
                  <a:pt x="3861" y="5125"/>
                </a:lnTo>
                <a:cubicBezTo>
                  <a:pt x="3667" y="5727"/>
                  <a:pt x="3506" y="6223"/>
                  <a:pt x="3503" y="6226"/>
                </a:cubicBezTo>
                <a:cubicBezTo>
                  <a:pt x="3500" y="6229"/>
                  <a:pt x="3500" y="6232"/>
                  <a:pt x="3500" y="6229"/>
                </a:cubicBezTo>
                <a:cubicBezTo>
                  <a:pt x="3500" y="6226"/>
                  <a:pt x="3489" y="5990"/>
                  <a:pt x="3476" y="5708"/>
                </a:cubicBezTo>
                <a:cubicBezTo>
                  <a:pt x="3462" y="5422"/>
                  <a:pt x="3453" y="5181"/>
                  <a:pt x="3453" y="5172"/>
                </a:cubicBezTo>
                <a:cubicBezTo>
                  <a:pt x="3453" y="5156"/>
                  <a:pt x="3453" y="5156"/>
                  <a:pt x="3453" y="5156"/>
                </a:cubicBezTo>
                <a:cubicBezTo>
                  <a:pt x="3833" y="4590"/>
                  <a:pt x="3833" y="4590"/>
                  <a:pt x="3833" y="4590"/>
                </a:cubicBezTo>
                <a:cubicBezTo>
                  <a:pt x="4044" y="4279"/>
                  <a:pt x="4216" y="4027"/>
                  <a:pt x="4216" y="4027"/>
                </a:cubicBezTo>
                <a:cubicBezTo>
                  <a:pt x="4216" y="4030"/>
                  <a:pt x="4058" y="4523"/>
                  <a:pt x="3861" y="5125"/>
                </a:cubicBezTo>
                <a:close/>
                <a:moveTo>
                  <a:pt x="6188" y="4135"/>
                </a:moveTo>
                <a:lnTo>
                  <a:pt x="6188" y="4135"/>
                </a:lnTo>
                <a:cubicBezTo>
                  <a:pt x="6260" y="4157"/>
                  <a:pt x="6260" y="4157"/>
                  <a:pt x="6260" y="4157"/>
                </a:cubicBezTo>
                <a:cubicBezTo>
                  <a:pt x="6257" y="4166"/>
                  <a:pt x="6257" y="4166"/>
                  <a:pt x="6257" y="4166"/>
                </a:cubicBezTo>
                <a:cubicBezTo>
                  <a:pt x="6255" y="4174"/>
                  <a:pt x="5869" y="4920"/>
                  <a:pt x="5866" y="4923"/>
                </a:cubicBezTo>
                <a:cubicBezTo>
                  <a:pt x="5864" y="4925"/>
                  <a:pt x="5864" y="4925"/>
                  <a:pt x="5864" y="4920"/>
                </a:cubicBezTo>
                <a:cubicBezTo>
                  <a:pt x="5866" y="4914"/>
                  <a:pt x="6097" y="4157"/>
                  <a:pt x="6110" y="4118"/>
                </a:cubicBezTo>
                <a:cubicBezTo>
                  <a:pt x="6110" y="4116"/>
                  <a:pt x="6113" y="4113"/>
                  <a:pt x="6116" y="4113"/>
                </a:cubicBezTo>
                <a:cubicBezTo>
                  <a:pt x="6119" y="4113"/>
                  <a:pt x="6152" y="4121"/>
                  <a:pt x="6188" y="4135"/>
                </a:cubicBezTo>
                <a:close/>
                <a:moveTo>
                  <a:pt x="9403" y="4190"/>
                </a:moveTo>
                <a:lnTo>
                  <a:pt x="9403" y="4190"/>
                </a:lnTo>
                <a:cubicBezTo>
                  <a:pt x="9596" y="4263"/>
                  <a:pt x="9596" y="4263"/>
                  <a:pt x="9596" y="4263"/>
                </a:cubicBezTo>
                <a:cubicBezTo>
                  <a:pt x="9998" y="4842"/>
                  <a:pt x="9998" y="4842"/>
                  <a:pt x="9998" y="4842"/>
                </a:cubicBezTo>
                <a:cubicBezTo>
                  <a:pt x="10220" y="5161"/>
                  <a:pt x="10400" y="5422"/>
                  <a:pt x="10400" y="5422"/>
                </a:cubicBezTo>
                <a:cubicBezTo>
                  <a:pt x="10398" y="5422"/>
                  <a:pt x="10240" y="5253"/>
                  <a:pt x="10048" y="5042"/>
                </a:cubicBezTo>
                <a:cubicBezTo>
                  <a:pt x="9696" y="4659"/>
                  <a:pt x="9696" y="4659"/>
                  <a:pt x="9696" y="4659"/>
                </a:cubicBezTo>
                <a:cubicBezTo>
                  <a:pt x="9577" y="4515"/>
                  <a:pt x="9577" y="4515"/>
                  <a:pt x="9577" y="4515"/>
                </a:cubicBezTo>
                <a:cubicBezTo>
                  <a:pt x="9458" y="4368"/>
                  <a:pt x="9458" y="4368"/>
                  <a:pt x="9458" y="4368"/>
                </a:cubicBezTo>
                <a:cubicBezTo>
                  <a:pt x="9395" y="4315"/>
                  <a:pt x="9395" y="4315"/>
                  <a:pt x="9395" y="4315"/>
                </a:cubicBezTo>
                <a:cubicBezTo>
                  <a:pt x="9353" y="4279"/>
                  <a:pt x="9311" y="4238"/>
                  <a:pt x="9267" y="4190"/>
                </a:cubicBezTo>
                <a:cubicBezTo>
                  <a:pt x="9231" y="4152"/>
                  <a:pt x="9203" y="4118"/>
                  <a:pt x="9203" y="4118"/>
                </a:cubicBezTo>
                <a:cubicBezTo>
                  <a:pt x="9203" y="4116"/>
                  <a:pt x="9203" y="4116"/>
                  <a:pt x="9206" y="4116"/>
                </a:cubicBezTo>
                <a:cubicBezTo>
                  <a:pt x="9206" y="4116"/>
                  <a:pt x="9295" y="4149"/>
                  <a:pt x="9403" y="4190"/>
                </a:cubicBezTo>
                <a:close/>
                <a:moveTo>
                  <a:pt x="14040" y="4360"/>
                </a:moveTo>
                <a:lnTo>
                  <a:pt x="14040" y="4360"/>
                </a:lnTo>
                <a:cubicBezTo>
                  <a:pt x="14256" y="4584"/>
                  <a:pt x="14256" y="4584"/>
                  <a:pt x="14256" y="4584"/>
                </a:cubicBezTo>
                <a:cubicBezTo>
                  <a:pt x="14297" y="4748"/>
                  <a:pt x="14297" y="4748"/>
                  <a:pt x="14297" y="4748"/>
                </a:cubicBezTo>
                <a:cubicBezTo>
                  <a:pt x="14322" y="4840"/>
                  <a:pt x="14342" y="4912"/>
                  <a:pt x="14342" y="4914"/>
                </a:cubicBezTo>
                <a:cubicBezTo>
                  <a:pt x="14339" y="4914"/>
                  <a:pt x="14220" y="4737"/>
                  <a:pt x="14076" y="4521"/>
                </a:cubicBezTo>
                <a:cubicBezTo>
                  <a:pt x="13931" y="4301"/>
                  <a:pt x="13815" y="4127"/>
                  <a:pt x="13818" y="4129"/>
                </a:cubicBezTo>
                <a:cubicBezTo>
                  <a:pt x="13820" y="4129"/>
                  <a:pt x="13920" y="4235"/>
                  <a:pt x="14040" y="4360"/>
                </a:cubicBezTo>
                <a:close/>
                <a:moveTo>
                  <a:pt x="14126" y="4288"/>
                </a:moveTo>
                <a:lnTo>
                  <a:pt x="14126" y="4288"/>
                </a:lnTo>
                <a:cubicBezTo>
                  <a:pt x="14234" y="4459"/>
                  <a:pt x="14236" y="4465"/>
                  <a:pt x="14153" y="4351"/>
                </a:cubicBezTo>
                <a:cubicBezTo>
                  <a:pt x="14120" y="4304"/>
                  <a:pt x="14095" y="4263"/>
                  <a:pt x="14081" y="4235"/>
                </a:cubicBezTo>
                <a:cubicBezTo>
                  <a:pt x="14056" y="4188"/>
                  <a:pt x="14048" y="4171"/>
                  <a:pt x="14051" y="4171"/>
                </a:cubicBezTo>
                <a:cubicBezTo>
                  <a:pt x="14053" y="4171"/>
                  <a:pt x="14087" y="4224"/>
                  <a:pt x="14126" y="4288"/>
                </a:cubicBezTo>
                <a:close/>
                <a:moveTo>
                  <a:pt x="14275" y="4396"/>
                </a:moveTo>
                <a:lnTo>
                  <a:pt x="14275" y="4396"/>
                </a:lnTo>
                <a:cubicBezTo>
                  <a:pt x="14431" y="4595"/>
                  <a:pt x="14431" y="4595"/>
                  <a:pt x="14431" y="4595"/>
                </a:cubicBezTo>
                <a:cubicBezTo>
                  <a:pt x="14481" y="4720"/>
                  <a:pt x="14481" y="4720"/>
                  <a:pt x="14481" y="4720"/>
                </a:cubicBezTo>
                <a:cubicBezTo>
                  <a:pt x="14508" y="4792"/>
                  <a:pt x="14530" y="4848"/>
                  <a:pt x="14530" y="4848"/>
                </a:cubicBezTo>
                <a:cubicBezTo>
                  <a:pt x="14528" y="4851"/>
                  <a:pt x="14134" y="4229"/>
                  <a:pt x="14117" y="4199"/>
                </a:cubicBezTo>
                <a:cubicBezTo>
                  <a:pt x="14106" y="4179"/>
                  <a:pt x="14101" y="4171"/>
                  <a:pt x="14275" y="4396"/>
                </a:cubicBezTo>
                <a:close/>
                <a:moveTo>
                  <a:pt x="13438" y="4545"/>
                </a:moveTo>
                <a:lnTo>
                  <a:pt x="13438" y="4545"/>
                </a:lnTo>
                <a:cubicBezTo>
                  <a:pt x="13568" y="4734"/>
                  <a:pt x="13673" y="4887"/>
                  <a:pt x="13673" y="4887"/>
                </a:cubicBezTo>
                <a:cubicBezTo>
                  <a:pt x="13671" y="4887"/>
                  <a:pt x="12536" y="4557"/>
                  <a:pt x="12525" y="4551"/>
                </a:cubicBezTo>
                <a:cubicBezTo>
                  <a:pt x="12520" y="4548"/>
                  <a:pt x="12589" y="4512"/>
                  <a:pt x="12855" y="4379"/>
                </a:cubicBezTo>
                <a:cubicBezTo>
                  <a:pt x="13041" y="4285"/>
                  <a:pt x="13196" y="4207"/>
                  <a:pt x="13196" y="4207"/>
                </a:cubicBezTo>
                <a:cubicBezTo>
                  <a:pt x="13199" y="4207"/>
                  <a:pt x="13307" y="4360"/>
                  <a:pt x="13438" y="4545"/>
                </a:cubicBezTo>
                <a:close/>
                <a:moveTo>
                  <a:pt x="10930" y="4679"/>
                </a:moveTo>
                <a:lnTo>
                  <a:pt x="10930" y="4679"/>
                </a:lnTo>
                <a:cubicBezTo>
                  <a:pt x="11244" y="4876"/>
                  <a:pt x="11502" y="5039"/>
                  <a:pt x="11502" y="5039"/>
                </a:cubicBezTo>
                <a:cubicBezTo>
                  <a:pt x="11502" y="5042"/>
                  <a:pt x="11416" y="5095"/>
                  <a:pt x="11310" y="5156"/>
                </a:cubicBezTo>
                <a:cubicBezTo>
                  <a:pt x="11180" y="5233"/>
                  <a:pt x="11113" y="5269"/>
                  <a:pt x="11110" y="5267"/>
                </a:cubicBezTo>
                <a:cubicBezTo>
                  <a:pt x="11108" y="5264"/>
                  <a:pt x="10814" y="4898"/>
                  <a:pt x="10392" y="4368"/>
                </a:cubicBezTo>
                <a:cubicBezTo>
                  <a:pt x="10370" y="4337"/>
                  <a:pt x="10353" y="4315"/>
                  <a:pt x="10356" y="4315"/>
                </a:cubicBezTo>
                <a:cubicBezTo>
                  <a:pt x="10359" y="4318"/>
                  <a:pt x="10617" y="4479"/>
                  <a:pt x="10930" y="4679"/>
                </a:cubicBezTo>
                <a:close/>
                <a:moveTo>
                  <a:pt x="8970" y="4374"/>
                </a:moveTo>
                <a:lnTo>
                  <a:pt x="8970" y="4374"/>
                </a:lnTo>
                <a:cubicBezTo>
                  <a:pt x="9223" y="4385"/>
                  <a:pt x="9431" y="4399"/>
                  <a:pt x="9433" y="4399"/>
                </a:cubicBezTo>
                <a:cubicBezTo>
                  <a:pt x="9436" y="4404"/>
                  <a:pt x="10134" y="5888"/>
                  <a:pt x="10134" y="5888"/>
                </a:cubicBezTo>
                <a:cubicBezTo>
                  <a:pt x="10131" y="5888"/>
                  <a:pt x="8457" y="4360"/>
                  <a:pt x="8446" y="4346"/>
                </a:cubicBezTo>
                <a:cubicBezTo>
                  <a:pt x="8443" y="4346"/>
                  <a:pt x="8457" y="4346"/>
                  <a:pt x="8476" y="4346"/>
                </a:cubicBezTo>
                <a:cubicBezTo>
                  <a:pt x="8493" y="4346"/>
                  <a:pt x="8715" y="4360"/>
                  <a:pt x="8970" y="4374"/>
                </a:cubicBezTo>
                <a:close/>
                <a:moveTo>
                  <a:pt x="2316" y="5402"/>
                </a:moveTo>
                <a:lnTo>
                  <a:pt x="2316" y="5402"/>
                </a:lnTo>
                <a:cubicBezTo>
                  <a:pt x="2333" y="5971"/>
                  <a:pt x="2347" y="6440"/>
                  <a:pt x="2344" y="6443"/>
                </a:cubicBezTo>
                <a:cubicBezTo>
                  <a:pt x="2344" y="6448"/>
                  <a:pt x="2252" y="6387"/>
                  <a:pt x="1936" y="6171"/>
                </a:cubicBezTo>
                <a:cubicBezTo>
                  <a:pt x="1711" y="6018"/>
                  <a:pt x="1526" y="5891"/>
                  <a:pt x="1523" y="5891"/>
                </a:cubicBezTo>
                <a:cubicBezTo>
                  <a:pt x="1523" y="5888"/>
                  <a:pt x="1692" y="5544"/>
                  <a:pt x="1900" y="5125"/>
                </a:cubicBezTo>
                <a:cubicBezTo>
                  <a:pt x="2111" y="4706"/>
                  <a:pt x="2280" y="4362"/>
                  <a:pt x="2283" y="4365"/>
                </a:cubicBezTo>
                <a:cubicBezTo>
                  <a:pt x="2283" y="4365"/>
                  <a:pt x="2299" y="4831"/>
                  <a:pt x="2316" y="5402"/>
                </a:cubicBezTo>
                <a:close/>
                <a:moveTo>
                  <a:pt x="2754" y="5447"/>
                </a:moveTo>
                <a:lnTo>
                  <a:pt x="2754" y="5447"/>
                </a:lnTo>
                <a:cubicBezTo>
                  <a:pt x="2987" y="6018"/>
                  <a:pt x="3179" y="6487"/>
                  <a:pt x="3179" y="6487"/>
                </a:cubicBezTo>
                <a:cubicBezTo>
                  <a:pt x="3176" y="6487"/>
                  <a:pt x="3029" y="6479"/>
                  <a:pt x="2849" y="6465"/>
                </a:cubicBezTo>
                <a:cubicBezTo>
                  <a:pt x="2521" y="6443"/>
                  <a:pt x="2521" y="6443"/>
                  <a:pt x="2521" y="6443"/>
                </a:cubicBezTo>
                <a:cubicBezTo>
                  <a:pt x="2494" y="6456"/>
                  <a:pt x="2494" y="6456"/>
                  <a:pt x="2494" y="6456"/>
                </a:cubicBezTo>
                <a:cubicBezTo>
                  <a:pt x="2466" y="6470"/>
                  <a:pt x="2466" y="6470"/>
                  <a:pt x="2466" y="6470"/>
                </a:cubicBezTo>
                <a:cubicBezTo>
                  <a:pt x="2424" y="6468"/>
                  <a:pt x="2424" y="6468"/>
                  <a:pt x="2424" y="6468"/>
                </a:cubicBezTo>
                <a:cubicBezTo>
                  <a:pt x="2383" y="6465"/>
                  <a:pt x="2383" y="6465"/>
                  <a:pt x="2383" y="6465"/>
                </a:cubicBezTo>
                <a:cubicBezTo>
                  <a:pt x="2383" y="6448"/>
                  <a:pt x="2383" y="6448"/>
                  <a:pt x="2383" y="6448"/>
                </a:cubicBezTo>
                <a:cubicBezTo>
                  <a:pt x="2380" y="6437"/>
                  <a:pt x="2366" y="5990"/>
                  <a:pt x="2352" y="5458"/>
                </a:cubicBezTo>
                <a:cubicBezTo>
                  <a:pt x="2336" y="4923"/>
                  <a:pt x="2322" y="4465"/>
                  <a:pt x="2322" y="4440"/>
                </a:cubicBezTo>
                <a:cubicBezTo>
                  <a:pt x="2319" y="4390"/>
                  <a:pt x="2319" y="4390"/>
                  <a:pt x="2319" y="4390"/>
                </a:cubicBezTo>
                <a:cubicBezTo>
                  <a:pt x="2324" y="4401"/>
                  <a:pt x="2324" y="4401"/>
                  <a:pt x="2324" y="4401"/>
                </a:cubicBezTo>
                <a:cubicBezTo>
                  <a:pt x="2327" y="4404"/>
                  <a:pt x="2521" y="4876"/>
                  <a:pt x="2754" y="5447"/>
                </a:cubicBezTo>
                <a:close/>
                <a:moveTo>
                  <a:pt x="1387" y="4504"/>
                </a:moveTo>
                <a:lnTo>
                  <a:pt x="1387" y="4504"/>
                </a:lnTo>
                <a:cubicBezTo>
                  <a:pt x="1387" y="4509"/>
                  <a:pt x="1395" y="4618"/>
                  <a:pt x="1404" y="4748"/>
                </a:cubicBezTo>
                <a:cubicBezTo>
                  <a:pt x="1415" y="4912"/>
                  <a:pt x="1417" y="4986"/>
                  <a:pt x="1415" y="5000"/>
                </a:cubicBezTo>
                <a:cubicBezTo>
                  <a:pt x="1412" y="5017"/>
                  <a:pt x="1412" y="5017"/>
                  <a:pt x="1412" y="5017"/>
                </a:cubicBezTo>
                <a:cubicBezTo>
                  <a:pt x="1409" y="5006"/>
                  <a:pt x="1409" y="5006"/>
                  <a:pt x="1409" y="5006"/>
                </a:cubicBezTo>
                <a:cubicBezTo>
                  <a:pt x="1409" y="5000"/>
                  <a:pt x="1404" y="4970"/>
                  <a:pt x="1398" y="4939"/>
                </a:cubicBezTo>
                <a:cubicBezTo>
                  <a:pt x="1390" y="4892"/>
                  <a:pt x="1387" y="4840"/>
                  <a:pt x="1379" y="4706"/>
                </a:cubicBezTo>
                <a:cubicBezTo>
                  <a:pt x="1373" y="4612"/>
                  <a:pt x="1370" y="4526"/>
                  <a:pt x="1370" y="4515"/>
                </a:cubicBezTo>
                <a:cubicBezTo>
                  <a:pt x="1370" y="4496"/>
                  <a:pt x="1370" y="4496"/>
                  <a:pt x="1370" y="4496"/>
                </a:cubicBezTo>
                <a:cubicBezTo>
                  <a:pt x="1376" y="4496"/>
                  <a:pt x="1376" y="4496"/>
                  <a:pt x="1376" y="4496"/>
                </a:cubicBezTo>
                <a:cubicBezTo>
                  <a:pt x="1381" y="4496"/>
                  <a:pt x="1384" y="4498"/>
                  <a:pt x="1387" y="4504"/>
                </a:cubicBezTo>
                <a:close/>
                <a:moveTo>
                  <a:pt x="10009" y="5092"/>
                </a:moveTo>
                <a:lnTo>
                  <a:pt x="10009" y="5092"/>
                </a:lnTo>
                <a:cubicBezTo>
                  <a:pt x="10273" y="5411"/>
                  <a:pt x="10489" y="5674"/>
                  <a:pt x="10489" y="5677"/>
                </a:cubicBezTo>
                <a:cubicBezTo>
                  <a:pt x="10489" y="5680"/>
                  <a:pt x="10439" y="5727"/>
                  <a:pt x="10373" y="5780"/>
                </a:cubicBezTo>
                <a:cubicBezTo>
                  <a:pt x="10289" y="5849"/>
                  <a:pt x="10251" y="5882"/>
                  <a:pt x="10231" y="5907"/>
                </a:cubicBezTo>
                <a:cubicBezTo>
                  <a:pt x="10215" y="5924"/>
                  <a:pt x="10203" y="5938"/>
                  <a:pt x="10201" y="5938"/>
                </a:cubicBezTo>
                <a:cubicBezTo>
                  <a:pt x="10198" y="5938"/>
                  <a:pt x="10056" y="5638"/>
                  <a:pt x="9884" y="5275"/>
                </a:cubicBezTo>
                <a:cubicBezTo>
                  <a:pt x="9710" y="4909"/>
                  <a:pt x="9560" y="4587"/>
                  <a:pt x="9546" y="4559"/>
                </a:cubicBezTo>
                <a:cubicBezTo>
                  <a:pt x="9535" y="4532"/>
                  <a:pt x="9524" y="4509"/>
                  <a:pt x="9527" y="4512"/>
                </a:cubicBezTo>
                <a:cubicBezTo>
                  <a:pt x="9529" y="4512"/>
                  <a:pt x="9746" y="4773"/>
                  <a:pt x="10009" y="5092"/>
                </a:cubicBezTo>
                <a:close/>
                <a:moveTo>
                  <a:pt x="10237" y="4631"/>
                </a:moveTo>
                <a:lnTo>
                  <a:pt x="10237" y="4631"/>
                </a:lnTo>
                <a:cubicBezTo>
                  <a:pt x="10265" y="4665"/>
                  <a:pt x="10256" y="4659"/>
                  <a:pt x="10220" y="4618"/>
                </a:cubicBezTo>
                <a:cubicBezTo>
                  <a:pt x="10206" y="4601"/>
                  <a:pt x="10195" y="4587"/>
                  <a:pt x="10198" y="4584"/>
                </a:cubicBezTo>
                <a:cubicBezTo>
                  <a:pt x="10198" y="4579"/>
                  <a:pt x="10203" y="4587"/>
                  <a:pt x="10237" y="4631"/>
                </a:cubicBezTo>
                <a:close/>
                <a:moveTo>
                  <a:pt x="12783" y="5117"/>
                </a:moveTo>
                <a:lnTo>
                  <a:pt x="12783" y="5117"/>
                </a:lnTo>
                <a:cubicBezTo>
                  <a:pt x="12961" y="5411"/>
                  <a:pt x="13102" y="5652"/>
                  <a:pt x="13102" y="5652"/>
                </a:cubicBezTo>
                <a:cubicBezTo>
                  <a:pt x="13102" y="5655"/>
                  <a:pt x="12056" y="4812"/>
                  <a:pt x="12042" y="4798"/>
                </a:cubicBezTo>
                <a:cubicBezTo>
                  <a:pt x="12037" y="4792"/>
                  <a:pt x="12037" y="4792"/>
                  <a:pt x="12037" y="4792"/>
                </a:cubicBezTo>
                <a:cubicBezTo>
                  <a:pt x="12245" y="4687"/>
                  <a:pt x="12245" y="4687"/>
                  <a:pt x="12245" y="4687"/>
                </a:cubicBezTo>
                <a:cubicBezTo>
                  <a:pt x="12361" y="4629"/>
                  <a:pt x="12456" y="4582"/>
                  <a:pt x="12458" y="4582"/>
                </a:cubicBezTo>
                <a:cubicBezTo>
                  <a:pt x="12461" y="4582"/>
                  <a:pt x="12608" y="4823"/>
                  <a:pt x="12783" y="5117"/>
                </a:cubicBezTo>
                <a:close/>
                <a:moveTo>
                  <a:pt x="13080" y="4751"/>
                </a:moveTo>
                <a:lnTo>
                  <a:pt x="13080" y="4751"/>
                </a:lnTo>
                <a:cubicBezTo>
                  <a:pt x="13740" y="4945"/>
                  <a:pt x="13687" y="4928"/>
                  <a:pt x="13687" y="4934"/>
                </a:cubicBezTo>
                <a:cubicBezTo>
                  <a:pt x="13687" y="4937"/>
                  <a:pt x="13182" y="5699"/>
                  <a:pt x="13177" y="5702"/>
                </a:cubicBezTo>
                <a:cubicBezTo>
                  <a:pt x="13174" y="5702"/>
                  <a:pt x="12508" y="4593"/>
                  <a:pt x="12508" y="4587"/>
                </a:cubicBezTo>
                <a:cubicBezTo>
                  <a:pt x="12508" y="4584"/>
                  <a:pt x="12511" y="4584"/>
                  <a:pt x="12514" y="4587"/>
                </a:cubicBezTo>
                <a:cubicBezTo>
                  <a:pt x="12517" y="4587"/>
                  <a:pt x="12772" y="4662"/>
                  <a:pt x="13080" y="4751"/>
                </a:cubicBezTo>
                <a:close/>
                <a:moveTo>
                  <a:pt x="9408" y="5278"/>
                </a:moveTo>
                <a:lnTo>
                  <a:pt x="9408" y="5278"/>
                </a:lnTo>
                <a:cubicBezTo>
                  <a:pt x="9812" y="5647"/>
                  <a:pt x="10148" y="5952"/>
                  <a:pt x="10156" y="5960"/>
                </a:cubicBezTo>
                <a:cubicBezTo>
                  <a:pt x="10167" y="5971"/>
                  <a:pt x="10167" y="5971"/>
                  <a:pt x="10167" y="5971"/>
                </a:cubicBezTo>
                <a:cubicBezTo>
                  <a:pt x="10101" y="6052"/>
                  <a:pt x="10101" y="6052"/>
                  <a:pt x="10101" y="6052"/>
                </a:cubicBezTo>
                <a:cubicBezTo>
                  <a:pt x="10065" y="6096"/>
                  <a:pt x="10034" y="6135"/>
                  <a:pt x="10034" y="6135"/>
                </a:cubicBezTo>
                <a:cubicBezTo>
                  <a:pt x="10032" y="6135"/>
                  <a:pt x="9837" y="5896"/>
                  <a:pt x="9602" y="5605"/>
                </a:cubicBezTo>
                <a:cubicBezTo>
                  <a:pt x="9367" y="5314"/>
                  <a:pt x="9170" y="5067"/>
                  <a:pt x="9162" y="5059"/>
                </a:cubicBezTo>
                <a:cubicBezTo>
                  <a:pt x="9153" y="5047"/>
                  <a:pt x="9053" y="4962"/>
                  <a:pt x="8942" y="4862"/>
                </a:cubicBezTo>
                <a:cubicBezTo>
                  <a:pt x="8757" y="4698"/>
                  <a:pt x="8696" y="4640"/>
                  <a:pt x="8660" y="4595"/>
                </a:cubicBezTo>
                <a:cubicBezTo>
                  <a:pt x="8651" y="4584"/>
                  <a:pt x="8604" y="4543"/>
                  <a:pt x="9408" y="5278"/>
                </a:cubicBezTo>
                <a:close/>
                <a:moveTo>
                  <a:pt x="707" y="4928"/>
                </a:moveTo>
                <a:lnTo>
                  <a:pt x="707" y="4928"/>
                </a:lnTo>
                <a:cubicBezTo>
                  <a:pt x="730" y="5242"/>
                  <a:pt x="730" y="5242"/>
                  <a:pt x="730" y="5242"/>
                </a:cubicBezTo>
                <a:cubicBezTo>
                  <a:pt x="743" y="5336"/>
                  <a:pt x="743" y="5336"/>
                  <a:pt x="743" y="5336"/>
                </a:cubicBezTo>
                <a:cubicBezTo>
                  <a:pt x="752" y="5389"/>
                  <a:pt x="760" y="5441"/>
                  <a:pt x="763" y="5452"/>
                </a:cubicBezTo>
                <a:cubicBezTo>
                  <a:pt x="763" y="5466"/>
                  <a:pt x="766" y="5483"/>
                  <a:pt x="768" y="5488"/>
                </a:cubicBezTo>
                <a:cubicBezTo>
                  <a:pt x="777" y="5516"/>
                  <a:pt x="802" y="5688"/>
                  <a:pt x="810" y="5771"/>
                </a:cubicBezTo>
                <a:cubicBezTo>
                  <a:pt x="816" y="5824"/>
                  <a:pt x="838" y="5999"/>
                  <a:pt x="860" y="6162"/>
                </a:cubicBezTo>
                <a:cubicBezTo>
                  <a:pt x="885" y="6326"/>
                  <a:pt x="904" y="6470"/>
                  <a:pt x="904" y="6481"/>
                </a:cubicBezTo>
                <a:cubicBezTo>
                  <a:pt x="907" y="6504"/>
                  <a:pt x="907" y="6504"/>
                  <a:pt x="907" y="6504"/>
                </a:cubicBezTo>
                <a:cubicBezTo>
                  <a:pt x="904" y="6487"/>
                  <a:pt x="904" y="6487"/>
                  <a:pt x="904" y="6487"/>
                </a:cubicBezTo>
                <a:cubicBezTo>
                  <a:pt x="899" y="6462"/>
                  <a:pt x="630" y="4889"/>
                  <a:pt x="630" y="4881"/>
                </a:cubicBezTo>
                <a:cubicBezTo>
                  <a:pt x="630" y="4873"/>
                  <a:pt x="682" y="4609"/>
                  <a:pt x="685" y="4612"/>
                </a:cubicBezTo>
                <a:cubicBezTo>
                  <a:pt x="685" y="4612"/>
                  <a:pt x="696" y="4754"/>
                  <a:pt x="707" y="4928"/>
                </a:cubicBezTo>
                <a:close/>
                <a:moveTo>
                  <a:pt x="10281" y="5089"/>
                </a:moveTo>
                <a:lnTo>
                  <a:pt x="10281" y="5089"/>
                </a:lnTo>
                <a:cubicBezTo>
                  <a:pt x="10495" y="5347"/>
                  <a:pt x="10669" y="5558"/>
                  <a:pt x="10669" y="5561"/>
                </a:cubicBezTo>
                <a:cubicBezTo>
                  <a:pt x="10672" y="5563"/>
                  <a:pt x="10658" y="5574"/>
                  <a:pt x="10628" y="5594"/>
                </a:cubicBezTo>
                <a:cubicBezTo>
                  <a:pt x="10583" y="5622"/>
                  <a:pt x="10583" y="5622"/>
                  <a:pt x="10583" y="5622"/>
                </a:cubicBezTo>
                <a:cubicBezTo>
                  <a:pt x="10578" y="5616"/>
                  <a:pt x="10578" y="5616"/>
                  <a:pt x="10578" y="5616"/>
                </a:cubicBezTo>
                <a:cubicBezTo>
                  <a:pt x="10575" y="5611"/>
                  <a:pt x="9890" y="4623"/>
                  <a:pt x="9884" y="4615"/>
                </a:cubicBezTo>
                <a:cubicBezTo>
                  <a:pt x="9876" y="4601"/>
                  <a:pt x="9915" y="4648"/>
                  <a:pt x="10281" y="5089"/>
                </a:cubicBezTo>
                <a:close/>
                <a:moveTo>
                  <a:pt x="14395" y="4814"/>
                </a:moveTo>
                <a:lnTo>
                  <a:pt x="14395" y="4814"/>
                </a:lnTo>
                <a:cubicBezTo>
                  <a:pt x="14431" y="4873"/>
                  <a:pt x="14461" y="4923"/>
                  <a:pt x="14461" y="4925"/>
                </a:cubicBezTo>
                <a:cubicBezTo>
                  <a:pt x="14461" y="4931"/>
                  <a:pt x="14400" y="4984"/>
                  <a:pt x="14397" y="4981"/>
                </a:cubicBezTo>
                <a:cubicBezTo>
                  <a:pt x="14397" y="4978"/>
                  <a:pt x="14336" y="4754"/>
                  <a:pt x="14325" y="4709"/>
                </a:cubicBezTo>
                <a:cubicBezTo>
                  <a:pt x="14320" y="4695"/>
                  <a:pt x="14331" y="4709"/>
                  <a:pt x="14395" y="4814"/>
                </a:cubicBezTo>
                <a:close/>
                <a:moveTo>
                  <a:pt x="10581" y="5089"/>
                </a:moveTo>
                <a:lnTo>
                  <a:pt x="10581" y="5089"/>
                </a:lnTo>
                <a:cubicBezTo>
                  <a:pt x="10739" y="5272"/>
                  <a:pt x="10869" y="5425"/>
                  <a:pt x="10869" y="5428"/>
                </a:cubicBezTo>
                <a:cubicBezTo>
                  <a:pt x="10869" y="5430"/>
                  <a:pt x="10711" y="5538"/>
                  <a:pt x="10708" y="5538"/>
                </a:cubicBezTo>
                <a:cubicBezTo>
                  <a:pt x="10705" y="5538"/>
                  <a:pt x="10620" y="5380"/>
                  <a:pt x="10517" y="5186"/>
                </a:cubicBezTo>
                <a:cubicBezTo>
                  <a:pt x="10412" y="4989"/>
                  <a:pt x="10317" y="4812"/>
                  <a:pt x="10306" y="4790"/>
                </a:cubicBezTo>
                <a:cubicBezTo>
                  <a:pt x="10295" y="4767"/>
                  <a:pt x="10287" y="4751"/>
                  <a:pt x="10289" y="4751"/>
                </a:cubicBezTo>
                <a:cubicBezTo>
                  <a:pt x="10289" y="4754"/>
                  <a:pt x="10423" y="4903"/>
                  <a:pt x="10581" y="5089"/>
                </a:cubicBezTo>
                <a:close/>
                <a:moveTo>
                  <a:pt x="1331" y="4784"/>
                </a:moveTo>
                <a:lnTo>
                  <a:pt x="1331" y="4784"/>
                </a:lnTo>
                <a:cubicBezTo>
                  <a:pt x="1331" y="4784"/>
                  <a:pt x="1376" y="5280"/>
                  <a:pt x="1428" y="5885"/>
                </a:cubicBezTo>
                <a:cubicBezTo>
                  <a:pt x="1478" y="6493"/>
                  <a:pt x="1520" y="6988"/>
                  <a:pt x="1520" y="6991"/>
                </a:cubicBezTo>
                <a:cubicBezTo>
                  <a:pt x="1520" y="6994"/>
                  <a:pt x="1356" y="6653"/>
                  <a:pt x="1159" y="6232"/>
                </a:cubicBezTo>
                <a:cubicBezTo>
                  <a:pt x="802" y="5469"/>
                  <a:pt x="802" y="5469"/>
                  <a:pt x="802" y="5469"/>
                </a:cubicBezTo>
                <a:cubicBezTo>
                  <a:pt x="1065" y="5125"/>
                  <a:pt x="1065" y="5125"/>
                  <a:pt x="1065" y="5125"/>
                </a:cubicBezTo>
                <a:cubicBezTo>
                  <a:pt x="1209" y="4937"/>
                  <a:pt x="1329" y="4781"/>
                  <a:pt x="1329" y="4781"/>
                </a:cubicBezTo>
                <a:cubicBezTo>
                  <a:pt x="1331" y="4781"/>
                  <a:pt x="1331" y="4781"/>
                  <a:pt x="1331" y="4784"/>
                </a:cubicBezTo>
                <a:close/>
                <a:moveTo>
                  <a:pt x="14461" y="4837"/>
                </a:moveTo>
                <a:lnTo>
                  <a:pt x="14461" y="4837"/>
                </a:lnTo>
                <a:cubicBezTo>
                  <a:pt x="14481" y="4867"/>
                  <a:pt x="14500" y="4892"/>
                  <a:pt x="14500" y="4895"/>
                </a:cubicBezTo>
                <a:cubicBezTo>
                  <a:pt x="14500" y="4912"/>
                  <a:pt x="14486" y="4895"/>
                  <a:pt x="14456" y="4845"/>
                </a:cubicBezTo>
                <a:cubicBezTo>
                  <a:pt x="14436" y="4814"/>
                  <a:pt x="14420" y="4787"/>
                  <a:pt x="14420" y="4784"/>
                </a:cubicBezTo>
                <a:cubicBezTo>
                  <a:pt x="14417" y="4781"/>
                  <a:pt x="14417" y="4781"/>
                  <a:pt x="14420" y="4781"/>
                </a:cubicBezTo>
                <a:cubicBezTo>
                  <a:pt x="14422" y="4784"/>
                  <a:pt x="14439" y="4809"/>
                  <a:pt x="14461" y="4837"/>
                </a:cubicBezTo>
                <a:close/>
                <a:moveTo>
                  <a:pt x="3997" y="4840"/>
                </a:moveTo>
                <a:lnTo>
                  <a:pt x="3997" y="4840"/>
                </a:lnTo>
                <a:cubicBezTo>
                  <a:pt x="3978" y="4917"/>
                  <a:pt x="3575" y="6340"/>
                  <a:pt x="3573" y="6343"/>
                </a:cubicBezTo>
                <a:cubicBezTo>
                  <a:pt x="3573" y="6345"/>
                  <a:pt x="3556" y="6340"/>
                  <a:pt x="3539" y="6337"/>
                </a:cubicBezTo>
                <a:cubicBezTo>
                  <a:pt x="3512" y="6326"/>
                  <a:pt x="3512" y="6326"/>
                  <a:pt x="3512" y="6326"/>
                </a:cubicBezTo>
                <a:cubicBezTo>
                  <a:pt x="3512" y="6318"/>
                  <a:pt x="3512" y="6318"/>
                  <a:pt x="3512" y="6318"/>
                </a:cubicBezTo>
                <a:cubicBezTo>
                  <a:pt x="3514" y="6312"/>
                  <a:pt x="3623" y="5979"/>
                  <a:pt x="3753" y="5577"/>
                </a:cubicBezTo>
                <a:cubicBezTo>
                  <a:pt x="3883" y="5172"/>
                  <a:pt x="3994" y="4834"/>
                  <a:pt x="3997" y="4826"/>
                </a:cubicBezTo>
                <a:cubicBezTo>
                  <a:pt x="4002" y="4801"/>
                  <a:pt x="4002" y="4812"/>
                  <a:pt x="3997" y="4840"/>
                </a:cubicBezTo>
                <a:close/>
                <a:moveTo>
                  <a:pt x="5248" y="4973"/>
                </a:moveTo>
                <a:lnTo>
                  <a:pt x="5248" y="4973"/>
                </a:lnTo>
                <a:cubicBezTo>
                  <a:pt x="5525" y="5059"/>
                  <a:pt x="5753" y="5131"/>
                  <a:pt x="5753" y="5131"/>
                </a:cubicBezTo>
                <a:cubicBezTo>
                  <a:pt x="5755" y="5133"/>
                  <a:pt x="5542" y="5455"/>
                  <a:pt x="5281" y="5849"/>
                </a:cubicBezTo>
                <a:cubicBezTo>
                  <a:pt x="5018" y="6243"/>
                  <a:pt x="4804" y="6567"/>
                  <a:pt x="4801" y="6570"/>
                </a:cubicBezTo>
                <a:cubicBezTo>
                  <a:pt x="4801" y="6573"/>
                  <a:pt x="4799" y="6576"/>
                  <a:pt x="4796" y="6573"/>
                </a:cubicBezTo>
                <a:cubicBezTo>
                  <a:pt x="4796" y="6573"/>
                  <a:pt x="4782" y="6198"/>
                  <a:pt x="4765" y="5741"/>
                </a:cubicBezTo>
                <a:cubicBezTo>
                  <a:pt x="4749" y="5283"/>
                  <a:pt x="4735" y="4887"/>
                  <a:pt x="4732" y="4862"/>
                </a:cubicBezTo>
                <a:cubicBezTo>
                  <a:pt x="4732" y="4812"/>
                  <a:pt x="4732" y="4812"/>
                  <a:pt x="4732" y="4812"/>
                </a:cubicBezTo>
                <a:cubicBezTo>
                  <a:pt x="4740" y="4814"/>
                  <a:pt x="4740" y="4814"/>
                  <a:pt x="4740" y="4814"/>
                </a:cubicBezTo>
                <a:cubicBezTo>
                  <a:pt x="4743" y="4814"/>
                  <a:pt x="4973" y="4887"/>
                  <a:pt x="5248" y="4973"/>
                </a:cubicBezTo>
                <a:close/>
                <a:moveTo>
                  <a:pt x="12131" y="5009"/>
                </a:moveTo>
                <a:lnTo>
                  <a:pt x="12131" y="5009"/>
                </a:lnTo>
                <a:cubicBezTo>
                  <a:pt x="12203" y="5117"/>
                  <a:pt x="12259" y="5203"/>
                  <a:pt x="12259" y="5206"/>
                </a:cubicBezTo>
                <a:cubicBezTo>
                  <a:pt x="12259" y="5206"/>
                  <a:pt x="11593" y="5036"/>
                  <a:pt x="11593" y="5034"/>
                </a:cubicBezTo>
                <a:cubicBezTo>
                  <a:pt x="11590" y="5034"/>
                  <a:pt x="11995" y="4814"/>
                  <a:pt x="11998" y="4814"/>
                </a:cubicBezTo>
                <a:cubicBezTo>
                  <a:pt x="12001" y="4814"/>
                  <a:pt x="12059" y="4903"/>
                  <a:pt x="12131" y="5009"/>
                </a:cubicBezTo>
                <a:close/>
                <a:moveTo>
                  <a:pt x="14589" y="4870"/>
                </a:moveTo>
                <a:lnTo>
                  <a:pt x="14589" y="4870"/>
                </a:lnTo>
                <a:cubicBezTo>
                  <a:pt x="14605" y="4903"/>
                  <a:pt x="14608" y="4906"/>
                  <a:pt x="14597" y="4903"/>
                </a:cubicBezTo>
                <a:cubicBezTo>
                  <a:pt x="14594" y="4903"/>
                  <a:pt x="14589" y="4892"/>
                  <a:pt x="14580" y="4876"/>
                </a:cubicBezTo>
                <a:cubicBezTo>
                  <a:pt x="14575" y="4859"/>
                  <a:pt x="14569" y="4845"/>
                  <a:pt x="14569" y="4842"/>
                </a:cubicBezTo>
                <a:cubicBezTo>
                  <a:pt x="14566" y="4842"/>
                  <a:pt x="14566" y="4840"/>
                  <a:pt x="14569" y="4840"/>
                </a:cubicBezTo>
                <a:cubicBezTo>
                  <a:pt x="14569" y="4840"/>
                  <a:pt x="14578" y="4853"/>
                  <a:pt x="14589" y="4870"/>
                </a:cubicBezTo>
                <a:close/>
                <a:moveTo>
                  <a:pt x="2901" y="5574"/>
                </a:moveTo>
                <a:lnTo>
                  <a:pt x="2901" y="5574"/>
                </a:lnTo>
                <a:cubicBezTo>
                  <a:pt x="3237" y="6271"/>
                  <a:pt x="3237" y="6271"/>
                  <a:pt x="3237" y="6271"/>
                </a:cubicBezTo>
                <a:cubicBezTo>
                  <a:pt x="3220" y="6357"/>
                  <a:pt x="3220" y="6357"/>
                  <a:pt x="3220" y="6357"/>
                </a:cubicBezTo>
                <a:cubicBezTo>
                  <a:pt x="3209" y="6404"/>
                  <a:pt x="3201" y="6443"/>
                  <a:pt x="3201" y="6443"/>
                </a:cubicBezTo>
                <a:cubicBezTo>
                  <a:pt x="3198" y="6443"/>
                  <a:pt x="2560" y="4884"/>
                  <a:pt x="2555" y="4864"/>
                </a:cubicBezTo>
                <a:cubicBezTo>
                  <a:pt x="2549" y="4848"/>
                  <a:pt x="2580" y="4909"/>
                  <a:pt x="2901" y="5574"/>
                </a:cubicBezTo>
                <a:close/>
                <a:moveTo>
                  <a:pt x="12597" y="5292"/>
                </a:moveTo>
                <a:lnTo>
                  <a:pt x="12597" y="5292"/>
                </a:lnTo>
                <a:cubicBezTo>
                  <a:pt x="12872" y="5513"/>
                  <a:pt x="13096" y="5697"/>
                  <a:pt x="13094" y="5697"/>
                </a:cubicBezTo>
                <a:lnTo>
                  <a:pt x="12522" y="5547"/>
                </a:lnTo>
                <a:cubicBezTo>
                  <a:pt x="12481" y="5483"/>
                  <a:pt x="12411" y="5378"/>
                  <a:pt x="12375" y="5317"/>
                </a:cubicBezTo>
                <a:cubicBezTo>
                  <a:pt x="12348" y="5272"/>
                  <a:pt x="12275" y="5164"/>
                  <a:pt x="12214" y="5072"/>
                </a:cubicBezTo>
                <a:cubicBezTo>
                  <a:pt x="12076" y="4864"/>
                  <a:pt x="12087" y="4881"/>
                  <a:pt x="12092" y="4887"/>
                </a:cubicBezTo>
                <a:cubicBezTo>
                  <a:pt x="12098" y="4889"/>
                  <a:pt x="12323" y="5070"/>
                  <a:pt x="12597" y="5292"/>
                </a:cubicBezTo>
                <a:close/>
                <a:moveTo>
                  <a:pt x="14056" y="4989"/>
                </a:moveTo>
                <a:lnTo>
                  <a:pt x="14056" y="4989"/>
                </a:lnTo>
                <a:cubicBezTo>
                  <a:pt x="14209" y="5011"/>
                  <a:pt x="14333" y="5031"/>
                  <a:pt x="14333" y="5031"/>
                </a:cubicBezTo>
                <a:cubicBezTo>
                  <a:pt x="14336" y="5031"/>
                  <a:pt x="14333" y="5034"/>
                  <a:pt x="14333" y="5036"/>
                </a:cubicBezTo>
                <a:cubicBezTo>
                  <a:pt x="14331" y="5036"/>
                  <a:pt x="14248" y="5092"/>
                  <a:pt x="14150" y="5156"/>
                </a:cubicBezTo>
                <a:cubicBezTo>
                  <a:pt x="14051" y="5222"/>
                  <a:pt x="13970" y="5272"/>
                  <a:pt x="13970" y="5269"/>
                </a:cubicBezTo>
                <a:cubicBezTo>
                  <a:pt x="13965" y="5264"/>
                  <a:pt x="13757" y="4948"/>
                  <a:pt x="13757" y="4945"/>
                </a:cubicBezTo>
                <a:cubicBezTo>
                  <a:pt x="13757" y="4945"/>
                  <a:pt x="13762" y="4945"/>
                  <a:pt x="13771" y="4945"/>
                </a:cubicBezTo>
                <a:cubicBezTo>
                  <a:pt x="13776" y="4948"/>
                  <a:pt x="13906" y="4964"/>
                  <a:pt x="14056" y="4989"/>
                </a:cubicBezTo>
                <a:close/>
                <a:moveTo>
                  <a:pt x="13831" y="5122"/>
                </a:moveTo>
                <a:lnTo>
                  <a:pt x="13831" y="5122"/>
                </a:lnTo>
                <a:cubicBezTo>
                  <a:pt x="13890" y="5211"/>
                  <a:pt x="13937" y="5289"/>
                  <a:pt x="13937" y="5289"/>
                </a:cubicBezTo>
                <a:cubicBezTo>
                  <a:pt x="13937" y="5294"/>
                  <a:pt x="13241" y="5685"/>
                  <a:pt x="13238" y="5683"/>
                </a:cubicBezTo>
                <a:cubicBezTo>
                  <a:pt x="13238" y="5680"/>
                  <a:pt x="13293" y="5597"/>
                  <a:pt x="13360" y="5491"/>
                </a:cubicBezTo>
                <a:cubicBezTo>
                  <a:pt x="13429" y="5389"/>
                  <a:pt x="13538" y="5225"/>
                  <a:pt x="13601" y="5128"/>
                </a:cubicBezTo>
                <a:cubicBezTo>
                  <a:pt x="13668" y="5031"/>
                  <a:pt x="13718" y="4956"/>
                  <a:pt x="13721" y="4956"/>
                </a:cubicBezTo>
                <a:cubicBezTo>
                  <a:pt x="13723" y="4959"/>
                  <a:pt x="13771" y="5034"/>
                  <a:pt x="13831" y="5122"/>
                </a:cubicBezTo>
                <a:close/>
                <a:moveTo>
                  <a:pt x="14619" y="4967"/>
                </a:moveTo>
                <a:lnTo>
                  <a:pt x="14619" y="4967"/>
                </a:lnTo>
                <a:cubicBezTo>
                  <a:pt x="14619" y="4967"/>
                  <a:pt x="14619" y="4970"/>
                  <a:pt x="14616" y="4970"/>
                </a:cubicBezTo>
                <a:cubicBezTo>
                  <a:pt x="14614" y="4970"/>
                  <a:pt x="14611" y="4967"/>
                  <a:pt x="14611" y="4967"/>
                </a:cubicBezTo>
                <a:cubicBezTo>
                  <a:pt x="14608" y="4964"/>
                  <a:pt x="14611" y="4962"/>
                  <a:pt x="14614" y="4962"/>
                </a:cubicBezTo>
                <a:cubicBezTo>
                  <a:pt x="14616" y="4962"/>
                  <a:pt x="14619" y="4964"/>
                  <a:pt x="14619" y="4967"/>
                </a:cubicBezTo>
                <a:close/>
                <a:moveTo>
                  <a:pt x="14747" y="4981"/>
                </a:moveTo>
                <a:lnTo>
                  <a:pt x="14747" y="4981"/>
                </a:lnTo>
                <a:cubicBezTo>
                  <a:pt x="14772" y="4986"/>
                  <a:pt x="14797" y="4995"/>
                  <a:pt x="14799" y="4995"/>
                </a:cubicBezTo>
                <a:cubicBezTo>
                  <a:pt x="14802" y="5000"/>
                  <a:pt x="14761" y="5006"/>
                  <a:pt x="14752" y="5003"/>
                </a:cubicBezTo>
                <a:cubicBezTo>
                  <a:pt x="14750" y="5000"/>
                  <a:pt x="14736" y="4998"/>
                  <a:pt x="14719" y="4992"/>
                </a:cubicBezTo>
                <a:cubicBezTo>
                  <a:pt x="14689" y="4986"/>
                  <a:pt x="14689" y="4986"/>
                  <a:pt x="14689" y="4986"/>
                </a:cubicBezTo>
                <a:cubicBezTo>
                  <a:pt x="14689" y="4978"/>
                  <a:pt x="14689" y="4978"/>
                  <a:pt x="14689" y="4978"/>
                </a:cubicBezTo>
                <a:cubicBezTo>
                  <a:pt x="14689" y="4973"/>
                  <a:pt x="14691" y="4970"/>
                  <a:pt x="14694" y="4970"/>
                </a:cubicBezTo>
                <a:cubicBezTo>
                  <a:pt x="14694" y="4970"/>
                  <a:pt x="14719" y="4975"/>
                  <a:pt x="14747" y="4981"/>
                </a:cubicBezTo>
                <a:close/>
                <a:moveTo>
                  <a:pt x="14586" y="4998"/>
                </a:moveTo>
                <a:lnTo>
                  <a:pt x="14586" y="4998"/>
                </a:lnTo>
                <a:cubicBezTo>
                  <a:pt x="14622" y="5006"/>
                  <a:pt x="14650" y="5014"/>
                  <a:pt x="14652" y="5014"/>
                </a:cubicBezTo>
                <a:cubicBezTo>
                  <a:pt x="14652" y="5017"/>
                  <a:pt x="14658" y="5017"/>
                  <a:pt x="14528" y="5047"/>
                </a:cubicBezTo>
                <a:cubicBezTo>
                  <a:pt x="14478" y="5061"/>
                  <a:pt x="14431" y="5072"/>
                  <a:pt x="14428" y="5072"/>
                </a:cubicBezTo>
                <a:cubicBezTo>
                  <a:pt x="14425" y="5072"/>
                  <a:pt x="14442" y="5053"/>
                  <a:pt x="14467" y="5028"/>
                </a:cubicBezTo>
                <a:cubicBezTo>
                  <a:pt x="14497" y="4995"/>
                  <a:pt x="14511" y="4981"/>
                  <a:pt x="14517" y="4981"/>
                </a:cubicBezTo>
                <a:cubicBezTo>
                  <a:pt x="14519" y="4984"/>
                  <a:pt x="14550" y="4989"/>
                  <a:pt x="14586" y="4998"/>
                </a:cubicBezTo>
                <a:close/>
                <a:moveTo>
                  <a:pt x="616" y="5006"/>
                </a:moveTo>
                <a:lnTo>
                  <a:pt x="616" y="5006"/>
                </a:lnTo>
                <a:cubicBezTo>
                  <a:pt x="616" y="5009"/>
                  <a:pt x="699" y="5502"/>
                  <a:pt x="802" y="6104"/>
                </a:cubicBezTo>
                <a:cubicBezTo>
                  <a:pt x="904" y="6709"/>
                  <a:pt x="987" y="7202"/>
                  <a:pt x="987" y="7204"/>
                </a:cubicBezTo>
                <a:cubicBezTo>
                  <a:pt x="987" y="7207"/>
                  <a:pt x="890" y="6786"/>
                  <a:pt x="771" y="6265"/>
                </a:cubicBezTo>
                <a:cubicBezTo>
                  <a:pt x="555" y="5322"/>
                  <a:pt x="555" y="5322"/>
                  <a:pt x="555" y="5322"/>
                </a:cubicBezTo>
                <a:cubicBezTo>
                  <a:pt x="583" y="5161"/>
                  <a:pt x="583" y="5161"/>
                  <a:pt x="583" y="5161"/>
                </a:cubicBezTo>
                <a:cubicBezTo>
                  <a:pt x="596" y="5075"/>
                  <a:pt x="610" y="5003"/>
                  <a:pt x="613" y="5003"/>
                </a:cubicBezTo>
                <a:cubicBezTo>
                  <a:pt x="613" y="5003"/>
                  <a:pt x="616" y="5003"/>
                  <a:pt x="616" y="5006"/>
                </a:cubicBezTo>
                <a:close/>
                <a:moveTo>
                  <a:pt x="14944" y="5047"/>
                </a:moveTo>
                <a:lnTo>
                  <a:pt x="14944" y="5047"/>
                </a:lnTo>
                <a:cubicBezTo>
                  <a:pt x="14960" y="5064"/>
                  <a:pt x="14971" y="5075"/>
                  <a:pt x="14971" y="5078"/>
                </a:cubicBezTo>
                <a:cubicBezTo>
                  <a:pt x="14969" y="5078"/>
                  <a:pt x="14414" y="5261"/>
                  <a:pt x="14386" y="5267"/>
                </a:cubicBezTo>
                <a:cubicBezTo>
                  <a:pt x="14378" y="5269"/>
                  <a:pt x="14372" y="5269"/>
                  <a:pt x="14375" y="5269"/>
                </a:cubicBezTo>
                <a:cubicBezTo>
                  <a:pt x="14386" y="5261"/>
                  <a:pt x="14905" y="5023"/>
                  <a:pt x="14910" y="5023"/>
                </a:cubicBezTo>
                <a:cubicBezTo>
                  <a:pt x="14913" y="5023"/>
                  <a:pt x="14927" y="5034"/>
                  <a:pt x="14944" y="5047"/>
                </a:cubicBezTo>
                <a:close/>
                <a:moveTo>
                  <a:pt x="14411" y="5036"/>
                </a:moveTo>
                <a:lnTo>
                  <a:pt x="14411" y="5036"/>
                </a:lnTo>
                <a:cubicBezTo>
                  <a:pt x="14408" y="5039"/>
                  <a:pt x="14406" y="5039"/>
                  <a:pt x="14406" y="5039"/>
                </a:cubicBezTo>
                <a:cubicBezTo>
                  <a:pt x="14403" y="5039"/>
                  <a:pt x="14403" y="5036"/>
                  <a:pt x="14406" y="5034"/>
                </a:cubicBezTo>
                <a:cubicBezTo>
                  <a:pt x="14411" y="5028"/>
                  <a:pt x="14414" y="5028"/>
                  <a:pt x="14411" y="5036"/>
                </a:cubicBezTo>
                <a:close/>
                <a:moveTo>
                  <a:pt x="14722" y="5039"/>
                </a:moveTo>
                <a:lnTo>
                  <a:pt x="14722" y="5039"/>
                </a:lnTo>
                <a:cubicBezTo>
                  <a:pt x="14716" y="5042"/>
                  <a:pt x="14611" y="5078"/>
                  <a:pt x="14600" y="5078"/>
                </a:cubicBezTo>
                <a:cubicBezTo>
                  <a:pt x="14597" y="5078"/>
                  <a:pt x="14594" y="5075"/>
                  <a:pt x="14594" y="5072"/>
                </a:cubicBezTo>
                <a:cubicBezTo>
                  <a:pt x="14594" y="5070"/>
                  <a:pt x="14614" y="5064"/>
                  <a:pt x="14655" y="5053"/>
                </a:cubicBezTo>
                <a:cubicBezTo>
                  <a:pt x="14725" y="5034"/>
                  <a:pt x="14725" y="5034"/>
                  <a:pt x="14722" y="5039"/>
                </a:cubicBezTo>
                <a:close/>
                <a:moveTo>
                  <a:pt x="4615" y="5827"/>
                </a:moveTo>
                <a:lnTo>
                  <a:pt x="4615" y="5827"/>
                </a:lnTo>
                <a:cubicBezTo>
                  <a:pt x="4554" y="6578"/>
                  <a:pt x="4554" y="6578"/>
                  <a:pt x="4554" y="6578"/>
                </a:cubicBezTo>
                <a:cubicBezTo>
                  <a:pt x="4413" y="6717"/>
                  <a:pt x="4413" y="6717"/>
                  <a:pt x="4413" y="6717"/>
                </a:cubicBezTo>
                <a:cubicBezTo>
                  <a:pt x="4333" y="6792"/>
                  <a:pt x="4266" y="6855"/>
                  <a:pt x="4266" y="6852"/>
                </a:cubicBezTo>
                <a:cubicBezTo>
                  <a:pt x="4266" y="6852"/>
                  <a:pt x="4355" y="6448"/>
                  <a:pt x="4468" y="5954"/>
                </a:cubicBezTo>
                <a:cubicBezTo>
                  <a:pt x="4579" y="5458"/>
                  <a:pt x="4671" y="5059"/>
                  <a:pt x="4671" y="5064"/>
                </a:cubicBezTo>
                <a:cubicBezTo>
                  <a:pt x="4674" y="5070"/>
                  <a:pt x="4646" y="5414"/>
                  <a:pt x="4615" y="5827"/>
                </a:cubicBezTo>
                <a:close/>
                <a:moveTo>
                  <a:pt x="14359" y="5072"/>
                </a:moveTo>
                <a:lnTo>
                  <a:pt x="14359" y="5072"/>
                </a:lnTo>
                <a:cubicBezTo>
                  <a:pt x="14353" y="5095"/>
                  <a:pt x="14350" y="5097"/>
                  <a:pt x="14281" y="5131"/>
                </a:cubicBezTo>
                <a:cubicBezTo>
                  <a:pt x="14242" y="5147"/>
                  <a:pt x="14211" y="5161"/>
                  <a:pt x="14211" y="5161"/>
                </a:cubicBezTo>
                <a:cubicBezTo>
                  <a:pt x="14209" y="5158"/>
                  <a:pt x="14353" y="5061"/>
                  <a:pt x="14359" y="5061"/>
                </a:cubicBezTo>
                <a:cubicBezTo>
                  <a:pt x="14359" y="5061"/>
                  <a:pt x="14359" y="5067"/>
                  <a:pt x="14359" y="5072"/>
                </a:cubicBezTo>
                <a:close/>
                <a:moveTo>
                  <a:pt x="11527" y="5081"/>
                </a:moveTo>
                <a:lnTo>
                  <a:pt x="11527" y="5081"/>
                </a:lnTo>
                <a:cubicBezTo>
                  <a:pt x="11529" y="5097"/>
                  <a:pt x="11651" y="6071"/>
                  <a:pt x="11649" y="6076"/>
                </a:cubicBezTo>
                <a:cubicBezTo>
                  <a:pt x="11649" y="6076"/>
                  <a:pt x="11532" y="5905"/>
                  <a:pt x="11391" y="5691"/>
                </a:cubicBezTo>
                <a:cubicBezTo>
                  <a:pt x="11135" y="5300"/>
                  <a:pt x="11135" y="5300"/>
                  <a:pt x="11135" y="5300"/>
                </a:cubicBezTo>
                <a:cubicBezTo>
                  <a:pt x="11141" y="5297"/>
                  <a:pt x="11141" y="5297"/>
                  <a:pt x="11141" y="5297"/>
                </a:cubicBezTo>
                <a:cubicBezTo>
                  <a:pt x="11160" y="5283"/>
                  <a:pt x="11518" y="5072"/>
                  <a:pt x="11521" y="5072"/>
                </a:cubicBezTo>
                <a:cubicBezTo>
                  <a:pt x="11524" y="5072"/>
                  <a:pt x="11524" y="5078"/>
                  <a:pt x="11527" y="5081"/>
                </a:cubicBezTo>
                <a:close/>
                <a:moveTo>
                  <a:pt x="11981" y="5172"/>
                </a:moveTo>
                <a:lnTo>
                  <a:pt x="11981" y="5172"/>
                </a:lnTo>
                <a:cubicBezTo>
                  <a:pt x="12148" y="5214"/>
                  <a:pt x="12287" y="5250"/>
                  <a:pt x="12287" y="5250"/>
                </a:cubicBezTo>
                <a:cubicBezTo>
                  <a:pt x="12289" y="5250"/>
                  <a:pt x="12334" y="5425"/>
                  <a:pt x="12389" y="5638"/>
                </a:cubicBezTo>
                <a:cubicBezTo>
                  <a:pt x="12442" y="5849"/>
                  <a:pt x="12486" y="6024"/>
                  <a:pt x="12489" y="6027"/>
                </a:cubicBezTo>
                <a:cubicBezTo>
                  <a:pt x="12489" y="6029"/>
                  <a:pt x="12489" y="6032"/>
                  <a:pt x="12486" y="6029"/>
                </a:cubicBezTo>
                <a:cubicBezTo>
                  <a:pt x="12481" y="6029"/>
                  <a:pt x="11599" y="5081"/>
                  <a:pt x="11599" y="5075"/>
                </a:cubicBezTo>
                <a:cubicBezTo>
                  <a:pt x="11599" y="5075"/>
                  <a:pt x="11615" y="5078"/>
                  <a:pt x="11637" y="5084"/>
                </a:cubicBezTo>
                <a:cubicBezTo>
                  <a:pt x="11660" y="5089"/>
                  <a:pt x="11815" y="5128"/>
                  <a:pt x="11981" y="5172"/>
                </a:cubicBezTo>
                <a:close/>
                <a:moveTo>
                  <a:pt x="8526" y="6481"/>
                </a:moveTo>
                <a:lnTo>
                  <a:pt x="8526" y="6481"/>
                </a:lnTo>
                <a:cubicBezTo>
                  <a:pt x="8210" y="7238"/>
                  <a:pt x="7952" y="7859"/>
                  <a:pt x="7949" y="7859"/>
                </a:cubicBezTo>
                <a:cubicBezTo>
                  <a:pt x="7949" y="7862"/>
                  <a:pt x="5389" y="6877"/>
                  <a:pt x="5387" y="6874"/>
                </a:cubicBezTo>
                <a:cubicBezTo>
                  <a:pt x="5384" y="6871"/>
                  <a:pt x="6219" y="6473"/>
                  <a:pt x="7242" y="5985"/>
                </a:cubicBezTo>
                <a:cubicBezTo>
                  <a:pt x="8263" y="5497"/>
                  <a:pt x="9101" y="5100"/>
                  <a:pt x="9103" y="5103"/>
                </a:cubicBezTo>
                <a:cubicBezTo>
                  <a:pt x="9103" y="5103"/>
                  <a:pt x="8845" y="5724"/>
                  <a:pt x="8526" y="6481"/>
                </a:cubicBezTo>
                <a:close/>
                <a:moveTo>
                  <a:pt x="9577" y="5630"/>
                </a:moveTo>
                <a:lnTo>
                  <a:pt x="9577" y="5630"/>
                </a:lnTo>
                <a:cubicBezTo>
                  <a:pt x="9812" y="5921"/>
                  <a:pt x="10004" y="6160"/>
                  <a:pt x="10004" y="6162"/>
                </a:cubicBezTo>
                <a:cubicBezTo>
                  <a:pt x="10004" y="6165"/>
                  <a:pt x="8010" y="7820"/>
                  <a:pt x="8010" y="7817"/>
                </a:cubicBezTo>
                <a:cubicBezTo>
                  <a:pt x="8008" y="7817"/>
                  <a:pt x="9123" y="5147"/>
                  <a:pt x="9139" y="5109"/>
                </a:cubicBezTo>
                <a:cubicBezTo>
                  <a:pt x="9142" y="5103"/>
                  <a:pt x="9145" y="5100"/>
                  <a:pt x="9148" y="5100"/>
                </a:cubicBezTo>
                <a:cubicBezTo>
                  <a:pt x="9148" y="5100"/>
                  <a:pt x="9342" y="5339"/>
                  <a:pt x="9577" y="5630"/>
                </a:cubicBezTo>
                <a:close/>
                <a:moveTo>
                  <a:pt x="14503" y="5106"/>
                </a:moveTo>
                <a:lnTo>
                  <a:pt x="14503" y="5106"/>
                </a:lnTo>
                <a:cubicBezTo>
                  <a:pt x="14506" y="5109"/>
                  <a:pt x="14475" y="5120"/>
                  <a:pt x="14439" y="5131"/>
                </a:cubicBezTo>
                <a:cubicBezTo>
                  <a:pt x="14406" y="5142"/>
                  <a:pt x="14375" y="5150"/>
                  <a:pt x="14372" y="5150"/>
                </a:cubicBezTo>
                <a:cubicBezTo>
                  <a:pt x="14372" y="5147"/>
                  <a:pt x="14378" y="5142"/>
                  <a:pt x="14386" y="5133"/>
                </a:cubicBezTo>
                <a:cubicBezTo>
                  <a:pt x="14400" y="5117"/>
                  <a:pt x="14400" y="5117"/>
                  <a:pt x="14400" y="5117"/>
                </a:cubicBezTo>
                <a:cubicBezTo>
                  <a:pt x="14433" y="5109"/>
                  <a:pt x="14433" y="5109"/>
                  <a:pt x="14433" y="5109"/>
                </a:cubicBezTo>
                <a:cubicBezTo>
                  <a:pt x="14469" y="5100"/>
                  <a:pt x="14494" y="5100"/>
                  <a:pt x="14503" y="5106"/>
                </a:cubicBezTo>
                <a:close/>
                <a:moveTo>
                  <a:pt x="12026" y="5697"/>
                </a:moveTo>
                <a:lnTo>
                  <a:pt x="12026" y="5697"/>
                </a:lnTo>
                <a:cubicBezTo>
                  <a:pt x="12284" y="6027"/>
                  <a:pt x="12481" y="6282"/>
                  <a:pt x="12478" y="6282"/>
                </a:cubicBezTo>
                <a:cubicBezTo>
                  <a:pt x="12470" y="6282"/>
                  <a:pt x="11701" y="6146"/>
                  <a:pt x="11696" y="6143"/>
                </a:cubicBezTo>
                <a:cubicBezTo>
                  <a:pt x="11696" y="6140"/>
                  <a:pt x="11665" y="5913"/>
                  <a:pt x="11632" y="5635"/>
                </a:cubicBezTo>
                <a:cubicBezTo>
                  <a:pt x="11596" y="5361"/>
                  <a:pt x="11568" y="5128"/>
                  <a:pt x="11565" y="5120"/>
                </a:cubicBezTo>
                <a:cubicBezTo>
                  <a:pt x="11565" y="5109"/>
                  <a:pt x="11565" y="5106"/>
                  <a:pt x="11568" y="5109"/>
                </a:cubicBezTo>
                <a:cubicBezTo>
                  <a:pt x="11571" y="5111"/>
                  <a:pt x="11776" y="5375"/>
                  <a:pt x="12026" y="5697"/>
                </a:cubicBezTo>
                <a:close/>
                <a:moveTo>
                  <a:pt x="14633" y="5109"/>
                </a:moveTo>
                <a:lnTo>
                  <a:pt x="14633" y="5109"/>
                </a:lnTo>
                <a:cubicBezTo>
                  <a:pt x="14633" y="5109"/>
                  <a:pt x="14506" y="5170"/>
                  <a:pt x="14353" y="5239"/>
                </a:cubicBezTo>
                <a:cubicBezTo>
                  <a:pt x="14076" y="5369"/>
                  <a:pt x="14076" y="5369"/>
                  <a:pt x="14076" y="5369"/>
                </a:cubicBezTo>
                <a:cubicBezTo>
                  <a:pt x="14042" y="5339"/>
                  <a:pt x="14042" y="5339"/>
                  <a:pt x="14042" y="5339"/>
                </a:cubicBezTo>
                <a:cubicBezTo>
                  <a:pt x="14023" y="5325"/>
                  <a:pt x="14009" y="5311"/>
                  <a:pt x="14009" y="5308"/>
                </a:cubicBezTo>
                <a:cubicBezTo>
                  <a:pt x="14009" y="5305"/>
                  <a:pt x="14622" y="5109"/>
                  <a:pt x="14633" y="5106"/>
                </a:cubicBezTo>
                <a:cubicBezTo>
                  <a:pt x="14633" y="5106"/>
                  <a:pt x="14636" y="5106"/>
                  <a:pt x="14633" y="5109"/>
                </a:cubicBezTo>
                <a:close/>
                <a:moveTo>
                  <a:pt x="15701" y="7157"/>
                </a:moveTo>
                <a:lnTo>
                  <a:pt x="15701" y="7157"/>
                </a:lnTo>
                <a:cubicBezTo>
                  <a:pt x="16084" y="8280"/>
                  <a:pt x="16419" y="9262"/>
                  <a:pt x="16444" y="9337"/>
                </a:cubicBezTo>
                <a:cubicBezTo>
                  <a:pt x="16469" y="9412"/>
                  <a:pt x="16489" y="9473"/>
                  <a:pt x="16489" y="9470"/>
                </a:cubicBezTo>
                <a:cubicBezTo>
                  <a:pt x="16483" y="9465"/>
                  <a:pt x="14098" y="5400"/>
                  <a:pt x="14101" y="5400"/>
                </a:cubicBezTo>
                <a:cubicBezTo>
                  <a:pt x="14103" y="5397"/>
                  <a:pt x="14996" y="5111"/>
                  <a:pt x="14999" y="5111"/>
                </a:cubicBezTo>
                <a:cubicBezTo>
                  <a:pt x="15005" y="5111"/>
                  <a:pt x="15241" y="5805"/>
                  <a:pt x="15701" y="7157"/>
                </a:cubicBezTo>
                <a:close/>
                <a:moveTo>
                  <a:pt x="4735" y="5874"/>
                </a:moveTo>
                <a:lnTo>
                  <a:pt x="4735" y="5874"/>
                </a:lnTo>
                <a:cubicBezTo>
                  <a:pt x="4749" y="6279"/>
                  <a:pt x="4760" y="6609"/>
                  <a:pt x="4760" y="6612"/>
                </a:cubicBezTo>
                <a:cubicBezTo>
                  <a:pt x="4757" y="6612"/>
                  <a:pt x="4593" y="6576"/>
                  <a:pt x="4593" y="6573"/>
                </a:cubicBezTo>
                <a:cubicBezTo>
                  <a:pt x="4593" y="6573"/>
                  <a:pt x="4615" y="6257"/>
                  <a:pt x="4646" y="5868"/>
                </a:cubicBezTo>
                <a:cubicBezTo>
                  <a:pt x="4677" y="5480"/>
                  <a:pt x="4701" y="5156"/>
                  <a:pt x="4701" y="5147"/>
                </a:cubicBezTo>
                <a:cubicBezTo>
                  <a:pt x="4701" y="5136"/>
                  <a:pt x="4704" y="5133"/>
                  <a:pt x="4704" y="5133"/>
                </a:cubicBezTo>
                <a:cubicBezTo>
                  <a:pt x="4707" y="5136"/>
                  <a:pt x="4721" y="5469"/>
                  <a:pt x="4735" y="5874"/>
                </a:cubicBezTo>
                <a:close/>
                <a:moveTo>
                  <a:pt x="4194" y="5200"/>
                </a:moveTo>
                <a:lnTo>
                  <a:pt x="4194" y="5200"/>
                </a:lnTo>
                <a:cubicBezTo>
                  <a:pt x="4277" y="5233"/>
                  <a:pt x="4344" y="5261"/>
                  <a:pt x="4346" y="5264"/>
                </a:cubicBezTo>
                <a:cubicBezTo>
                  <a:pt x="4346" y="5269"/>
                  <a:pt x="3739" y="6501"/>
                  <a:pt x="3736" y="6498"/>
                </a:cubicBezTo>
                <a:cubicBezTo>
                  <a:pt x="3733" y="6495"/>
                  <a:pt x="4039" y="5139"/>
                  <a:pt x="4041" y="5139"/>
                </a:cubicBezTo>
                <a:cubicBezTo>
                  <a:pt x="4044" y="5139"/>
                  <a:pt x="4113" y="5167"/>
                  <a:pt x="4194" y="5200"/>
                </a:cubicBezTo>
                <a:close/>
                <a:moveTo>
                  <a:pt x="4407" y="6057"/>
                </a:moveTo>
                <a:lnTo>
                  <a:pt x="4407" y="6057"/>
                </a:lnTo>
                <a:cubicBezTo>
                  <a:pt x="4305" y="6512"/>
                  <a:pt x="4219" y="6883"/>
                  <a:pt x="4219" y="6883"/>
                </a:cubicBezTo>
                <a:cubicBezTo>
                  <a:pt x="4216" y="6885"/>
                  <a:pt x="4088" y="6817"/>
                  <a:pt x="4088" y="6814"/>
                </a:cubicBezTo>
                <a:cubicBezTo>
                  <a:pt x="4088" y="6806"/>
                  <a:pt x="4593" y="5225"/>
                  <a:pt x="4593" y="5228"/>
                </a:cubicBezTo>
                <a:cubicBezTo>
                  <a:pt x="4593" y="5231"/>
                  <a:pt x="4510" y="5602"/>
                  <a:pt x="4407" y="6057"/>
                </a:cubicBezTo>
                <a:close/>
                <a:moveTo>
                  <a:pt x="5869" y="5488"/>
                </a:moveTo>
                <a:lnTo>
                  <a:pt x="5869" y="5488"/>
                </a:lnTo>
                <a:cubicBezTo>
                  <a:pt x="5922" y="5622"/>
                  <a:pt x="5964" y="5733"/>
                  <a:pt x="5964" y="5735"/>
                </a:cubicBezTo>
                <a:cubicBezTo>
                  <a:pt x="5964" y="5744"/>
                  <a:pt x="5395" y="6728"/>
                  <a:pt x="5395" y="6723"/>
                </a:cubicBezTo>
                <a:cubicBezTo>
                  <a:pt x="5392" y="6720"/>
                  <a:pt x="5719" y="5422"/>
                  <a:pt x="5764" y="5256"/>
                </a:cubicBezTo>
                <a:cubicBezTo>
                  <a:pt x="5767" y="5250"/>
                  <a:pt x="5769" y="5244"/>
                  <a:pt x="5769" y="5244"/>
                </a:cubicBezTo>
                <a:cubicBezTo>
                  <a:pt x="5772" y="5244"/>
                  <a:pt x="5817" y="5353"/>
                  <a:pt x="5869" y="5488"/>
                </a:cubicBezTo>
                <a:close/>
                <a:moveTo>
                  <a:pt x="10378" y="5452"/>
                </a:moveTo>
                <a:lnTo>
                  <a:pt x="10378" y="5452"/>
                </a:lnTo>
                <a:cubicBezTo>
                  <a:pt x="10470" y="5555"/>
                  <a:pt x="10547" y="5641"/>
                  <a:pt x="10547" y="5641"/>
                </a:cubicBezTo>
                <a:cubicBezTo>
                  <a:pt x="10547" y="5647"/>
                  <a:pt x="10525" y="5658"/>
                  <a:pt x="10522" y="5655"/>
                </a:cubicBezTo>
                <a:cubicBezTo>
                  <a:pt x="10514" y="5647"/>
                  <a:pt x="10212" y="5280"/>
                  <a:pt x="10198" y="5264"/>
                </a:cubicBezTo>
                <a:cubicBezTo>
                  <a:pt x="10184" y="5244"/>
                  <a:pt x="10184" y="5244"/>
                  <a:pt x="10184" y="5244"/>
                </a:cubicBezTo>
                <a:cubicBezTo>
                  <a:pt x="10195" y="5256"/>
                  <a:pt x="10195" y="5256"/>
                  <a:pt x="10195" y="5256"/>
                </a:cubicBezTo>
                <a:cubicBezTo>
                  <a:pt x="10201" y="5261"/>
                  <a:pt x="10284" y="5350"/>
                  <a:pt x="10378" y="5452"/>
                </a:cubicBezTo>
                <a:close/>
                <a:moveTo>
                  <a:pt x="4449" y="5305"/>
                </a:moveTo>
                <a:lnTo>
                  <a:pt x="4449" y="5305"/>
                </a:lnTo>
                <a:cubicBezTo>
                  <a:pt x="4480" y="5322"/>
                  <a:pt x="4504" y="5336"/>
                  <a:pt x="4504" y="5336"/>
                </a:cubicBezTo>
                <a:cubicBezTo>
                  <a:pt x="4504" y="5342"/>
                  <a:pt x="4069" y="6418"/>
                  <a:pt x="4064" y="6431"/>
                </a:cubicBezTo>
                <a:cubicBezTo>
                  <a:pt x="4061" y="6434"/>
                  <a:pt x="4058" y="6437"/>
                  <a:pt x="4061" y="6431"/>
                </a:cubicBezTo>
                <a:cubicBezTo>
                  <a:pt x="4066" y="6412"/>
                  <a:pt x="4382" y="5283"/>
                  <a:pt x="4382" y="5283"/>
                </a:cubicBezTo>
                <a:cubicBezTo>
                  <a:pt x="4382" y="5278"/>
                  <a:pt x="4391" y="5280"/>
                  <a:pt x="4449" y="5305"/>
                </a:cubicBezTo>
                <a:close/>
                <a:moveTo>
                  <a:pt x="11291" y="5602"/>
                </a:moveTo>
                <a:lnTo>
                  <a:pt x="11291" y="5602"/>
                </a:lnTo>
                <a:cubicBezTo>
                  <a:pt x="11393" y="5757"/>
                  <a:pt x="11477" y="5885"/>
                  <a:pt x="11477" y="5885"/>
                </a:cubicBezTo>
                <a:cubicBezTo>
                  <a:pt x="11474" y="5885"/>
                  <a:pt x="11038" y="5375"/>
                  <a:pt x="11036" y="5369"/>
                </a:cubicBezTo>
                <a:cubicBezTo>
                  <a:pt x="11036" y="5366"/>
                  <a:pt x="11099" y="5322"/>
                  <a:pt x="11102" y="5322"/>
                </a:cubicBezTo>
                <a:cubicBezTo>
                  <a:pt x="11105" y="5322"/>
                  <a:pt x="11188" y="5447"/>
                  <a:pt x="11291" y="5602"/>
                </a:cubicBezTo>
                <a:close/>
                <a:moveTo>
                  <a:pt x="14003" y="5355"/>
                </a:moveTo>
                <a:lnTo>
                  <a:pt x="14003" y="5355"/>
                </a:lnTo>
                <a:cubicBezTo>
                  <a:pt x="14023" y="5372"/>
                  <a:pt x="14040" y="5386"/>
                  <a:pt x="14037" y="5389"/>
                </a:cubicBezTo>
                <a:cubicBezTo>
                  <a:pt x="14037" y="5394"/>
                  <a:pt x="13293" y="5943"/>
                  <a:pt x="13291" y="5941"/>
                </a:cubicBezTo>
                <a:cubicBezTo>
                  <a:pt x="13288" y="5941"/>
                  <a:pt x="13962" y="5325"/>
                  <a:pt x="13967" y="5325"/>
                </a:cubicBezTo>
                <a:cubicBezTo>
                  <a:pt x="13967" y="5325"/>
                  <a:pt x="13984" y="5339"/>
                  <a:pt x="14003" y="5355"/>
                </a:cubicBezTo>
                <a:close/>
                <a:moveTo>
                  <a:pt x="5514" y="6093"/>
                </a:moveTo>
                <a:lnTo>
                  <a:pt x="5514" y="6093"/>
                </a:lnTo>
                <a:cubicBezTo>
                  <a:pt x="5412" y="6504"/>
                  <a:pt x="5326" y="6839"/>
                  <a:pt x="5326" y="6839"/>
                </a:cubicBezTo>
                <a:cubicBezTo>
                  <a:pt x="5326" y="6839"/>
                  <a:pt x="4943" y="6880"/>
                  <a:pt x="4940" y="6880"/>
                </a:cubicBezTo>
                <a:cubicBezTo>
                  <a:pt x="4940" y="6877"/>
                  <a:pt x="5109" y="6534"/>
                  <a:pt x="5320" y="6112"/>
                </a:cubicBezTo>
                <a:cubicBezTo>
                  <a:pt x="5531" y="5691"/>
                  <a:pt x="5703" y="5347"/>
                  <a:pt x="5703" y="5347"/>
                </a:cubicBezTo>
                <a:cubicBezTo>
                  <a:pt x="5703" y="5350"/>
                  <a:pt x="5620" y="5685"/>
                  <a:pt x="5514" y="6093"/>
                </a:cubicBezTo>
                <a:close/>
                <a:moveTo>
                  <a:pt x="12542" y="5655"/>
                </a:moveTo>
                <a:lnTo>
                  <a:pt x="12542" y="5655"/>
                </a:lnTo>
                <a:cubicBezTo>
                  <a:pt x="12644" y="5819"/>
                  <a:pt x="12725" y="5952"/>
                  <a:pt x="12722" y="5954"/>
                </a:cubicBezTo>
                <a:cubicBezTo>
                  <a:pt x="12722" y="5954"/>
                  <a:pt x="12680" y="5979"/>
                  <a:pt x="12633" y="6007"/>
                </a:cubicBezTo>
                <a:cubicBezTo>
                  <a:pt x="12586" y="6035"/>
                  <a:pt x="12544" y="6060"/>
                  <a:pt x="12542" y="6063"/>
                </a:cubicBezTo>
                <a:cubicBezTo>
                  <a:pt x="12536" y="6068"/>
                  <a:pt x="12536" y="6068"/>
                  <a:pt x="12536" y="6068"/>
                </a:cubicBezTo>
                <a:cubicBezTo>
                  <a:pt x="12531" y="6052"/>
                  <a:pt x="12531" y="6052"/>
                  <a:pt x="12531" y="6052"/>
                </a:cubicBezTo>
                <a:cubicBezTo>
                  <a:pt x="12528" y="6040"/>
                  <a:pt x="12486" y="5880"/>
                  <a:pt x="12439" y="5697"/>
                </a:cubicBezTo>
                <a:cubicBezTo>
                  <a:pt x="12392" y="5511"/>
                  <a:pt x="12353" y="5355"/>
                  <a:pt x="12353" y="5355"/>
                </a:cubicBezTo>
                <a:cubicBezTo>
                  <a:pt x="12353" y="5353"/>
                  <a:pt x="12353" y="5353"/>
                  <a:pt x="12356" y="5355"/>
                </a:cubicBezTo>
                <a:cubicBezTo>
                  <a:pt x="12359" y="5358"/>
                  <a:pt x="12442" y="5494"/>
                  <a:pt x="12542" y="5655"/>
                </a:cubicBezTo>
                <a:close/>
                <a:moveTo>
                  <a:pt x="12167" y="5741"/>
                </a:moveTo>
                <a:lnTo>
                  <a:pt x="12167" y="5741"/>
                </a:lnTo>
                <a:cubicBezTo>
                  <a:pt x="12350" y="5941"/>
                  <a:pt x="12503" y="6104"/>
                  <a:pt x="12503" y="6104"/>
                </a:cubicBezTo>
                <a:cubicBezTo>
                  <a:pt x="12506" y="6107"/>
                  <a:pt x="12500" y="6115"/>
                  <a:pt x="12497" y="6121"/>
                </a:cubicBezTo>
                <a:cubicBezTo>
                  <a:pt x="12489" y="6132"/>
                  <a:pt x="12489" y="6132"/>
                  <a:pt x="12489" y="6132"/>
                </a:cubicBezTo>
                <a:cubicBezTo>
                  <a:pt x="12497" y="6185"/>
                  <a:pt x="12497" y="6185"/>
                  <a:pt x="12497" y="6185"/>
                </a:cubicBezTo>
                <a:cubicBezTo>
                  <a:pt x="12503" y="6212"/>
                  <a:pt x="12508" y="6240"/>
                  <a:pt x="12508" y="6246"/>
                </a:cubicBezTo>
                <a:cubicBezTo>
                  <a:pt x="12506" y="6251"/>
                  <a:pt x="12436" y="6165"/>
                  <a:pt x="12167" y="5819"/>
                </a:cubicBezTo>
                <a:cubicBezTo>
                  <a:pt x="11981" y="5580"/>
                  <a:pt x="11826" y="5383"/>
                  <a:pt x="11823" y="5378"/>
                </a:cubicBezTo>
                <a:cubicBezTo>
                  <a:pt x="11818" y="5372"/>
                  <a:pt x="11818" y="5372"/>
                  <a:pt x="11818" y="5372"/>
                </a:cubicBezTo>
                <a:cubicBezTo>
                  <a:pt x="11826" y="5375"/>
                  <a:pt x="11826" y="5375"/>
                  <a:pt x="11826" y="5375"/>
                </a:cubicBezTo>
                <a:cubicBezTo>
                  <a:pt x="11829" y="5378"/>
                  <a:pt x="11981" y="5544"/>
                  <a:pt x="12167" y="5741"/>
                </a:cubicBezTo>
                <a:close/>
                <a:moveTo>
                  <a:pt x="3448" y="5860"/>
                </a:moveTo>
                <a:lnTo>
                  <a:pt x="3448" y="5860"/>
                </a:lnTo>
                <a:cubicBezTo>
                  <a:pt x="3459" y="6107"/>
                  <a:pt x="3467" y="6309"/>
                  <a:pt x="3467" y="6309"/>
                </a:cubicBezTo>
                <a:cubicBezTo>
                  <a:pt x="3464" y="6312"/>
                  <a:pt x="3317" y="6265"/>
                  <a:pt x="3315" y="6262"/>
                </a:cubicBezTo>
                <a:cubicBezTo>
                  <a:pt x="3312" y="6262"/>
                  <a:pt x="3414" y="5425"/>
                  <a:pt x="3420" y="5394"/>
                </a:cubicBezTo>
                <a:cubicBezTo>
                  <a:pt x="3423" y="5378"/>
                  <a:pt x="3423" y="5378"/>
                  <a:pt x="3423" y="5378"/>
                </a:cubicBezTo>
                <a:cubicBezTo>
                  <a:pt x="3426" y="5394"/>
                  <a:pt x="3426" y="5394"/>
                  <a:pt x="3426" y="5394"/>
                </a:cubicBezTo>
                <a:cubicBezTo>
                  <a:pt x="3426" y="5402"/>
                  <a:pt x="3437" y="5613"/>
                  <a:pt x="3448" y="5860"/>
                </a:cubicBezTo>
                <a:close/>
                <a:moveTo>
                  <a:pt x="11280" y="5821"/>
                </a:moveTo>
                <a:lnTo>
                  <a:pt x="11280" y="5821"/>
                </a:lnTo>
                <a:cubicBezTo>
                  <a:pt x="11540" y="6232"/>
                  <a:pt x="11571" y="6279"/>
                  <a:pt x="11563" y="6268"/>
                </a:cubicBezTo>
                <a:cubicBezTo>
                  <a:pt x="11560" y="6268"/>
                  <a:pt x="11416" y="6079"/>
                  <a:pt x="11244" y="5855"/>
                </a:cubicBezTo>
                <a:cubicBezTo>
                  <a:pt x="10927" y="5441"/>
                  <a:pt x="10927" y="5441"/>
                  <a:pt x="10927" y="5441"/>
                </a:cubicBezTo>
                <a:cubicBezTo>
                  <a:pt x="10964" y="5416"/>
                  <a:pt x="10964" y="5416"/>
                  <a:pt x="10964" y="5416"/>
                </a:cubicBezTo>
                <a:cubicBezTo>
                  <a:pt x="10983" y="5402"/>
                  <a:pt x="11000" y="5391"/>
                  <a:pt x="11000" y="5391"/>
                </a:cubicBezTo>
                <a:cubicBezTo>
                  <a:pt x="11002" y="5391"/>
                  <a:pt x="11130" y="5586"/>
                  <a:pt x="11280" y="5821"/>
                </a:cubicBezTo>
                <a:close/>
                <a:moveTo>
                  <a:pt x="14442" y="6262"/>
                </a:moveTo>
                <a:lnTo>
                  <a:pt x="14442" y="6262"/>
                </a:lnTo>
                <a:cubicBezTo>
                  <a:pt x="14647" y="6723"/>
                  <a:pt x="15099" y="7740"/>
                  <a:pt x="15449" y="8519"/>
                </a:cubicBezTo>
                <a:cubicBezTo>
                  <a:pt x="15795" y="9301"/>
                  <a:pt x="16081" y="9939"/>
                  <a:pt x="16078" y="9942"/>
                </a:cubicBezTo>
                <a:cubicBezTo>
                  <a:pt x="16078" y="9942"/>
                  <a:pt x="13146" y="6326"/>
                  <a:pt x="13146" y="6323"/>
                </a:cubicBezTo>
                <a:cubicBezTo>
                  <a:pt x="13146" y="6321"/>
                  <a:pt x="14062" y="5422"/>
                  <a:pt x="14064" y="5422"/>
                </a:cubicBezTo>
                <a:cubicBezTo>
                  <a:pt x="14067" y="5422"/>
                  <a:pt x="14236" y="5799"/>
                  <a:pt x="14442" y="6262"/>
                </a:cubicBezTo>
                <a:close/>
                <a:moveTo>
                  <a:pt x="3872" y="5461"/>
                </a:moveTo>
                <a:lnTo>
                  <a:pt x="3872" y="5461"/>
                </a:lnTo>
                <a:cubicBezTo>
                  <a:pt x="3872" y="5472"/>
                  <a:pt x="3839" y="5613"/>
                  <a:pt x="3806" y="5774"/>
                </a:cubicBezTo>
                <a:cubicBezTo>
                  <a:pt x="3739" y="6065"/>
                  <a:pt x="3739" y="6065"/>
                  <a:pt x="3739" y="6065"/>
                </a:cubicBezTo>
                <a:cubicBezTo>
                  <a:pt x="3692" y="6332"/>
                  <a:pt x="3692" y="6332"/>
                  <a:pt x="3692" y="6332"/>
                </a:cubicBezTo>
                <a:cubicBezTo>
                  <a:pt x="3667" y="6479"/>
                  <a:pt x="3642" y="6603"/>
                  <a:pt x="3642" y="6609"/>
                </a:cubicBezTo>
                <a:cubicBezTo>
                  <a:pt x="3639" y="6617"/>
                  <a:pt x="3639" y="6617"/>
                  <a:pt x="3639" y="6617"/>
                </a:cubicBezTo>
                <a:cubicBezTo>
                  <a:pt x="3600" y="6603"/>
                  <a:pt x="3600" y="6603"/>
                  <a:pt x="3600" y="6603"/>
                </a:cubicBezTo>
                <a:cubicBezTo>
                  <a:pt x="3578" y="6595"/>
                  <a:pt x="3561" y="6590"/>
                  <a:pt x="3561" y="6587"/>
                </a:cubicBezTo>
                <a:cubicBezTo>
                  <a:pt x="3561" y="6581"/>
                  <a:pt x="3875" y="5436"/>
                  <a:pt x="3878" y="5439"/>
                </a:cubicBezTo>
                <a:cubicBezTo>
                  <a:pt x="3878" y="5439"/>
                  <a:pt x="3875" y="5447"/>
                  <a:pt x="3872" y="5461"/>
                </a:cubicBezTo>
                <a:close/>
                <a:moveTo>
                  <a:pt x="4161" y="5943"/>
                </a:moveTo>
                <a:lnTo>
                  <a:pt x="4161" y="5943"/>
                </a:lnTo>
                <a:cubicBezTo>
                  <a:pt x="4086" y="6210"/>
                  <a:pt x="4005" y="6498"/>
                  <a:pt x="3980" y="6581"/>
                </a:cubicBezTo>
                <a:cubicBezTo>
                  <a:pt x="3958" y="6667"/>
                  <a:pt x="3939" y="6737"/>
                  <a:pt x="3936" y="6739"/>
                </a:cubicBezTo>
                <a:cubicBezTo>
                  <a:pt x="3933" y="6742"/>
                  <a:pt x="3709" y="6645"/>
                  <a:pt x="3709" y="6642"/>
                </a:cubicBezTo>
                <a:cubicBezTo>
                  <a:pt x="3711" y="6631"/>
                  <a:pt x="4297" y="5450"/>
                  <a:pt x="4297" y="5452"/>
                </a:cubicBezTo>
                <a:cubicBezTo>
                  <a:pt x="4299" y="5455"/>
                  <a:pt x="4238" y="5674"/>
                  <a:pt x="4161" y="5943"/>
                </a:cubicBezTo>
                <a:close/>
                <a:moveTo>
                  <a:pt x="5556" y="5516"/>
                </a:moveTo>
                <a:lnTo>
                  <a:pt x="5556" y="5516"/>
                </a:lnTo>
                <a:cubicBezTo>
                  <a:pt x="5314" y="5974"/>
                  <a:pt x="4946" y="6662"/>
                  <a:pt x="4943" y="6662"/>
                </a:cubicBezTo>
                <a:cubicBezTo>
                  <a:pt x="4937" y="6662"/>
                  <a:pt x="4812" y="6628"/>
                  <a:pt x="4810" y="6626"/>
                </a:cubicBezTo>
                <a:cubicBezTo>
                  <a:pt x="4810" y="6623"/>
                  <a:pt x="5581" y="5458"/>
                  <a:pt x="5584" y="5458"/>
                </a:cubicBezTo>
                <a:cubicBezTo>
                  <a:pt x="5586" y="5458"/>
                  <a:pt x="5572" y="5483"/>
                  <a:pt x="5556" y="5516"/>
                </a:cubicBezTo>
                <a:close/>
                <a:moveTo>
                  <a:pt x="10916" y="5674"/>
                </a:moveTo>
                <a:lnTo>
                  <a:pt x="10916" y="5674"/>
                </a:lnTo>
                <a:cubicBezTo>
                  <a:pt x="10933" y="5785"/>
                  <a:pt x="10950" y="5882"/>
                  <a:pt x="10950" y="5888"/>
                </a:cubicBezTo>
                <a:cubicBezTo>
                  <a:pt x="10952" y="5899"/>
                  <a:pt x="10952" y="5899"/>
                  <a:pt x="10952" y="5899"/>
                </a:cubicBezTo>
                <a:cubicBezTo>
                  <a:pt x="10947" y="5893"/>
                  <a:pt x="10947" y="5893"/>
                  <a:pt x="10947" y="5893"/>
                </a:cubicBezTo>
                <a:cubicBezTo>
                  <a:pt x="10944" y="5891"/>
                  <a:pt x="10891" y="5819"/>
                  <a:pt x="10833" y="5730"/>
                </a:cubicBezTo>
                <a:cubicBezTo>
                  <a:pt x="10750" y="5608"/>
                  <a:pt x="10725" y="5572"/>
                  <a:pt x="10731" y="5569"/>
                </a:cubicBezTo>
                <a:cubicBezTo>
                  <a:pt x="10733" y="5566"/>
                  <a:pt x="10767" y="5544"/>
                  <a:pt x="10808" y="5516"/>
                </a:cubicBezTo>
                <a:cubicBezTo>
                  <a:pt x="10850" y="5488"/>
                  <a:pt x="10883" y="5466"/>
                  <a:pt x="10886" y="5469"/>
                </a:cubicBezTo>
                <a:cubicBezTo>
                  <a:pt x="10886" y="5469"/>
                  <a:pt x="10900" y="5561"/>
                  <a:pt x="10916" y="5674"/>
                </a:cubicBezTo>
                <a:close/>
                <a:moveTo>
                  <a:pt x="13684" y="5486"/>
                </a:moveTo>
                <a:lnTo>
                  <a:pt x="13684" y="5486"/>
                </a:lnTo>
                <a:cubicBezTo>
                  <a:pt x="13660" y="5505"/>
                  <a:pt x="13562" y="5577"/>
                  <a:pt x="13560" y="5574"/>
                </a:cubicBezTo>
                <a:cubicBezTo>
                  <a:pt x="13560" y="5574"/>
                  <a:pt x="13562" y="5566"/>
                  <a:pt x="13565" y="5558"/>
                </a:cubicBezTo>
                <a:cubicBezTo>
                  <a:pt x="13574" y="5541"/>
                  <a:pt x="13574" y="5541"/>
                  <a:pt x="13574" y="5541"/>
                </a:cubicBezTo>
                <a:cubicBezTo>
                  <a:pt x="13632" y="5508"/>
                  <a:pt x="13632" y="5508"/>
                  <a:pt x="13632" y="5508"/>
                </a:cubicBezTo>
                <a:cubicBezTo>
                  <a:pt x="13690" y="5475"/>
                  <a:pt x="13704" y="5469"/>
                  <a:pt x="13684" y="5486"/>
                </a:cubicBezTo>
                <a:close/>
                <a:moveTo>
                  <a:pt x="16034" y="7407"/>
                </a:moveTo>
                <a:lnTo>
                  <a:pt x="16034" y="7407"/>
                </a:lnTo>
                <a:cubicBezTo>
                  <a:pt x="16503" y="8458"/>
                  <a:pt x="16888" y="9318"/>
                  <a:pt x="16888" y="9321"/>
                </a:cubicBezTo>
                <a:cubicBezTo>
                  <a:pt x="16888" y="9321"/>
                  <a:pt x="16858" y="9351"/>
                  <a:pt x="16819" y="9387"/>
                </a:cubicBezTo>
                <a:cubicBezTo>
                  <a:pt x="16780" y="9423"/>
                  <a:pt x="16716" y="9484"/>
                  <a:pt x="16675" y="9523"/>
                </a:cubicBezTo>
                <a:cubicBezTo>
                  <a:pt x="16591" y="9603"/>
                  <a:pt x="16577" y="9617"/>
                  <a:pt x="16575" y="9609"/>
                </a:cubicBezTo>
                <a:cubicBezTo>
                  <a:pt x="16569" y="9592"/>
                  <a:pt x="15171" y="5486"/>
                  <a:pt x="15168" y="5480"/>
                </a:cubicBezTo>
                <a:cubicBezTo>
                  <a:pt x="15168" y="5477"/>
                  <a:pt x="15171" y="5480"/>
                  <a:pt x="15174" y="5488"/>
                </a:cubicBezTo>
                <a:cubicBezTo>
                  <a:pt x="15177" y="5494"/>
                  <a:pt x="15565" y="6359"/>
                  <a:pt x="16034" y="7407"/>
                </a:cubicBezTo>
                <a:close/>
                <a:moveTo>
                  <a:pt x="11047" y="5685"/>
                </a:moveTo>
                <a:lnTo>
                  <a:pt x="11047" y="5685"/>
                </a:lnTo>
                <a:cubicBezTo>
                  <a:pt x="11105" y="5774"/>
                  <a:pt x="11155" y="5849"/>
                  <a:pt x="11155" y="5849"/>
                </a:cubicBezTo>
                <a:cubicBezTo>
                  <a:pt x="11155" y="5855"/>
                  <a:pt x="11000" y="5946"/>
                  <a:pt x="10997" y="5943"/>
                </a:cubicBezTo>
                <a:cubicBezTo>
                  <a:pt x="10994" y="5941"/>
                  <a:pt x="10980" y="5849"/>
                  <a:pt x="10964" y="5735"/>
                </a:cubicBezTo>
                <a:cubicBezTo>
                  <a:pt x="10944" y="5622"/>
                  <a:pt x="10930" y="5525"/>
                  <a:pt x="10930" y="5522"/>
                </a:cubicBezTo>
                <a:cubicBezTo>
                  <a:pt x="10927" y="5511"/>
                  <a:pt x="10927" y="5511"/>
                  <a:pt x="10927" y="5511"/>
                </a:cubicBezTo>
                <a:cubicBezTo>
                  <a:pt x="10933" y="5516"/>
                  <a:pt x="10933" y="5516"/>
                  <a:pt x="10933" y="5516"/>
                </a:cubicBezTo>
                <a:cubicBezTo>
                  <a:pt x="10936" y="5519"/>
                  <a:pt x="10986" y="5597"/>
                  <a:pt x="11047" y="5685"/>
                </a:cubicBezTo>
                <a:close/>
                <a:moveTo>
                  <a:pt x="13510" y="5599"/>
                </a:moveTo>
                <a:lnTo>
                  <a:pt x="13510" y="5599"/>
                </a:lnTo>
                <a:cubicBezTo>
                  <a:pt x="13501" y="5619"/>
                  <a:pt x="13501" y="5619"/>
                  <a:pt x="13501" y="5619"/>
                </a:cubicBezTo>
                <a:cubicBezTo>
                  <a:pt x="13385" y="5672"/>
                  <a:pt x="13385" y="5672"/>
                  <a:pt x="13385" y="5672"/>
                </a:cubicBezTo>
                <a:cubicBezTo>
                  <a:pt x="13321" y="5702"/>
                  <a:pt x="13268" y="5724"/>
                  <a:pt x="13268" y="5724"/>
                </a:cubicBezTo>
                <a:cubicBezTo>
                  <a:pt x="13266" y="5721"/>
                  <a:pt x="13515" y="5577"/>
                  <a:pt x="13518" y="5577"/>
                </a:cubicBezTo>
                <a:cubicBezTo>
                  <a:pt x="13518" y="5577"/>
                  <a:pt x="13515" y="5588"/>
                  <a:pt x="13510" y="5599"/>
                </a:cubicBezTo>
                <a:close/>
                <a:moveTo>
                  <a:pt x="12897" y="5683"/>
                </a:moveTo>
                <a:lnTo>
                  <a:pt x="12897" y="5683"/>
                </a:lnTo>
                <a:cubicBezTo>
                  <a:pt x="13019" y="5713"/>
                  <a:pt x="13119" y="5741"/>
                  <a:pt x="13119" y="5744"/>
                </a:cubicBezTo>
                <a:cubicBezTo>
                  <a:pt x="13119" y="5749"/>
                  <a:pt x="12761" y="5935"/>
                  <a:pt x="12758" y="5935"/>
                </a:cubicBezTo>
                <a:cubicBezTo>
                  <a:pt x="12755" y="5932"/>
                  <a:pt x="12556" y="5602"/>
                  <a:pt x="12553" y="5597"/>
                </a:cubicBezTo>
                <a:cubicBezTo>
                  <a:pt x="12553" y="5594"/>
                  <a:pt x="12569" y="5597"/>
                  <a:pt x="12614" y="5608"/>
                </a:cubicBezTo>
                <a:cubicBezTo>
                  <a:pt x="12647" y="5616"/>
                  <a:pt x="12775" y="5649"/>
                  <a:pt x="12897" y="5683"/>
                </a:cubicBezTo>
                <a:close/>
                <a:moveTo>
                  <a:pt x="544" y="6268"/>
                </a:moveTo>
                <a:lnTo>
                  <a:pt x="544" y="6268"/>
                </a:lnTo>
                <a:cubicBezTo>
                  <a:pt x="555" y="6634"/>
                  <a:pt x="560" y="6932"/>
                  <a:pt x="560" y="6932"/>
                </a:cubicBezTo>
                <a:cubicBezTo>
                  <a:pt x="558" y="6935"/>
                  <a:pt x="533" y="6781"/>
                  <a:pt x="502" y="6587"/>
                </a:cubicBezTo>
                <a:cubicBezTo>
                  <a:pt x="449" y="6240"/>
                  <a:pt x="449" y="6240"/>
                  <a:pt x="449" y="6240"/>
                </a:cubicBezTo>
                <a:cubicBezTo>
                  <a:pt x="485" y="5921"/>
                  <a:pt x="485" y="5921"/>
                  <a:pt x="485" y="5921"/>
                </a:cubicBezTo>
                <a:cubicBezTo>
                  <a:pt x="505" y="5746"/>
                  <a:pt x="524" y="5602"/>
                  <a:pt x="524" y="5599"/>
                </a:cubicBezTo>
                <a:cubicBezTo>
                  <a:pt x="524" y="5572"/>
                  <a:pt x="530" y="5694"/>
                  <a:pt x="544" y="6268"/>
                </a:cubicBezTo>
                <a:close/>
                <a:moveTo>
                  <a:pt x="10792" y="5733"/>
                </a:moveTo>
                <a:lnTo>
                  <a:pt x="10792" y="5733"/>
                </a:lnTo>
                <a:cubicBezTo>
                  <a:pt x="10844" y="5810"/>
                  <a:pt x="10889" y="5874"/>
                  <a:pt x="10886" y="5874"/>
                </a:cubicBezTo>
                <a:cubicBezTo>
                  <a:pt x="10886" y="5877"/>
                  <a:pt x="10611" y="5652"/>
                  <a:pt x="10611" y="5649"/>
                </a:cubicBezTo>
                <a:cubicBezTo>
                  <a:pt x="10611" y="5647"/>
                  <a:pt x="10689" y="5594"/>
                  <a:pt x="10694" y="5594"/>
                </a:cubicBezTo>
                <a:cubicBezTo>
                  <a:pt x="10697" y="5594"/>
                  <a:pt x="10742" y="5658"/>
                  <a:pt x="10792" y="5733"/>
                </a:cubicBezTo>
                <a:close/>
                <a:moveTo>
                  <a:pt x="11418" y="5877"/>
                </a:moveTo>
                <a:lnTo>
                  <a:pt x="11418" y="5877"/>
                </a:lnTo>
                <a:cubicBezTo>
                  <a:pt x="11654" y="6154"/>
                  <a:pt x="11654" y="6154"/>
                  <a:pt x="11654" y="6154"/>
                </a:cubicBezTo>
                <a:cubicBezTo>
                  <a:pt x="11707" y="6318"/>
                  <a:pt x="11707" y="6318"/>
                  <a:pt x="11707" y="6318"/>
                </a:cubicBezTo>
                <a:cubicBezTo>
                  <a:pt x="11735" y="6407"/>
                  <a:pt x="11760" y="6490"/>
                  <a:pt x="11762" y="6498"/>
                </a:cubicBezTo>
                <a:cubicBezTo>
                  <a:pt x="11768" y="6517"/>
                  <a:pt x="11768" y="6517"/>
                  <a:pt x="11768" y="6517"/>
                </a:cubicBezTo>
                <a:cubicBezTo>
                  <a:pt x="11762" y="6512"/>
                  <a:pt x="11762" y="6512"/>
                  <a:pt x="11762" y="6512"/>
                </a:cubicBezTo>
                <a:cubicBezTo>
                  <a:pt x="11760" y="6509"/>
                  <a:pt x="11632" y="6309"/>
                  <a:pt x="11479" y="6071"/>
                </a:cubicBezTo>
                <a:cubicBezTo>
                  <a:pt x="11327" y="5830"/>
                  <a:pt x="11197" y="5624"/>
                  <a:pt x="11188" y="5613"/>
                </a:cubicBezTo>
                <a:cubicBezTo>
                  <a:pt x="11183" y="5602"/>
                  <a:pt x="11177" y="5594"/>
                  <a:pt x="11180" y="5597"/>
                </a:cubicBezTo>
                <a:cubicBezTo>
                  <a:pt x="11183" y="5597"/>
                  <a:pt x="11291" y="5724"/>
                  <a:pt x="11418" y="5877"/>
                </a:cubicBezTo>
                <a:close/>
                <a:moveTo>
                  <a:pt x="13795" y="5619"/>
                </a:moveTo>
                <a:lnTo>
                  <a:pt x="13795" y="5619"/>
                </a:lnTo>
                <a:cubicBezTo>
                  <a:pt x="13787" y="5630"/>
                  <a:pt x="13146" y="6221"/>
                  <a:pt x="13130" y="6235"/>
                </a:cubicBezTo>
                <a:cubicBezTo>
                  <a:pt x="13124" y="6243"/>
                  <a:pt x="13124" y="6243"/>
                  <a:pt x="13124" y="6243"/>
                </a:cubicBezTo>
                <a:cubicBezTo>
                  <a:pt x="13080" y="6212"/>
                  <a:pt x="13080" y="6212"/>
                  <a:pt x="13080" y="6212"/>
                </a:cubicBezTo>
                <a:cubicBezTo>
                  <a:pt x="13058" y="6193"/>
                  <a:pt x="13038" y="6179"/>
                  <a:pt x="13038" y="6176"/>
                </a:cubicBezTo>
                <a:cubicBezTo>
                  <a:pt x="13038" y="6174"/>
                  <a:pt x="13798" y="5611"/>
                  <a:pt x="13804" y="5611"/>
                </a:cubicBezTo>
                <a:cubicBezTo>
                  <a:pt x="13807" y="5611"/>
                  <a:pt x="13804" y="5613"/>
                  <a:pt x="13795" y="5619"/>
                </a:cubicBezTo>
                <a:close/>
                <a:moveTo>
                  <a:pt x="1193" y="6384"/>
                </a:moveTo>
                <a:lnTo>
                  <a:pt x="1193" y="6384"/>
                </a:lnTo>
                <a:cubicBezTo>
                  <a:pt x="1376" y="6778"/>
                  <a:pt x="1528" y="7099"/>
                  <a:pt x="1528" y="7102"/>
                </a:cubicBezTo>
                <a:cubicBezTo>
                  <a:pt x="1528" y="7107"/>
                  <a:pt x="1348" y="7598"/>
                  <a:pt x="1345" y="7604"/>
                </a:cubicBezTo>
                <a:cubicBezTo>
                  <a:pt x="1342" y="7604"/>
                  <a:pt x="849" y="5669"/>
                  <a:pt x="849" y="5660"/>
                </a:cubicBezTo>
                <a:cubicBezTo>
                  <a:pt x="849" y="5658"/>
                  <a:pt x="849" y="5658"/>
                  <a:pt x="852" y="5660"/>
                </a:cubicBezTo>
                <a:cubicBezTo>
                  <a:pt x="854" y="5663"/>
                  <a:pt x="1007" y="5988"/>
                  <a:pt x="1193" y="6384"/>
                </a:cubicBezTo>
                <a:close/>
                <a:moveTo>
                  <a:pt x="10611" y="5752"/>
                </a:moveTo>
                <a:lnTo>
                  <a:pt x="10611" y="5752"/>
                </a:lnTo>
                <a:cubicBezTo>
                  <a:pt x="10647" y="5824"/>
                  <a:pt x="10656" y="5843"/>
                  <a:pt x="10653" y="5843"/>
                </a:cubicBezTo>
                <a:cubicBezTo>
                  <a:pt x="10653" y="5843"/>
                  <a:pt x="10553" y="5697"/>
                  <a:pt x="10550" y="5691"/>
                </a:cubicBezTo>
                <a:cubicBezTo>
                  <a:pt x="10547" y="5685"/>
                  <a:pt x="10567" y="5672"/>
                  <a:pt x="10572" y="5674"/>
                </a:cubicBezTo>
                <a:cubicBezTo>
                  <a:pt x="10572" y="5674"/>
                  <a:pt x="10592" y="5710"/>
                  <a:pt x="10611" y="5752"/>
                </a:cubicBezTo>
                <a:close/>
                <a:moveTo>
                  <a:pt x="13305" y="5816"/>
                </a:moveTo>
                <a:lnTo>
                  <a:pt x="13305" y="5816"/>
                </a:lnTo>
                <a:cubicBezTo>
                  <a:pt x="13182" y="5938"/>
                  <a:pt x="13182" y="5938"/>
                  <a:pt x="13182" y="5938"/>
                </a:cubicBezTo>
                <a:cubicBezTo>
                  <a:pt x="13094" y="5913"/>
                  <a:pt x="13094" y="5913"/>
                  <a:pt x="13094" y="5913"/>
                </a:cubicBezTo>
                <a:cubicBezTo>
                  <a:pt x="13008" y="5891"/>
                  <a:pt x="12994" y="5888"/>
                  <a:pt x="13002" y="5885"/>
                </a:cubicBezTo>
                <a:cubicBezTo>
                  <a:pt x="13005" y="5882"/>
                  <a:pt x="13099" y="5841"/>
                  <a:pt x="13213" y="5788"/>
                </a:cubicBezTo>
                <a:cubicBezTo>
                  <a:pt x="13327" y="5738"/>
                  <a:pt x="13421" y="5694"/>
                  <a:pt x="13424" y="5694"/>
                </a:cubicBezTo>
                <a:cubicBezTo>
                  <a:pt x="13427" y="5694"/>
                  <a:pt x="13371" y="5749"/>
                  <a:pt x="13305" y="5816"/>
                </a:cubicBezTo>
                <a:close/>
                <a:moveTo>
                  <a:pt x="15393" y="7676"/>
                </a:moveTo>
                <a:lnTo>
                  <a:pt x="15393" y="7676"/>
                </a:lnTo>
                <a:cubicBezTo>
                  <a:pt x="16547" y="9645"/>
                  <a:pt x="16547" y="9645"/>
                  <a:pt x="16547" y="9645"/>
                </a:cubicBezTo>
                <a:cubicBezTo>
                  <a:pt x="16503" y="9689"/>
                  <a:pt x="16503" y="9689"/>
                  <a:pt x="16503" y="9689"/>
                </a:cubicBezTo>
                <a:cubicBezTo>
                  <a:pt x="16478" y="9714"/>
                  <a:pt x="16436" y="9756"/>
                  <a:pt x="16411" y="9781"/>
                </a:cubicBezTo>
                <a:cubicBezTo>
                  <a:pt x="16386" y="9806"/>
                  <a:pt x="16319" y="9872"/>
                  <a:pt x="16264" y="9931"/>
                </a:cubicBezTo>
                <a:cubicBezTo>
                  <a:pt x="16209" y="9989"/>
                  <a:pt x="16164" y="10033"/>
                  <a:pt x="16161" y="10033"/>
                </a:cubicBezTo>
                <a:cubicBezTo>
                  <a:pt x="16159" y="10031"/>
                  <a:pt x="14236" y="5721"/>
                  <a:pt x="14231" y="5705"/>
                </a:cubicBezTo>
                <a:cubicBezTo>
                  <a:pt x="14231" y="5702"/>
                  <a:pt x="14231" y="5702"/>
                  <a:pt x="14234" y="5705"/>
                </a:cubicBezTo>
                <a:cubicBezTo>
                  <a:pt x="14236" y="5705"/>
                  <a:pt x="14758" y="6592"/>
                  <a:pt x="15393" y="7676"/>
                </a:cubicBezTo>
                <a:close/>
                <a:moveTo>
                  <a:pt x="10633" y="5877"/>
                </a:moveTo>
                <a:lnTo>
                  <a:pt x="10633" y="5877"/>
                </a:lnTo>
                <a:cubicBezTo>
                  <a:pt x="10697" y="5968"/>
                  <a:pt x="10747" y="6046"/>
                  <a:pt x="10747" y="6046"/>
                </a:cubicBezTo>
                <a:cubicBezTo>
                  <a:pt x="10747" y="6049"/>
                  <a:pt x="10312" y="5882"/>
                  <a:pt x="10312" y="5880"/>
                </a:cubicBezTo>
                <a:cubicBezTo>
                  <a:pt x="10312" y="5874"/>
                  <a:pt x="10511" y="5708"/>
                  <a:pt x="10517" y="5710"/>
                </a:cubicBezTo>
                <a:cubicBezTo>
                  <a:pt x="10517" y="5710"/>
                  <a:pt x="10572" y="5785"/>
                  <a:pt x="10633" y="5877"/>
                </a:cubicBezTo>
                <a:close/>
                <a:moveTo>
                  <a:pt x="630" y="5807"/>
                </a:moveTo>
                <a:lnTo>
                  <a:pt x="630" y="5807"/>
                </a:lnTo>
                <a:cubicBezTo>
                  <a:pt x="643" y="5871"/>
                  <a:pt x="643" y="5871"/>
                  <a:pt x="643" y="5871"/>
                </a:cubicBezTo>
                <a:cubicBezTo>
                  <a:pt x="632" y="5921"/>
                  <a:pt x="632" y="5921"/>
                  <a:pt x="632" y="5921"/>
                </a:cubicBezTo>
                <a:cubicBezTo>
                  <a:pt x="621" y="5957"/>
                  <a:pt x="616" y="5971"/>
                  <a:pt x="616" y="5966"/>
                </a:cubicBezTo>
                <a:cubicBezTo>
                  <a:pt x="613" y="5963"/>
                  <a:pt x="610" y="5927"/>
                  <a:pt x="607" y="5888"/>
                </a:cubicBezTo>
                <a:cubicBezTo>
                  <a:pt x="599" y="5819"/>
                  <a:pt x="599" y="5810"/>
                  <a:pt x="610" y="5755"/>
                </a:cubicBezTo>
                <a:cubicBezTo>
                  <a:pt x="610" y="5746"/>
                  <a:pt x="613" y="5744"/>
                  <a:pt x="613" y="5744"/>
                </a:cubicBezTo>
                <a:cubicBezTo>
                  <a:pt x="616" y="5744"/>
                  <a:pt x="621" y="5774"/>
                  <a:pt x="630" y="5807"/>
                </a:cubicBezTo>
                <a:close/>
                <a:moveTo>
                  <a:pt x="1465" y="5807"/>
                </a:moveTo>
                <a:lnTo>
                  <a:pt x="1465" y="5807"/>
                </a:lnTo>
                <a:cubicBezTo>
                  <a:pt x="1470" y="5830"/>
                  <a:pt x="1476" y="5866"/>
                  <a:pt x="1478" y="5885"/>
                </a:cubicBezTo>
                <a:cubicBezTo>
                  <a:pt x="1481" y="5905"/>
                  <a:pt x="1528" y="6138"/>
                  <a:pt x="1581" y="6401"/>
                </a:cubicBezTo>
                <a:cubicBezTo>
                  <a:pt x="1675" y="6877"/>
                  <a:pt x="1675" y="6877"/>
                  <a:pt x="1675" y="6877"/>
                </a:cubicBezTo>
                <a:cubicBezTo>
                  <a:pt x="1623" y="6957"/>
                  <a:pt x="1623" y="6957"/>
                  <a:pt x="1623" y="6957"/>
                </a:cubicBezTo>
                <a:cubicBezTo>
                  <a:pt x="1595" y="7002"/>
                  <a:pt x="1570" y="7038"/>
                  <a:pt x="1570" y="7041"/>
                </a:cubicBezTo>
                <a:cubicBezTo>
                  <a:pt x="1567" y="7043"/>
                  <a:pt x="1564" y="7043"/>
                  <a:pt x="1564" y="7043"/>
                </a:cubicBezTo>
                <a:cubicBezTo>
                  <a:pt x="1562" y="7041"/>
                  <a:pt x="1537" y="6762"/>
                  <a:pt x="1509" y="6418"/>
                </a:cubicBezTo>
                <a:cubicBezTo>
                  <a:pt x="1478" y="6076"/>
                  <a:pt x="1453" y="5788"/>
                  <a:pt x="1453" y="5777"/>
                </a:cubicBezTo>
                <a:cubicBezTo>
                  <a:pt x="1448" y="5746"/>
                  <a:pt x="1453" y="5760"/>
                  <a:pt x="1465" y="5807"/>
                </a:cubicBezTo>
                <a:close/>
                <a:moveTo>
                  <a:pt x="4330" y="5910"/>
                </a:moveTo>
                <a:lnTo>
                  <a:pt x="4330" y="5910"/>
                </a:lnTo>
                <a:cubicBezTo>
                  <a:pt x="4308" y="5985"/>
                  <a:pt x="4235" y="6215"/>
                  <a:pt x="4172" y="6420"/>
                </a:cubicBezTo>
                <a:cubicBezTo>
                  <a:pt x="4108" y="6626"/>
                  <a:pt x="4055" y="6795"/>
                  <a:pt x="4052" y="6795"/>
                </a:cubicBezTo>
                <a:cubicBezTo>
                  <a:pt x="4050" y="6798"/>
                  <a:pt x="3972" y="6762"/>
                  <a:pt x="3972" y="6756"/>
                </a:cubicBezTo>
                <a:cubicBezTo>
                  <a:pt x="3972" y="6748"/>
                  <a:pt x="4371" y="5769"/>
                  <a:pt x="4371" y="5771"/>
                </a:cubicBezTo>
                <a:cubicBezTo>
                  <a:pt x="4371" y="5771"/>
                  <a:pt x="4355" y="5832"/>
                  <a:pt x="4330" y="5910"/>
                </a:cubicBezTo>
                <a:close/>
                <a:moveTo>
                  <a:pt x="10839" y="5882"/>
                </a:moveTo>
                <a:lnTo>
                  <a:pt x="10839" y="5882"/>
                </a:lnTo>
                <a:cubicBezTo>
                  <a:pt x="10966" y="5990"/>
                  <a:pt x="10966" y="5990"/>
                  <a:pt x="10966" y="5990"/>
                </a:cubicBezTo>
                <a:cubicBezTo>
                  <a:pt x="11122" y="6237"/>
                  <a:pt x="11122" y="6237"/>
                  <a:pt x="11122" y="6237"/>
                </a:cubicBezTo>
                <a:cubicBezTo>
                  <a:pt x="11205" y="6376"/>
                  <a:pt x="11280" y="6498"/>
                  <a:pt x="11288" y="6512"/>
                </a:cubicBezTo>
                <a:cubicBezTo>
                  <a:pt x="11296" y="6523"/>
                  <a:pt x="11302" y="6534"/>
                  <a:pt x="11302" y="6534"/>
                </a:cubicBezTo>
                <a:cubicBezTo>
                  <a:pt x="11302" y="6537"/>
                  <a:pt x="11174" y="6379"/>
                  <a:pt x="11022" y="6185"/>
                </a:cubicBezTo>
                <a:cubicBezTo>
                  <a:pt x="10686" y="5757"/>
                  <a:pt x="10703" y="5777"/>
                  <a:pt x="10705" y="5777"/>
                </a:cubicBezTo>
                <a:cubicBezTo>
                  <a:pt x="10705" y="5777"/>
                  <a:pt x="10767" y="5824"/>
                  <a:pt x="10839" y="5882"/>
                </a:cubicBezTo>
                <a:close/>
                <a:moveTo>
                  <a:pt x="11180" y="5891"/>
                </a:moveTo>
                <a:lnTo>
                  <a:pt x="11180" y="5891"/>
                </a:lnTo>
                <a:cubicBezTo>
                  <a:pt x="11185" y="5905"/>
                  <a:pt x="11432" y="6667"/>
                  <a:pt x="11429" y="6670"/>
                </a:cubicBezTo>
                <a:cubicBezTo>
                  <a:pt x="11429" y="6670"/>
                  <a:pt x="11008" y="5990"/>
                  <a:pt x="11008" y="5985"/>
                </a:cubicBezTo>
                <a:cubicBezTo>
                  <a:pt x="11008" y="5982"/>
                  <a:pt x="11169" y="5885"/>
                  <a:pt x="11174" y="5882"/>
                </a:cubicBezTo>
                <a:cubicBezTo>
                  <a:pt x="11174" y="5882"/>
                  <a:pt x="11177" y="5888"/>
                  <a:pt x="11180" y="5891"/>
                </a:cubicBezTo>
                <a:close/>
                <a:moveTo>
                  <a:pt x="580" y="5982"/>
                </a:moveTo>
                <a:lnTo>
                  <a:pt x="580" y="5982"/>
                </a:lnTo>
                <a:cubicBezTo>
                  <a:pt x="583" y="6024"/>
                  <a:pt x="585" y="6076"/>
                  <a:pt x="585" y="6138"/>
                </a:cubicBezTo>
                <a:cubicBezTo>
                  <a:pt x="585" y="6287"/>
                  <a:pt x="580" y="6301"/>
                  <a:pt x="577" y="6165"/>
                </a:cubicBezTo>
                <a:cubicBezTo>
                  <a:pt x="577" y="6099"/>
                  <a:pt x="574" y="6015"/>
                  <a:pt x="571" y="5982"/>
                </a:cubicBezTo>
                <a:cubicBezTo>
                  <a:pt x="571" y="5946"/>
                  <a:pt x="571" y="5918"/>
                  <a:pt x="571" y="5921"/>
                </a:cubicBezTo>
                <a:cubicBezTo>
                  <a:pt x="574" y="5921"/>
                  <a:pt x="577" y="5949"/>
                  <a:pt x="580" y="5982"/>
                </a:cubicBezTo>
                <a:close/>
                <a:moveTo>
                  <a:pt x="10395" y="6401"/>
                </a:moveTo>
                <a:lnTo>
                  <a:pt x="10395" y="6401"/>
                </a:lnTo>
                <a:cubicBezTo>
                  <a:pt x="10467" y="6662"/>
                  <a:pt x="10525" y="6874"/>
                  <a:pt x="10525" y="6874"/>
                </a:cubicBezTo>
                <a:cubicBezTo>
                  <a:pt x="10525" y="6877"/>
                  <a:pt x="10417" y="6717"/>
                  <a:pt x="10289" y="6523"/>
                </a:cubicBezTo>
                <a:cubicBezTo>
                  <a:pt x="10120" y="6268"/>
                  <a:pt x="10056" y="6165"/>
                  <a:pt x="10059" y="6162"/>
                </a:cubicBezTo>
                <a:cubicBezTo>
                  <a:pt x="10070" y="6143"/>
                  <a:pt x="10262" y="5924"/>
                  <a:pt x="10265" y="5927"/>
                </a:cubicBezTo>
                <a:cubicBezTo>
                  <a:pt x="10265" y="5927"/>
                  <a:pt x="10326" y="6143"/>
                  <a:pt x="10395" y="6401"/>
                </a:cubicBezTo>
                <a:close/>
                <a:moveTo>
                  <a:pt x="13072" y="5946"/>
                </a:moveTo>
                <a:lnTo>
                  <a:pt x="13072" y="5946"/>
                </a:lnTo>
                <a:cubicBezTo>
                  <a:pt x="13124" y="5960"/>
                  <a:pt x="13166" y="5971"/>
                  <a:pt x="13166" y="5974"/>
                </a:cubicBezTo>
                <a:cubicBezTo>
                  <a:pt x="13166" y="5982"/>
                  <a:pt x="13110" y="6046"/>
                  <a:pt x="13066" y="6085"/>
                </a:cubicBezTo>
                <a:cubicBezTo>
                  <a:pt x="13019" y="6132"/>
                  <a:pt x="13019" y="6132"/>
                  <a:pt x="13019" y="6132"/>
                </a:cubicBezTo>
                <a:cubicBezTo>
                  <a:pt x="13002" y="6129"/>
                  <a:pt x="13002" y="6129"/>
                  <a:pt x="13002" y="6129"/>
                </a:cubicBezTo>
                <a:cubicBezTo>
                  <a:pt x="12994" y="6126"/>
                  <a:pt x="12983" y="6124"/>
                  <a:pt x="12977" y="6124"/>
                </a:cubicBezTo>
                <a:cubicBezTo>
                  <a:pt x="12969" y="6121"/>
                  <a:pt x="12969" y="6121"/>
                  <a:pt x="12969" y="6121"/>
                </a:cubicBezTo>
                <a:cubicBezTo>
                  <a:pt x="12969" y="6021"/>
                  <a:pt x="12969" y="6021"/>
                  <a:pt x="12969" y="6021"/>
                </a:cubicBezTo>
                <a:cubicBezTo>
                  <a:pt x="12969" y="5946"/>
                  <a:pt x="12972" y="5924"/>
                  <a:pt x="12974" y="5924"/>
                </a:cubicBezTo>
                <a:cubicBezTo>
                  <a:pt x="12977" y="5924"/>
                  <a:pt x="13022" y="5935"/>
                  <a:pt x="13072" y="5946"/>
                </a:cubicBezTo>
                <a:close/>
                <a:moveTo>
                  <a:pt x="1992" y="6251"/>
                </a:moveTo>
                <a:lnTo>
                  <a:pt x="1992" y="6251"/>
                </a:lnTo>
                <a:cubicBezTo>
                  <a:pt x="2177" y="6379"/>
                  <a:pt x="2327" y="6481"/>
                  <a:pt x="2327" y="6484"/>
                </a:cubicBezTo>
                <a:cubicBezTo>
                  <a:pt x="2324" y="6487"/>
                  <a:pt x="2191" y="6567"/>
                  <a:pt x="2025" y="6664"/>
                </a:cubicBezTo>
                <a:cubicBezTo>
                  <a:pt x="1692" y="6863"/>
                  <a:pt x="1711" y="6852"/>
                  <a:pt x="1709" y="6849"/>
                </a:cubicBezTo>
                <a:cubicBezTo>
                  <a:pt x="1706" y="6849"/>
                  <a:pt x="1526" y="5946"/>
                  <a:pt x="1526" y="5938"/>
                </a:cubicBezTo>
                <a:cubicBezTo>
                  <a:pt x="1526" y="5935"/>
                  <a:pt x="1553" y="5954"/>
                  <a:pt x="1589" y="5979"/>
                </a:cubicBezTo>
                <a:cubicBezTo>
                  <a:pt x="1625" y="6004"/>
                  <a:pt x="1808" y="6126"/>
                  <a:pt x="1992" y="6251"/>
                </a:cubicBezTo>
                <a:close/>
                <a:moveTo>
                  <a:pt x="10570" y="6018"/>
                </a:moveTo>
                <a:lnTo>
                  <a:pt x="10570" y="6018"/>
                </a:lnTo>
                <a:cubicBezTo>
                  <a:pt x="10689" y="6063"/>
                  <a:pt x="10786" y="6101"/>
                  <a:pt x="10786" y="6101"/>
                </a:cubicBezTo>
                <a:cubicBezTo>
                  <a:pt x="10789" y="6104"/>
                  <a:pt x="11202" y="6775"/>
                  <a:pt x="11208" y="6781"/>
                </a:cubicBezTo>
                <a:cubicBezTo>
                  <a:pt x="11208" y="6786"/>
                  <a:pt x="11160" y="6742"/>
                  <a:pt x="11102" y="6684"/>
                </a:cubicBezTo>
                <a:cubicBezTo>
                  <a:pt x="10914" y="6495"/>
                  <a:pt x="10350" y="5938"/>
                  <a:pt x="10350" y="5935"/>
                </a:cubicBezTo>
                <a:cubicBezTo>
                  <a:pt x="10350" y="5935"/>
                  <a:pt x="10342" y="5929"/>
                  <a:pt x="10570" y="6018"/>
                </a:cubicBezTo>
                <a:close/>
                <a:moveTo>
                  <a:pt x="12852" y="5952"/>
                </a:moveTo>
                <a:lnTo>
                  <a:pt x="12852" y="5952"/>
                </a:lnTo>
                <a:cubicBezTo>
                  <a:pt x="12844" y="5960"/>
                  <a:pt x="12839" y="5960"/>
                  <a:pt x="12833" y="5957"/>
                </a:cubicBezTo>
                <a:cubicBezTo>
                  <a:pt x="12819" y="5954"/>
                  <a:pt x="12822" y="5952"/>
                  <a:pt x="12839" y="5946"/>
                </a:cubicBezTo>
                <a:cubicBezTo>
                  <a:pt x="12858" y="5941"/>
                  <a:pt x="12861" y="5941"/>
                  <a:pt x="12852" y="5952"/>
                </a:cubicBezTo>
                <a:close/>
                <a:moveTo>
                  <a:pt x="11452" y="6185"/>
                </a:moveTo>
                <a:lnTo>
                  <a:pt x="11452" y="6185"/>
                </a:lnTo>
                <a:cubicBezTo>
                  <a:pt x="11549" y="6312"/>
                  <a:pt x="11632" y="6420"/>
                  <a:pt x="11632" y="6423"/>
                </a:cubicBezTo>
                <a:cubicBezTo>
                  <a:pt x="11635" y="6426"/>
                  <a:pt x="11599" y="6393"/>
                  <a:pt x="11557" y="6348"/>
                </a:cubicBezTo>
                <a:cubicBezTo>
                  <a:pt x="11477" y="6271"/>
                  <a:pt x="11477" y="6271"/>
                  <a:pt x="11477" y="6271"/>
                </a:cubicBezTo>
                <a:cubicBezTo>
                  <a:pt x="11410" y="6171"/>
                  <a:pt x="11410" y="6171"/>
                  <a:pt x="11410" y="6171"/>
                </a:cubicBezTo>
                <a:cubicBezTo>
                  <a:pt x="11324" y="6040"/>
                  <a:pt x="11266" y="5949"/>
                  <a:pt x="11271" y="5949"/>
                </a:cubicBezTo>
                <a:cubicBezTo>
                  <a:pt x="11271" y="5949"/>
                  <a:pt x="11352" y="6054"/>
                  <a:pt x="11452" y="6185"/>
                </a:cubicBezTo>
                <a:close/>
                <a:moveTo>
                  <a:pt x="12911" y="6065"/>
                </a:moveTo>
                <a:lnTo>
                  <a:pt x="12911" y="6065"/>
                </a:lnTo>
                <a:cubicBezTo>
                  <a:pt x="12911" y="6085"/>
                  <a:pt x="12911" y="6104"/>
                  <a:pt x="12908" y="6104"/>
                </a:cubicBezTo>
                <a:cubicBezTo>
                  <a:pt x="12908" y="6107"/>
                  <a:pt x="12791" y="6082"/>
                  <a:pt x="12789" y="6079"/>
                </a:cubicBezTo>
                <a:cubicBezTo>
                  <a:pt x="12786" y="6076"/>
                  <a:pt x="12839" y="6013"/>
                  <a:pt x="12880" y="5974"/>
                </a:cubicBezTo>
                <a:cubicBezTo>
                  <a:pt x="12905" y="5949"/>
                  <a:pt x="12905" y="5949"/>
                  <a:pt x="12905" y="5949"/>
                </a:cubicBezTo>
                <a:cubicBezTo>
                  <a:pt x="12908" y="5988"/>
                  <a:pt x="12908" y="5988"/>
                  <a:pt x="12908" y="5988"/>
                </a:cubicBezTo>
                <a:cubicBezTo>
                  <a:pt x="12908" y="6007"/>
                  <a:pt x="12911" y="6043"/>
                  <a:pt x="12911" y="6065"/>
                </a:cubicBezTo>
                <a:close/>
                <a:moveTo>
                  <a:pt x="10858" y="6115"/>
                </a:moveTo>
                <a:lnTo>
                  <a:pt x="10858" y="6115"/>
                </a:lnTo>
                <a:cubicBezTo>
                  <a:pt x="10988" y="6321"/>
                  <a:pt x="10988" y="6323"/>
                  <a:pt x="10886" y="6179"/>
                </a:cubicBezTo>
                <a:cubicBezTo>
                  <a:pt x="10814" y="6079"/>
                  <a:pt x="10814" y="6079"/>
                  <a:pt x="10814" y="6079"/>
                </a:cubicBezTo>
                <a:cubicBezTo>
                  <a:pt x="10786" y="6024"/>
                  <a:pt x="10786" y="6024"/>
                  <a:pt x="10786" y="6024"/>
                </a:cubicBezTo>
                <a:cubicBezTo>
                  <a:pt x="10742" y="5935"/>
                  <a:pt x="10739" y="5932"/>
                  <a:pt x="10858" y="6115"/>
                </a:cubicBezTo>
                <a:close/>
                <a:moveTo>
                  <a:pt x="11141" y="6390"/>
                </a:moveTo>
                <a:lnTo>
                  <a:pt x="11141" y="6390"/>
                </a:lnTo>
                <a:cubicBezTo>
                  <a:pt x="11321" y="6620"/>
                  <a:pt x="11468" y="6809"/>
                  <a:pt x="11468" y="6809"/>
                </a:cubicBezTo>
                <a:cubicBezTo>
                  <a:pt x="11468" y="6811"/>
                  <a:pt x="11377" y="6860"/>
                  <a:pt x="11374" y="6858"/>
                </a:cubicBezTo>
                <a:cubicBezTo>
                  <a:pt x="11371" y="6852"/>
                  <a:pt x="10805" y="5971"/>
                  <a:pt x="10805" y="5968"/>
                </a:cubicBezTo>
                <a:cubicBezTo>
                  <a:pt x="10805" y="5966"/>
                  <a:pt x="10797" y="5954"/>
                  <a:pt x="11141" y="6390"/>
                </a:cubicBezTo>
                <a:close/>
                <a:moveTo>
                  <a:pt x="12805" y="5990"/>
                </a:moveTo>
                <a:lnTo>
                  <a:pt x="12805" y="5990"/>
                </a:lnTo>
                <a:cubicBezTo>
                  <a:pt x="12811" y="5990"/>
                  <a:pt x="12805" y="5999"/>
                  <a:pt x="12791" y="6013"/>
                </a:cubicBezTo>
                <a:cubicBezTo>
                  <a:pt x="12783" y="6024"/>
                  <a:pt x="12772" y="6035"/>
                  <a:pt x="12769" y="6035"/>
                </a:cubicBezTo>
                <a:cubicBezTo>
                  <a:pt x="12766" y="6035"/>
                  <a:pt x="12766" y="5988"/>
                  <a:pt x="12769" y="5985"/>
                </a:cubicBezTo>
                <a:cubicBezTo>
                  <a:pt x="12772" y="5982"/>
                  <a:pt x="12797" y="5985"/>
                  <a:pt x="12805" y="5990"/>
                </a:cubicBezTo>
                <a:close/>
                <a:moveTo>
                  <a:pt x="646" y="6038"/>
                </a:moveTo>
                <a:lnTo>
                  <a:pt x="646" y="6038"/>
                </a:lnTo>
                <a:cubicBezTo>
                  <a:pt x="643" y="6063"/>
                  <a:pt x="641" y="6088"/>
                  <a:pt x="638" y="6093"/>
                </a:cubicBezTo>
                <a:cubicBezTo>
                  <a:pt x="635" y="6104"/>
                  <a:pt x="635" y="6104"/>
                  <a:pt x="635" y="6104"/>
                </a:cubicBezTo>
                <a:cubicBezTo>
                  <a:pt x="632" y="6088"/>
                  <a:pt x="632" y="6088"/>
                  <a:pt x="632" y="6088"/>
                </a:cubicBezTo>
                <a:cubicBezTo>
                  <a:pt x="627" y="6071"/>
                  <a:pt x="627" y="6071"/>
                  <a:pt x="627" y="6071"/>
                </a:cubicBezTo>
                <a:cubicBezTo>
                  <a:pt x="638" y="6029"/>
                  <a:pt x="638" y="6029"/>
                  <a:pt x="638" y="6029"/>
                </a:cubicBezTo>
                <a:cubicBezTo>
                  <a:pt x="643" y="6004"/>
                  <a:pt x="649" y="5988"/>
                  <a:pt x="652" y="5988"/>
                </a:cubicBezTo>
                <a:cubicBezTo>
                  <a:pt x="652" y="5988"/>
                  <a:pt x="649" y="6010"/>
                  <a:pt x="646" y="6038"/>
                </a:cubicBezTo>
                <a:close/>
                <a:moveTo>
                  <a:pt x="11155" y="6786"/>
                </a:moveTo>
                <a:lnTo>
                  <a:pt x="11155" y="6786"/>
                </a:lnTo>
                <a:cubicBezTo>
                  <a:pt x="11285" y="6916"/>
                  <a:pt x="11285" y="6916"/>
                  <a:pt x="11285" y="6916"/>
                </a:cubicBezTo>
                <a:cubicBezTo>
                  <a:pt x="11266" y="6935"/>
                  <a:pt x="11266" y="6935"/>
                  <a:pt x="11266" y="6935"/>
                </a:cubicBezTo>
                <a:cubicBezTo>
                  <a:pt x="11185" y="7010"/>
                  <a:pt x="10994" y="7179"/>
                  <a:pt x="10991" y="7179"/>
                </a:cubicBezTo>
                <a:cubicBezTo>
                  <a:pt x="10988" y="7177"/>
                  <a:pt x="10353" y="5999"/>
                  <a:pt x="10353" y="5993"/>
                </a:cubicBezTo>
                <a:cubicBezTo>
                  <a:pt x="10350" y="5990"/>
                  <a:pt x="10894" y="6526"/>
                  <a:pt x="11155" y="6786"/>
                </a:cubicBezTo>
                <a:close/>
                <a:moveTo>
                  <a:pt x="12733" y="6029"/>
                </a:moveTo>
                <a:lnTo>
                  <a:pt x="12733" y="6029"/>
                </a:lnTo>
                <a:cubicBezTo>
                  <a:pt x="12733" y="6052"/>
                  <a:pt x="12733" y="6068"/>
                  <a:pt x="12730" y="6068"/>
                </a:cubicBezTo>
                <a:cubicBezTo>
                  <a:pt x="12728" y="6071"/>
                  <a:pt x="12619" y="6063"/>
                  <a:pt x="12617" y="6060"/>
                </a:cubicBezTo>
                <a:cubicBezTo>
                  <a:pt x="12614" y="6057"/>
                  <a:pt x="12725" y="5993"/>
                  <a:pt x="12730" y="5993"/>
                </a:cubicBezTo>
                <a:cubicBezTo>
                  <a:pt x="12733" y="5993"/>
                  <a:pt x="12733" y="6004"/>
                  <a:pt x="12733" y="6029"/>
                </a:cubicBezTo>
                <a:close/>
                <a:moveTo>
                  <a:pt x="433" y="6018"/>
                </a:moveTo>
                <a:lnTo>
                  <a:pt x="433" y="6018"/>
                </a:lnTo>
                <a:cubicBezTo>
                  <a:pt x="433" y="6024"/>
                  <a:pt x="430" y="6029"/>
                  <a:pt x="419" y="6035"/>
                </a:cubicBezTo>
                <a:cubicBezTo>
                  <a:pt x="397" y="6052"/>
                  <a:pt x="394" y="6046"/>
                  <a:pt x="413" y="6027"/>
                </a:cubicBezTo>
                <a:cubicBezTo>
                  <a:pt x="424" y="6015"/>
                  <a:pt x="433" y="6010"/>
                  <a:pt x="433" y="6010"/>
                </a:cubicBezTo>
                <a:cubicBezTo>
                  <a:pt x="433" y="6010"/>
                  <a:pt x="433" y="6013"/>
                  <a:pt x="433" y="6018"/>
                </a:cubicBezTo>
                <a:close/>
                <a:moveTo>
                  <a:pt x="11288" y="6049"/>
                </a:moveTo>
                <a:lnTo>
                  <a:pt x="11288" y="6049"/>
                </a:lnTo>
                <a:cubicBezTo>
                  <a:pt x="11338" y="6126"/>
                  <a:pt x="11687" y="6695"/>
                  <a:pt x="11687" y="6698"/>
                </a:cubicBezTo>
                <a:cubicBezTo>
                  <a:pt x="11687" y="6703"/>
                  <a:pt x="11518" y="6789"/>
                  <a:pt x="11510" y="6789"/>
                </a:cubicBezTo>
                <a:cubicBezTo>
                  <a:pt x="11507" y="6789"/>
                  <a:pt x="11269" y="6049"/>
                  <a:pt x="11257" y="6015"/>
                </a:cubicBezTo>
                <a:cubicBezTo>
                  <a:pt x="11255" y="6002"/>
                  <a:pt x="11260" y="6010"/>
                  <a:pt x="11288" y="6049"/>
                </a:cubicBezTo>
                <a:close/>
                <a:moveTo>
                  <a:pt x="10639" y="6606"/>
                </a:moveTo>
                <a:lnTo>
                  <a:pt x="10639" y="6606"/>
                </a:lnTo>
                <a:cubicBezTo>
                  <a:pt x="10805" y="6910"/>
                  <a:pt x="10938" y="7163"/>
                  <a:pt x="10938" y="7163"/>
                </a:cubicBezTo>
                <a:cubicBezTo>
                  <a:pt x="10936" y="7165"/>
                  <a:pt x="10603" y="6982"/>
                  <a:pt x="10595" y="6977"/>
                </a:cubicBezTo>
                <a:cubicBezTo>
                  <a:pt x="10592" y="6974"/>
                  <a:pt x="10542" y="6798"/>
                  <a:pt x="10464" y="6512"/>
                </a:cubicBezTo>
                <a:cubicBezTo>
                  <a:pt x="10392" y="6260"/>
                  <a:pt x="10337" y="6049"/>
                  <a:pt x="10334" y="6046"/>
                </a:cubicBezTo>
                <a:cubicBezTo>
                  <a:pt x="10334" y="6043"/>
                  <a:pt x="10334" y="6040"/>
                  <a:pt x="10337" y="6043"/>
                </a:cubicBezTo>
                <a:cubicBezTo>
                  <a:pt x="10339" y="6046"/>
                  <a:pt x="10475" y="6298"/>
                  <a:pt x="10639" y="6606"/>
                </a:cubicBezTo>
                <a:close/>
                <a:moveTo>
                  <a:pt x="427" y="6096"/>
                </a:moveTo>
                <a:lnTo>
                  <a:pt x="427" y="6096"/>
                </a:lnTo>
                <a:cubicBezTo>
                  <a:pt x="427" y="6101"/>
                  <a:pt x="388" y="6112"/>
                  <a:pt x="383" y="6112"/>
                </a:cubicBezTo>
                <a:cubicBezTo>
                  <a:pt x="380" y="6110"/>
                  <a:pt x="383" y="6107"/>
                  <a:pt x="391" y="6101"/>
                </a:cubicBezTo>
                <a:cubicBezTo>
                  <a:pt x="402" y="6093"/>
                  <a:pt x="427" y="6090"/>
                  <a:pt x="427" y="6096"/>
                </a:cubicBezTo>
                <a:close/>
                <a:moveTo>
                  <a:pt x="12653" y="6112"/>
                </a:moveTo>
                <a:lnTo>
                  <a:pt x="12653" y="6112"/>
                </a:lnTo>
                <a:cubicBezTo>
                  <a:pt x="12733" y="6132"/>
                  <a:pt x="12761" y="6140"/>
                  <a:pt x="12725" y="6138"/>
                </a:cubicBezTo>
                <a:cubicBezTo>
                  <a:pt x="12716" y="6135"/>
                  <a:pt x="12675" y="6132"/>
                  <a:pt x="12630" y="6129"/>
                </a:cubicBezTo>
                <a:cubicBezTo>
                  <a:pt x="12586" y="6126"/>
                  <a:pt x="12547" y="6121"/>
                  <a:pt x="12544" y="6121"/>
                </a:cubicBezTo>
                <a:cubicBezTo>
                  <a:pt x="12542" y="6121"/>
                  <a:pt x="12544" y="6115"/>
                  <a:pt x="12550" y="6107"/>
                </a:cubicBezTo>
                <a:cubicBezTo>
                  <a:pt x="12556" y="6099"/>
                  <a:pt x="12561" y="6093"/>
                  <a:pt x="12564" y="6093"/>
                </a:cubicBezTo>
                <a:cubicBezTo>
                  <a:pt x="12564" y="6093"/>
                  <a:pt x="12603" y="6101"/>
                  <a:pt x="12653" y="6112"/>
                </a:cubicBezTo>
                <a:close/>
                <a:moveTo>
                  <a:pt x="816" y="6626"/>
                </a:moveTo>
                <a:lnTo>
                  <a:pt x="816" y="6626"/>
                </a:lnTo>
                <a:cubicBezTo>
                  <a:pt x="879" y="6896"/>
                  <a:pt x="932" y="7121"/>
                  <a:pt x="932" y="7127"/>
                </a:cubicBezTo>
                <a:cubicBezTo>
                  <a:pt x="932" y="7129"/>
                  <a:pt x="932" y="7132"/>
                  <a:pt x="929" y="7132"/>
                </a:cubicBezTo>
                <a:cubicBezTo>
                  <a:pt x="926" y="7132"/>
                  <a:pt x="682" y="6268"/>
                  <a:pt x="682" y="6254"/>
                </a:cubicBezTo>
                <a:cubicBezTo>
                  <a:pt x="682" y="6246"/>
                  <a:pt x="685" y="6212"/>
                  <a:pt x="688" y="6179"/>
                </a:cubicBezTo>
                <a:cubicBezTo>
                  <a:pt x="693" y="6146"/>
                  <a:pt x="696" y="6115"/>
                  <a:pt x="696" y="6115"/>
                </a:cubicBezTo>
                <a:cubicBezTo>
                  <a:pt x="696" y="6104"/>
                  <a:pt x="713" y="6165"/>
                  <a:pt x="816" y="6626"/>
                </a:cubicBezTo>
                <a:close/>
                <a:moveTo>
                  <a:pt x="422" y="6154"/>
                </a:moveTo>
                <a:lnTo>
                  <a:pt x="422" y="6154"/>
                </a:lnTo>
                <a:cubicBezTo>
                  <a:pt x="422" y="6162"/>
                  <a:pt x="422" y="6174"/>
                  <a:pt x="422" y="6176"/>
                </a:cubicBezTo>
                <a:cubicBezTo>
                  <a:pt x="419" y="6185"/>
                  <a:pt x="419" y="6185"/>
                  <a:pt x="419" y="6185"/>
                </a:cubicBezTo>
                <a:cubicBezTo>
                  <a:pt x="388" y="6174"/>
                  <a:pt x="388" y="6174"/>
                  <a:pt x="388" y="6174"/>
                </a:cubicBezTo>
                <a:cubicBezTo>
                  <a:pt x="372" y="6168"/>
                  <a:pt x="355" y="6162"/>
                  <a:pt x="352" y="6162"/>
                </a:cubicBezTo>
                <a:cubicBezTo>
                  <a:pt x="350" y="6160"/>
                  <a:pt x="402" y="6140"/>
                  <a:pt x="422" y="6138"/>
                </a:cubicBezTo>
                <a:cubicBezTo>
                  <a:pt x="422" y="6138"/>
                  <a:pt x="422" y="6146"/>
                  <a:pt x="422" y="6154"/>
                </a:cubicBezTo>
                <a:close/>
                <a:moveTo>
                  <a:pt x="12805" y="6179"/>
                </a:moveTo>
                <a:lnTo>
                  <a:pt x="12805" y="6179"/>
                </a:lnTo>
                <a:cubicBezTo>
                  <a:pt x="12897" y="6185"/>
                  <a:pt x="12974" y="6193"/>
                  <a:pt x="12974" y="6193"/>
                </a:cubicBezTo>
                <a:cubicBezTo>
                  <a:pt x="12977" y="6196"/>
                  <a:pt x="12944" y="6293"/>
                  <a:pt x="12938" y="6296"/>
                </a:cubicBezTo>
                <a:cubicBezTo>
                  <a:pt x="12938" y="6296"/>
                  <a:pt x="12630" y="6168"/>
                  <a:pt x="12628" y="6165"/>
                </a:cubicBezTo>
                <a:cubicBezTo>
                  <a:pt x="12625" y="6162"/>
                  <a:pt x="12619" y="6162"/>
                  <a:pt x="12805" y="6179"/>
                </a:cubicBezTo>
                <a:close/>
                <a:moveTo>
                  <a:pt x="12705" y="6237"/>
                </a:moveTo>
                <a:lnTo>
                  <a:pt x="12705" y="6237"/>
                </a:lnTo>
                <a:cubicBezTo>
                  <a:pt x="12794" y="6276"/>
                  <a:pt x="12869" y="6307"/>
                  <a:pt x="12869" y="6307"/>
                </a:cubicBezTo>
                <a:cubicBezTo>
                  <a:pt x="12872" y="6307"/>
                  <a:pt x="12872" y="6309"/>
                  <a:pt x="12869" y="6309"/>
                </a:cubicBezTo>
                <a:cubicBezTo>
                  <a:pt x="12869" y="6312"/>
                  <a:pt x="12567" y="6340"/>
                  <a:pt x="12564" y="6337"/>
                </a:cubicBezTo>
                <a:cubicBezTo>
                  <a:pt x="12564" y="6337"/>
                  <a:pt x="12558" y="6301"/>
                  <a:pt x="12547" y="6257"/>
                </a:cubicBezTo>
                <a:cubicBezTo>
                  <a:pt x="12539" y="6212"/>
                  <a:pt x="12531" y="6174"/>
                  <a:pt x="12531" y="6171"/>
                </a:cubicBezTo>
                <a:cubicBezTo>
                  <a:pt x="12531" y="6168"/>
                  <a:pt x="12531" y="6168"/>
                  <a:pt x="12536" y="6168"/>
                </a:cubicBezTo>
                <a:cubicBezTo>
                  <a:pt x="12539" y="6168"/>
                  <a:pt x="12617" y="6201"/>
                  <a:pt x="12705" y="6237"/>
                </a:cubicBezTo>
                <a:close/>
                <a:moveTo>
                  <a:pt x="12095" y="6251"/>
                </a:moveTo>
                <a:lnTo>
                  <a:pt x="12095" y="6251"/>
                </a:lnTo>
                <a:cubicBezTo>
                  <a:pt x="12370" y="6301"/>
                  <a:pt x="12467" y="6318"/>
                  <a:pt x="12461" y="6321"/>
                </a:cubicBezTo>
                <a:cubicBezTo>
                  <a:pt x="12461" y="6323"/>
                  <a:pt x="12409" y="6348"/>
                  <a:pt x="12348" y="6379"/>
                </a:cubicBezTo>
                <a:cubicBezTo>
                  <a:pt x="12289" y="6407"/>
                  <a:pt x="12176" y="6465"/>
                  <a:pt x="12095" y="6504"/>
                </a:cubicBezTo>
                <a:cubicBezTo>
                  <a:pt x="12018" y="6542"/>
                  <a:pt x="11951" y="6576"/>
                  <a:pt x="11951" y="6576"/>
                </a:cubicBezTo>
                <a:cubicBezTo>
                  <a:pt x="11948" y="6576"/>
                  <a:pt x="11940" y="6565"/>
                  <a:pt x="11934" y="6554"/>
                </a:cubicBezTo>
                <a:cubicBezTo>
                  <a:pt x="11926" y="6542"/>
                  <a:pt x="11876" y="6456"/>
                  <a:pt x="11821" y="6362"/>
                </a:cubicBezTo>
                <a:cubicBezTo>
                  <a:pt x="11765" y="6268"/>
                  <a:pt x="11718" y="6190"/>
                  <a:pt x="11718" y="6187"/>
                </a:cubicBezTo>
                <a:cubicBezTo>
                  <a:pt x="11715" y="6182"/>
                  <a:pt x="11718" y="6182"/>
                  <a:pt x="11721" y="6182"/>
                </a:cubicBezTo>
                <a:cubicBezTo>
                  <a:pt x="11723" y="6185"/>
                  <a:pt x="11893" y="6215"/>
                  <a:pt x="12095" y="6251"/>
                </a:cubicBezTo>
                <a:close/>
                <a:moveTo>
                  <a:pt x="333" y="6193"/>
                </a:moveTo>
                <a:lnTo>
                  <a:pt x="333" y="6193"/>
                </a:lnTo>
                <a:cubicBezTo>
                  <a:pt x="350" y="6201"/>
                  <a:pt x="350" y="6201"/>
                  <a:pt x="350" y="6201"/>
                </a:cubicBezTo>
                <a:cubicBezTo>
                  <a:pt x="325" y="6201"/>
                  <a:pt x="325" y="6201"/>
                  <a:pt x="325" y="6201"/>
                </a:cubicBezTo>
                <a:cubicBezTo>
                  <a:pt x="300" y="6201"/>
                  <a:pt x="300" y="6201"/>
                  <a:pt x="300" y="6201"/>
                </a:cubicBezTo>
                <a:cubicBezTo>
                  <a:pt x="300" y="6193"/>
                  <a:pt x="300" y="6193"/>
                  <a:pt x="300" y="6193"/>
                </a:cubicBezTo>
                <a:cubicBezTo>
                  <a:pt x="300" y="6185"/>
                  <a:pt x="308" y="6185"/>
                  <a:pt x="333" y="6193"/>
                </a:cubicBezTo>
                <a:close/>
                <a:moveTo>
                  <a:pt x="854" y="7005"/>
                </a:moveTo>
                <a:lnTo>
                  <a:pt x="854" y="7005"/>
                </a:lnTo>
                <a:cubicBezTo>
                  <a:pt x="982" y="7451"/>
                  <a:pt x="1085" y="7817"/>
                  <a:pt x="1085" y="7817"/>
                </a:cubicBezTo>
                <a:cubicBezTo>
                  <a:pt x="1082" y="7820"/>
                  <a:pt x="624" y="7260"/>
                  <a:pt x="613" y="7240"/>
                </a:cubicBezTo>
                <a:cubicBezTo>
                  <a:pt x="605" y="7229"/>
                  <a:pt x="605" y="7229"/>
                  <a:pt x="605" y="7229"/>
                </a:cubicBezTo>
                <a:cubicBezTo>
                  <a:pt x="613" y="6781"/>
                  <a:pt x="613" y="6781"/>
                  <a:pt x="613" y="6781"/>
                </a:cubicBezTo>
                <a:cubicBezTo>
                  <a:pt x="616" y="6531"/>
                  <a:pt x="619" y="6296"/>
                  <a:pt x="619" y="6260"/>
                </a:cubicBezTo>
                <a:cubicBezTo>
                  <a:pt x="619" y="6218"/>
                  <a:pt x="621" y="6190"/>
                  <a:pt x="621" y="6193"/>
                </a:cubicBezTo>
                <a:cubicBezTo>
                  <a:pt x="624" y="6193"/>
                  <a:pt x="730" y="6562"/>
                  <a:pt x="854" y="7005"/>
                </a:cubicBezTo>
                <a:close/>
                <a:moveTo>
                  <a:pt x="10287" y="6584"/>
                </a:moveTo>
                <a:lnTo>
                  <a:pt x="10287" y="6584"/>
                </a:lnTo>
                <a:cubicBezTo>
                  <a:pt x="10428" y="6798"/>
                  <a:pt x="10545" y="6974"/>
                  <a:pt x="10545" y="6974"/>
                </a:cubicBezTo>
                <a:cubicBezTo>
                  <a:pt x="10545" y="6977"/>
                  <a:pt x="10509" y="6988"/>
                  <a:pt x="10464" y="6999"/>
                </a:cubicBezTo>
                <a:cubicBezTo>
                  <a:pt x="9632" y="7215"/>
                  <a:pt x="8479" y="7512"/>
                  <a:pt x="8474" y="7515"/>
                </a:cubicBezTo>
                <a:cubicBezTo>
                  <a:pt x="8468" y="7515"/>
                  <a:pt x="8465" y="7515"/>
                  <a:pt x="8468" y="7512"/>
                </a:cubicBezTo>
                <a:cubicBezTo>
                  <a:pt x="8471" y="7507"/>
                  <a:pt x="10023" y="6193"/>
                  <a:pt x="10029" y="6196"/>
                </a:cubicBezTo>
                <a:cubicBezTo>
                  <a:pt x="10029" y="6196"/>
                  <a:pt x="10148" y="6371"/>
                  <a:pt x="10287" y="6584"/>
                </a:cubicBezTo>
                <a:close/>
                <a:moveTo>
                  <a:pt x="13052" y="6276"/>
                </a:moveTo>
                <a:lnTo>
                  <a:pt x="13052" y="6276"/>
                </a:lnTo>
                <a:cubicBezTo>
                  <a:pt x="13072" y="6307"/>
                  <a:pt x="13088" y="6332"/>
                  <a:pt x="13088" y="6332"/>
                </a:cubicBezTo>
                <a:cubicBezTo>
                  <a:pt x="13085" y="6334"/>
                  <a:pt x="12977" y="6309"/>
                  <a:pt x="12974" y="6307"/>
                </a:cubicBezTo>
                <a:cubicBezTo>
                  <a:pt x="12974" y="6307"/>
                  <a:pt x="12994" y="6248"/>
                  <a:pt x="13002" y="6226"/>
                </a:cubicBezTo>
                <a:cubicBezTo>
                  <a:pt x="13005" y="6223"/>
                  <a:pt x="13008" y="6221"/>
                  <a:pt x="13010" y="6221"/>
                </a:cubicBezTo>
                <a:cubicBezTo>
                  <a:pt x="13013" y="6223"/>
                  <a:pt x="13030" y="6248"/>
                  <a:pt x="13052" y="6276"/>
                </a:cubicBezTo>
                <a:close/>
                <a:moveTo>
                  <a:pt x="266" y="6246"/>
                </a:moveTo>
                <a:lnTo>
                  <a:pt x="266" y="6246"/>
                </a:lnTo>
                <a:cubicBezTo>
                  <a:pt x="269" y="6254"/>
                  <a:pt x="258" y="6260"/>
                  <a:pt x="252" y="6254"/>
                </a:cubicBezTo>
                <a:cubicBezTo>
                  <a:pt x="247" y="6248"/>
                  <a:pt x="252" y="6237"/>
                  <a:pt x="261" y="6237"/>
                </a:cubicBezTo>
                <a:cubicBezTo>
                  <a:pt x="264" y="6240"/>
                  <a:pt x="266" y="6243"/>
                  <a:pt x="266" y="6246"/>
                </a:cubicBezTo>
                <a:close/>
                <a:moveTo>
                  <a:pt x="411" y="6246"/>
                </a:moveTo>
                <a:lnTo>
                  <a:pt x="411" y="6246"/>
                </a:lnTo>
                <a:cubicBezTo>
                  <a:pt x="411" y="6251"/>
                  <a:pt x="408" y="6248"/>
                  <a:pt x="399" y="6243"/>
                </a:cubicBezTo>
                <a:cubicBezTo>
                  <a:pt x="391" y="6237"/>
                  <a:pt x="391" y="6237"/>
                  <a:pt x="391" y="6237"/>
                </a:cubicBezTo>
                <a:cubicBezTo>
                  <a:pt x="402" y="6240"/>
                  <a:pt x="402" y="6240"/>
                  <a:pt x="402" y="6240"/>
                </a:cubicBezTo>
                <a:cubicBezTo>
                  <a:pt x="408" y="6240"/>
                  <a:pt x="411" y="6243"/>
                  <a:pt x="411" y="6246"/>
                </a:cubicBezTo>
                <a:close/>
                <a:moveTo>
                  <a:pt x="250" y="6298"/>
                </a:moveTo>
                <a:lnTo>
                  <a:pt x="250" y="6298"/>
                </a:lnTo>
                <a:cubicBezTo>
                  <a:pt x="266" y="6304"/>
                  <a:pt x="266" y="6304"/>
                  <a:pt x="266" y="6304"/>
                </a:cubicBezTo>
                <a:cubicBezTo>
                  <a:pt x="266" y="6315"/>
                  <a:pt x="266" y="6315"/>
                  <a:pt x="266" y="6315"/>
                </a:cubicBezTo>
                <a:cubicBezTo>
                  <a:pt x="269" y="6326"/>
                  <a:pt x="269" y="6326"/>
                  <a:pt x="269" y="6326"/>
                </a:cubicBezTo>
                <a:cubicBezTo>
                  <a:pt x="255" y="6329"/>
                  <a:pt x="255" y="6329"/>
                  <a:pt x="255" y="6329"/>
                </a:cubicBezTo>
                <a:cubicBezTo>
                  <a:pt x="239" y="6332"/>
                  <a:pt x="211" y="6332"/>
                  <a:pt x="211" y="6326"/>
                </a:cubicBezTo>
                <a:cubicBezTo>
                  <a:pt x="211" y="6321"/>
                  <a:pt x="227" y="6293"/>
                  <a:pt x="230" y="6293"/>
                </a:cubicBezTo>
                <a:cubicBezTo>
                  <a:pt x="230" y="6293"/>
                  <a:pt x="239" y="6296"/>
                  <a:pt x="250" y="6298"/>
                </a:cubicBezTo>
                <a:close/>
                <a:moveTo>
                  <a:pt x="3373" y="6321"/>
                </a:moveTo>
                <a:lnTo>
                  <a:pt x="3373" y="6321"/>
                </a:lnTo>
                <a:cubicBezTo>
                  <a:pt x="3464" y="6348"/>
                  <a:pt x="3464" y="6348"/>
                  <a:pt x="3464" y="6348"/>
                </a:cubicBezTo>
                <a:cubicBezTo>
                  <a:pt x="3464" y="6354"/>
                  <a:pt x="3464" y="6354"/>
                  <a:pt x="3464" y="6354"/>
                </a:cubicBezTo>
                <a:cubicBezTo>
                  <a:pt x="3464" y="6362"/>
                  <a:pt x="3317" y="6991"/>
                  <a:pt x="3312" y="7005"/>
                </a:cubicBezTo>
                <a:cubicBezTo>
                  <a:pt x="3312" y="7007"/>
                  <a:pt x="3309" y="7010"/>
                  <a:pt x="3309" y="7010"/>
                </a:cubicBezTo>
                <a:cubicBezTo>
                  <a:pt x="3309" y="7007"/>
                  <a:pt x="3273" y="6315"/>
                  <a:pt x="3273" y="6296"/>
                </a:cubicBezTo>
                <a:cubicBezTo>
                  <a:pt x="3273" y="6293"/>
                  <a:pt x="3284" y="6296"/>
                  <a:pt x="3373" y="6321"/>
                </a:cubicBezTo>
                <a:close/>
                <a:moveTo>
                  <a:pt x="408" y="6304"/>
                </a:moveTo>
                <a:lnTo>
                  <a:pt x="408" y="6304"/>
                </a:lnTo>
                <a:cubicBezTo>
                  <a:pt x="408" y="6307"/>
                  <a:pt x="405" y="6309"/>
                  <a:pt x="397" y="6307"/>
                </a:cubicBezTo>
                <a:cubicBezTo>
                  <a:pt x="374" y="6301"/>
                  <a:pt x="372" y="6298"/>
                  <a:pt x="391" y="6298"/>
                </a:cubicBezTo>
                <a:cubicBezTo>
                  <a:pt x="405" y="6298"/>
                  <a:pt x="408" y="6298"/>
                  <a:pt x="408" y="6304"/>
                </a:cubicBezTo>
                <a:close/>
                <a:moveTo>
                  <a:pt x="11823" y="6437"/>
                </a:moveTo>
                <a:lnTo>
                  <a:pt x="11823" y="6437"/>
                </a:lnTo>
                <a:cubicBezTo>
                  <a:pt x="11868" y="6512"/>
                  <a:pt x="11904" y="6576"/>
                  <a:pt x="11904" y="6578"/>
                </a:cubicBezTo>
                <a:cubicBezTo>
                  <a:pt x="11904" y="6584"/>
                  <a:pt x="11843" y="6620"/>
                  <a:pt x="11837" y="6617"/>
                </a:cubicBezTo>
                <a:cubicBezTo>
                  <a:pt x="11834" y="6615"/>
                  <a:pt x="11737" y="6304"/>
                  <a:pt x="11737" y="6298"/>
                </a:cubicBezTo>
                <a:cubicBezTo>
                  <a:pt x="11737" y="6293"/>
                  <a:pt x="11737" y="6293"/>
                  <a:pt x="11823" y="6437"/>
                </a:cubicBezTo>
                <a:close/>
                <a:moveTo>
                  <a:pt x="164" y="6351"/>
                </a:moveTo>
                <a:lnTo>
                  <a:pt x="164" y="6351"/>
                </a:lnTo>
                <a:cubicBezTo>
                  <a:pt x="155" y="6371"/>
                  <a:pt x="147" y="6398"/>
                  <a:pt x="141" y="6412"/>
                </a:cubicBezTo>
                <a:cubicBezTo>
                  <a:pt x="136" y="6429"/>
                  <a:pt x="133" y="6443"/>
                  <a:pt x="130" y="6443"/>
                </a:cubicBezTo>
                <a:cubicBezTo>
                  <a:pt x="130" y="6443"/>
                  <a:pt x="128" y="6429"/>
                  <a:pt x="125" y="6418"/>
                </a:cubicBezTo>
                <a:cubicBezTo>
                  <a:pt x="122" y="6404"/>
                  <a:pt x="119" y="6390"/>
                  <a:pt x="117" y="6387"/>
                </a:cubicBezTo>
                <a:cubicBezTo>
                  <a:pt x="117" y="6384"/>
                  <a:pt x="172" y="6315"/>
                  <a:pt x="175" y="6318"/>
                </a:cubicBezTo>
                <a:cubicBezTo>
                  <a:pt x="175" y="6318"/>
                  <a:pt x="169" y="6334"/>
                  <a:pt x="164" y="6351"/>
                </a:cubicBezTo>
                <a:close/>
                <a:moveTo>
                  <a:pt x="319" y="6321"/>
                </a:moveTo>
                <a:lnTo>
                  <a:pt x="319" y="6321"/>
                </a:lnTo>
                <a:cubicBezTo>
                  <a:pt x="322" y="6321"/>
                  <a:pt x="322" y="6321"/>
                  <a:pt x="322" y="6323"/>
                </a:cubicBezTo>
                <a:cubicBezTo>
                  <a:pt x="322" y="6326"/>
                  <a:pt x="319" y="6326"/>
                  <a:pt x="313" y="6326"/>
                </a:cubicBezTo>
                <a:cubicBezTo>
                  <a:pt x="308" y="6326"/>
                  <a:pt x="305" y="6323"/>
                  <a:pt x="305" y="6321"/>
                </a:cubicBezTo>
                <a:cubicBezTo>
                  <a:pt x="305" y="6318"/>
                  <a:pt x="308" y="6315"/>
                  <a:pt x="311" y="6318"/>
                </a:cubicBezTo>
                <a:cubicBezTo>
                  <a:pt x="313" y="6318"/>
                  <a:pt x="319" y="6321"/>
                  <a:pt x="319" y="6321"/>
                </a:cubicBezTo>
                <a:close/>
                <a:moveTo>
                  <a:pt x="12589" y="7121"/>
                </a:moveTo>
                <a:lnTo>
                  <a:pt x="12589" y="7121"/>
                </a:lnTo>
                <a:cubicBezTo>
                  <a:pt x="12630" y="7548"/>
                  <a:pt x="12667" y="7900"/>
                  <a:pt x="12664" y="7900"/>
                </a:cubicBezTo>
                <a:cubicBezTo>
                  <a:pt x="12664" y="7903"/>
                  <a:pt x="12680" y="7959"/>
                  <a:pt x="12453" y="7179"/>
                </a:cubicBezTo>
                <a:cubicBezTo>
                  <a:pt x="12342" y="6786"/>
                  <a:pt x="12251" y="6465"/>
                  <a:pt x="12251" y="6465"/>
                </a:cubicBezTo>
                <a:cubicBezTo>
                  <a:pt x="12253" y="6465"/>
                  <a:pt x="12311" y="6434"/>
                  <a:pt x="12384" y="6401"/>
                </a:cubicBezTo>
                <a:cubicBezTo>
                  <a:pt x="12453" y="6368"/>
                  <a:pt x="12511" y="6340"/>
                  <a:pt x="12511" y="6340"/>
                </a:cubicBezTo>
                <a:cubicBezTo>
                  <a:pt x="12511" y="6340"/>
                  <a:pt x="12547" y="6692"/>
                  <a:pt x="12589" y="7121"/>
                </a:cubicBezTo>
                <a:close/>
                <a:moveTo>
                  <a:pt x="12930" y="6384"/>
                </a:moveTo>
                <a:lnTo>
                  <a:pt x="12930" y="6384"/>
                </a:lnTo>
                <a:cubicBezTo>
                  <a:pt x="12930" y="6407"/>
                  <a:pt x="12927" y="6426"/>
                  <a:pt x="12927" y="6426"/>
                </a:cubicBezTo>
                <a:cubicBezTo>
                  <a:pt x="12924" y="6429"/>
                  <a:pt x="12680" y="6371"/>
                  <a:pt x="12675" y="6368"/>
                </a:cubicBezTo>
                <a:cubicBezTo>
                  <a:pt x="12669" y="6365"/>
                  <a:pt x="12672" y="6365"/>
                  <a:pt x="12678" y="6365"/>
                </a:cubicBezTo>
                <a:cubicBezTo>
                  <a:pt x="12683" y="6362"/>
                  <a:pt x="12736" y="6359"/>
                  <a:pt x="12794" y="6354"/>
                </a:cubicBezTo>
                <a:cubicBezTo>
                  <a:pt x="12852" y="6345"/>
                  <a:pt x="12908" y="6343"/>
                  <a:pt x="12916" y="6343"/>
                </a:cubicBezTo>
                <a:cubicBezTo>
                  <a:pt x="12933" y="6343"/>
                  <a:pt x="12933" y="6343"/>
                  <a:pt x="12933" y="6343"/>
                </a:cubicBezTo>
                <a:cubicBezTo>
                  <a:pt x="12930" y="6384"/>
                  <a:pt x="12930" y="6384"/>
                  <a:pt x="12930" y="6384"/>
                </a:cubicBezTo>
                <a:close/>
                <a:moveTo>
                  <a:pt x="13024" y="6357"/>
                </a:moveTo>
                <a:lnTo>
                  <a:pt x="13024" y="6357"/>
                </a:lnTo>
                <a:cubicBezTo>
                  <a:pt x="13049" y="6362"/>
                  <a:pt x="13072" y="6368"/>
                  <a:pt x="13072" y="6368"/>
                </a:cubicBezTo>
                <a:cubicBezTo>
                  <a:pt x="13074" y="6371"/>
                  <a:pt x="12977" y="6420"/>
                  <a:pt x="12969" y="6420"/>
                </a:cubicBezTo>
                <a:cubicBezTo>
                  <a:pt x="12969" y="6420"/>
                  <a:pt x="12966" y="6404"/>
                  <a:pt x="12966" y="6382"/>
                </a:cubicBezTo>
                <a:cubicBezTo>
                  <a:pt x="12966" y="6345"/>
                  <a:pt x="12966" y="6345"/>
                  <a:pt x="12966" y="6345"/>
                </a:cubicBezTo>
                <a:cubicBezTo>
                  <a:pt x="12972" y="6345"/>
                  <a:pt x="12972" y="6345"/>
                  <a:pt x="12972" y="6345"/>
                </a:cubicBezTo>
                <a:cubicBezTo>
                  <a:pt x="12977" y="6345"/>
                  <a:pt x="12999" y="6351"/>
                  <a:pt x="13024" y="6357"/>
                </a:cubicBezTo>
                <a:close/>
                <a:moveTo>
                  <a:pt x="405" y="6373"/>
                </a:moveTo>
                <a:lnTo>
                  <a:pt x="405" y="6373"/>
                </a:lnTo>
                <a:cubicBezTo>
                  <a:pt x="405" y="6382"/>
                  <a:pt x="405" y="6390"/>
                  <a:pt x="402" y="6390"/>
                </a:cubicBezTo>
                <a:cubicBezTo>
                  <a:pt x="399" y="6393"/>
                  <a:pt x="322" y="6371"/>
                  <a:pt x="311" y="6365"/>
                </a:cubicBezTo>
                <a:cubicBezTo>
                  <a:pt x="305" y="6362"/>
                  <a:pt x="316" y="6362"/>
                  <a:pt x="347" y="6359"/>
                </a:cubicBezTo>
                <a:cubicBezTo>
                  <a:pt x="372" y="6359"/>
                  <a:pt x="394" y="6357"/>
                  <a:pt x="397" y="6357"/>
                </a:cubicBezTo>
                <a:cubicBezTo>
                  <a:pt x="405" y="6357"/>
                  <a:pt x="405" y="6357"/>
                  <a:pt x="405" y="6357"/>
                </a:cubicBezTo>
                <a:cubicBezTo>
                  <a:pt x="405" y="6373"/>
                  <a:pt x="405" y="6373"/>
                  <a:pt x="405" y="6373"/>
                </a:cubicBezTo>
                <a:close/>
                <a:moveTo>
                  <a:pt x="3534" y="6371"/>
                </a:moveTo>
                <a:lnTo>
                  <a:pt x="3534" y="6371"/>
                </a:lnTo>
                <a:cubicBezTo>
                  <a:pt x="3550" y="6376"/>
                  <a:pt x="3561" y="6382"/>
                  <a:pt x="3561" y="6387"/>
                </a:cubicBezTo>
                <a:cubicBezTo>
                  <a:pt x="3559" y="6393"/>
                  <a:pt x="3395" y="6839"/>
                  <a:pt x="3390" y="6847"/>
                </a:cubicBezTo>
                <a:cubicBezTo>
                  <a:pt x="3387" y="6849"/>
                  <a:pt x="3387" y="6852"/>
                  <a:pt x="3387" y="6849"/>
                </a:cubicBezTo>
                <a:cubicBezTo>
                  <a:pt x="3387" y="6849"/>
                  <a:pt x="3481" y="6434"/>
                  <a:pt x="3498" y="6368"/>
                </a:cubicBezTo>
                <a:cubicBezTo>
                  <a:pt x="3500" y="6359"/>
                  <a:pt x="3500" y="6359"/>
                  <a:pt x="3534" y="6371"/>
                </a:cubicBezTo>
                <a:close/>
                <a:moveTo>
                  <a:pt x="236" y="6382"/>
                </a:moveTo>
                <a:lnTo>
                  <a:pt x="236" y="6382"/>
                </a:lnTo>
                <a:cubicBezTo>
                  <a:pt x="252" y="6387"/>
                  <a:pt x="266" y="6393"/>
                  <a:pt x="266" y="6395"/>
                </a:cubicBezTo>
                <a:cubicBezTo>
                  <a:pt x="266" y="6398"/>
                  <a:pt x="191" y="6395"/>
                  <a:pt x="189" y="6393"/>
                </a:cubicBezTo>
                <a:cubicBezTo>
                  <a:pt x="183" y="6390"/>
                  <a:pt x="194" y="6371"/>
                  <a:pt x="200" y="6373"/>
                </a:cubicBezTo>
                <a:cubicBezTo>
                  <a:pt x="200" y="6373"/>
                  <a:pt x="216" y="6379"/>
                  <a:pt x="236" y="6382"/>
                </a:cubicBezTo>
                <a:close/>
                <a:moveTo>
                  <a:pt x="12761" y="6426"/>
                </a:moveTo>
                <a:lnTo>
                  <a:pt x="12761" y="6426"/>
                </a:lnTo>
                <a:cubicBezTo>
                  <a:pt x="12852" y="6445"/>
                  <a:pt x="12930" y="6465"/>
                  <a:pt x="12930" y="6468"/>
                </a:cubicBezTo>
                <a:cubicBezTo>
                  <a:pt x="12933" y="6470"/>
                  <a:pt x="13257" y="7687"/>
                  <a:pt x="13260" y="7709"/>
                </a:cubicBezTo>
                <a:cubicBezTo>
                  <a:pt x="13263" y="7720"/>
                  <a:pt x="13113" y="7426"/>
                  <a:pt x="12694" y="6601"/>
                </a:cubicBezTo>
                <a:cubicBezTo>
                  <a:pt x="12633" y="6481"/>
                  <a:pt x="12586" y="6387"/>
                  <a:pt x="12589" y="6387"/>
                </a:cubicBezTo>
                <a:cubicBezTo>
                  <a:pt x="12592" y="6387"/>
                  <a:pt x="12669" y="6404"/>
                  <a:pt x="12761" y="6426"/>
                </a:cubicBezTo>
                <a:close/>
                <a:moveTo>
                  <a:pt x="13696" y="7659"/>
                </a:moveTo>
                <a:lnTo>
                  <a:pt x="13696" y="7659"/>
                </a:lnTo>
                <a:cubicBezTo>
                  <a:pt x="14347" y="9115"/>
                  <a:pt x="14353" y="9126"/>
                  <a:pt x="14353" y="9126"/>
                </a:cubicBezTo>
                <a:cubicBezTo>
                  <a:pt x="14350" y="9129"/>
                  <a:pt x="14345" y="9115"/>
                  <a:pt x="14336" y="9099"/>
                </a:cubicBezTo>
                <a:cubicBezTo>
                  <a:pt x="14328" y="9082"/>
                  <a:pt x="14042" y="8472"/>
                  <a:pt x="13698" y="7745"/>
                </a:cubicBezTo>
                <a:cubicBezTo>
                  <a:pt x="13357" y="7016"/>
                  <a:pt x="13077" y="6420"/>
                  <a:pt x="13074" y="6418"/>
                </a:cubicBezTo>
                <a:cubicBezTo>
                  <a:pt x="13074" y="6412"/>
                  <a:pt x="13113" y="6390"/>
                  <a:pt x="13121" y="6390"/>
                </a:cubicBezTo>
                <a:cubicBezTo>
                  <a:pt x="13124" y="6390"/>
                  <a:pt x="13371" y="6935"/>
                  <a:pt x="13696" y="7659"/>
                </a:cubicBezTo>
                <a:close/>
                <a:moveTo>
                  <a:pt x="11679" y="6523"/>
                </a:moveTo>
                <a:lnTo>
                  <a:pt x="11679" y="6523"/>
                </a:lnTo>
                <a:cubicBezTo>
                  <a:pt x="11798" y="6642"/>
                  <a:pt x="11798" y="6642"/>
                  <a:pt x="11798" y="6642"/>
                </a:cubicBezTo>
                <a:cubicBezTo>
                  <a:pt x="11782" y="6653"/>
                  <a:pt x="11782" y="6653"/>
                  <a:pt x="11782" y="6653"/>
                </a:cubicBezTo>
                <a:cubicBezTo>
                  <a:pt x="11773" y="6659"/>
                  <a:pt x="11757" y="6667"/>
                  <a:pt x="11746" y="6673"/>
                </a:cubicBezTo>
                <a:cubicBezTo>
                  <a:pt x="11723" y="6687"/>
                  <a:pt x="11723" y="6687"/>
                  <a:pt x="11723" y="6687"/>
                </a:cubicBezTo>
                <a:cubicBezTo>
                  <a:pt x="11643" y="6548"/>
                  <a:pt x="11643" y="6548"/>
                  <a:pt x="11643" y="6548"/>
                </a:cubicBezTo>
                <a:cubicBezTo>
                  <a:pt x="11557" y="6409"/>
                  <a:pt x="11557" y="6404"/>
                  <a:pt x="11557" y="6404"/>
                </a:cubicBezTo>
                <a:cubicBezTo>
                  <a:pt x="11560" y="6404"/>
                  <a:pt x="11613" y="6459"/>
                  <a:pt x="11679" y="6523"/>
                </a:cubicBezTo>
                <a:close/>
                <a:moveTo>
                  <a:pt x="12617" y="6526"/>
                </a:moveTo>
                <a:lnTo>
                  <a:pt x="12617" y="6526"/>
                </a:lnTo>
                <a:cubicBezTo>
                  <a:pt x="12647" y="6587"/>
                  <a:pt x="12816" y="6919"/>
                  <a:pt x="12988" y="7260"/>
                </a:cubicBezTo>
                <a:cubicBezTo>
                  <a:pt x="13160" y="7601"/>
                  <a:pt x="13302" y="7881"/>
                  <a:pt x="13302" y="7881"/>
                </a:cubicBezTo>
                <a:cubicBezTo>
                  <a:pt x="13299" y="7884"/>
                  <a:pt x="12722" y="8083"/>
                  <a:pt x="12722" y="8081"/>
                </a:cubicBezTo>
                <a:cubicBezTo>
                  <a:pt x="12719" y="8081"/>
                  <a:pt x="12556" y="6429"/>
                  <a:pt x="12556" y="6415"/>
                </a:cubicBezTo>
                <a:cubicBezTo>
                  <a:pt x="12556" y="6415"/>
                  <a:pt x="12556" y="6412"/>
                  <a:pt x="12558" y="6412"/>
                </a:cubicBezTo>
                <a:cubicBezTo>
                  <a:pt x="12558" y="6412"/>
                  <a:pt x="12586" y="6462"/>
                  <a:pt x="12617" y="6526"/>
                </a:cubicBezTo>
                <a:close/>
                <a:moveTo>
                  <a:pt x="488" y="6728"/>
                </a:moveTo>
                <a:lnTo>
                  <a:pt x="488" y="6728"/>
                </a:lnTo>
                <a:cubicBezTo>
                  <a:pt x="516" y="6896"/>
                  <a:pt x="538" y="7038"/>
                  <a:pt x="538" y="7041"/>
                </a:cubicBezTo>
                <a:cubicBezTo>
                  <a:pt x="535" y="7041"/>
                  <a:pt x="508" y="6969"/>
                  <a:pt x="477" y="6877"/>
                </a:cubicBezTo>
                <a:cubicBezTo>
                  <a:pt x="416" y="6714"/>
                  <a:pt x="416" y="6714"/>
                  <a:pt x="416" y="6714"/>
                </a:cubicBezTo>
                <a:cubicBezTo>
                  <a:pt x="427" y="6567"/>
                  <a:pt x="427" y="6567"/>
                  <a:pt x="427" y="6567"/>
                </a:cubicBezTo>
                <a:cubicBezTo>
                  <a:pt x="433" y="6487"/>
                  <a:pt x="438" y="6420"/>
                  <a:pt x="438" y="6420"/>
                </a:cubicBezTo>
                <a:cubicBezTo>
                  <a:pt x="438" y="6409"/>
                  <a:pt x="447" y="6465"/>
                  <a:pt x="488" y="6728"/>
                </a:cubicBezTo>
                <a:close/>
                <a:moveTo>
                  <a:pt x="369" y="6434"/>
                </a:moveTo>
                <a:lnTo>
                  <a:pt x="369" y="6434"/>
                </a:lnTo>
                <a:cubicBezTo>
                  <a:pt x="397" y="6434"/>
                  <a:pt x="397" y="6434"/>
                  <a:pt x="397" y="6434"/>
                </a:cubicBezTo>
                <a:cubicBezTo>
                  <a:pt x="397" y="6443"/>
                  <a:pt x="397" y="6443"/>
                  <a:pt x="397" y="6443"/>
                </a:cubicBezTo>
                <a:cubicBezTo>
                  <a:pt x="397" y="6448"/>
                  <a:pt x="397" y="6451"/>
                  <a:pt x="394" y="6454"/>
                </a:cubicBezTo>
                <a:cubicBezTo>
                  <a:pt x="394" y="6456"/>
                  <a:pt x="325" y="6437"/>
                  <a:pt x="322" y="6431"/>
                </a:cubicBezTo>
                <a:cubicBezTo>
                  <a:pt x="319" y="6431"/>
                  <a:pt x="322" y="6429"/>
                  <a:pt x="330" y="6431"/>
                </a:cubicBezTo>
                <a:cubicBezTo>
                  <a:pt x="336" y="6431"/>
                  <a:pt x="355" y="6434"/>
                  <a:pt x="369" y="6434"/>
                </a:cubicBezTo>
                <a:close/>
                <a:moveTo>
                  <a:pt x="13307" y="7054"/>
                </a:moveTo>
                <a:lnTo>
                  <a:pt x="13307" y="7054"/>
                </a:lnTo>
                <a:cubicBezTo>
                  <a:pt x="13452" y="7398"/>
                  <a:pt x="13729" y="8053"/>
                  <a:pt x="13920" y="8508"/>
                </a:cubicBezTo>
                <a:cubicBezTo>
                  <a:pt x="14328" y="9473"/>
                  <a:pt x="14328" y="9473"/>
                  <a:pt x="14325" y="9476"/>
                </a:cubicBezTo>
                <a:cubicBezTo>
                  <a:pt x="14325" y="9476"/>
                  <a:pt x="14317" y="9459"/>
                  <a:pt x="14306" y="9437"/>
                </a:cubicBezTo>
                <a:cubicBezTo>
                  <a:pt x="14297" y="9415"/>
                  <a:pt x="13992" y="8738"/>
                  <a:pt x="13632" y="7934"/>
                </a:cubicBezTo>
                <a:cubicBezTo>
                  <a:pt x="13271" y="7127"/>
                  <a:pt x="12974" y="6468"/>
                  <a:pt x="12972" y="6465"/>
                </a:cubicBezTo>
                <a:cubicBezTo>
                  <a:pt x="12972" y="6459"/>
                  <a:pt x="13027" y="6431"/>
                  <a:pt x="13038" y="6431"/>
                </a:cubicBezTo>
                <a:cubicBezTo>
                  <a:pt x="13041" y="6431"/>
                  <a:pt x="13160" y="6712"/>
                  <a:pt x="13307" y="7054"/>
                </a:cubicBezTo>
                <a:close/>
                <a:moveTo>
                  <a:pt x="216" y="6448"/>
                </a:moveTo>
                <a:lnTo>
                  <a:pt x="216" y="6448"/>
                </a:lnTo>
                <a:cubicBezTo>
                  <a:pt x="247" y="6456"/>
                  <a:pt x="247" y="6456"/>
                  <a:pt x="247" y="6456"/>
                </a:cubicBezTo>
                <a:cubicBezTo>
                  <a:pt x="208" y="6456"/>
                  <a:pt x="208" y="6456"/>
                  <a:pt x="208" y="6456"/>
                </a:cubicBezTo>
                <a:cubicBezTo>
                  <a:pt x="166" y="6456"/>
                  <a:pt x="166" y="6456"/>
                  <a:pt x="166" y="6456"/>
                </a:cubicBezTo>
                <a:cubicBezTo>
                  <a:pt x="166" y="6448"/>
                  <a:pt x="166" y="6448"/>
                  <a:pt x="166" y="6448"/>
                </a:cubicBezTo>
                <a:cubicBezTo>
                  <a:pt x="166" y="6434"/>
                  <a:pt x="172" y="6434"/>
                  <a:pt x="216" y="6448"/>
                </a:cubicBezTo>
                <a:close/>
                <a:moveTo>
                  <a:pt x="3256" y="6731"/>
                </a:moveTo>
                <a:lnTo>
                  <a:pt x="3256" y="6731"/>
                </a:lnTo>
                <a:cubicBezTo>
                  <a:pt x="3267" y="7038"/>
                  <a:pt x="3267" y="7049"/>
                  <a:pt x="3265" y="7046"/>
                </a:cubicBezTo>
                <a:cubicBezTo>
                  <a:pt x="3262" y="7043"/>
                  <a:pt x="3243" y="6988"/>
                  <a:pt x="3220" y="6921"/>
                </a:cubicBezTo>
                <a:cubicBezTo>
                  <a:pt x="3181" y="6803"/>
                  <a:pt x="3181" y="6803"/>
                  <a:pt x="3181" y="6803"/>
                </a:cubicBezTo>
                <a:cubicBezTo>
                  <a:pt x="3184" y="6781"/>
                  <a:pt x="3184" y="6781"/>
                  <a:pt x="3184" y="6781"/>
                </a:cubicBezTo>
                <a:cubicBezTo>
                  <a:pt x="3184" y="6770"/>
                  <a:pt x="3198" y="6692"/>
                  <a:pt x="3215" y="6606"/>
                </a:cubicBezTo>
                <a:cubicBezTo>
                  <a:pt x="3229" y="6523"/>
                  <a:pt x="3240" y="6451"/>
                  <a:pt x="3240" y="6451"/>
                </a:cubicBezTo>
                <a:cubicBezTo>
                  <a:pt x="3240" y="6448"/>
                  <a:pt x="3243" y="6448"/>
                  <a:pt x="3243" y="6448"/>
                </a:cubicBezTo>
                <a:cubicBezTo>
                  <a:pt x="3245" y="6451"/>
                  <a:pt x="3251" y="6576"/>
                  <a:pt x="3256" y="6731"/>
                </a:cubicBezTo>
                <a:close/>
                <a:moveTo>
                  <a:pt x="2882" y="6504"/>
                </a:moveTo>
                <a:lnTo>
                  <a:pt x="2882" y="6504"/>
                </a:lnTo>
                <a:cubicBezTo>
                  <a:pt x="3046" y="6515"/>
                  <a:pt x="3181" y="6526"/>
                  <a:pt x="3181" y="6526"/>
                </a:cubicBezTo>
                <a:cubicBezTo>
                  <a:pt x="3184" y="6529"/>
                  <a:pt x="3176" y="6590"/>
                  <a:pt x="3165" y="6664"/>
                </a:cubicBezTo>
                <a:cubicBezTo>
                  <a:pt x="3143" y="6817"/>
                  <a:pt x="3112" y="7021"/>
                  <a:pt x="3112" y="7027"/>
                </a:cubicBezTo>
                <a:cubicBezTo>
                  <a:pt x="3112" y="7027"/>
                  <a:pt x="3109" y="7030"/>
                  <a:pt x="3109" y="7027"/>
                </a:cubicBezTo>
                <a:cubicBezTo>
                  <a:pt x="3107" y="7027"/>
                  <a:pt x="2663" y="6576"/>
                  <a:pt x="2588" y="6498"/>
                </a:cubicBezTo>
                <a:cubicBezTo>
                  <a:pt x="2580" y="6487"/>
                  <a:pt x="2577" y="6481"/>
                  <a:pt x="2580" y="6481"/>
                </a:cubicBezTo>
                <a:cubicBezTo>
                  <a:pt x="2582" y="6481"/>
                  <a:pt x="2718" y="6490"/>
                  <a:pt x="2882" y="6504"/>
                </a:cubicBezTo>
                <a:close/>
                <a:moveTo>
                  <a:pt x="12425" y="7202"/>
                </a:moveTo>
                <a:lnTo>
                  <a:pt x="12425" y="7202"/>
                </a:lnTo>
                <a:cubicBezTo>
                  <a:pt x="12539" y="7595"/>
                  <a:pt x="12630" y="7917"/>
                  <a:pt x="12630" y="7917"/>
                </a:cubicBezTo>
                <a:cubicBezTo>
                  <a:pt x="12628" y="7917"/>
                  <a:pt x="12528" y="7723"/>
                  <a:pt x="12409" y="7484"/>
                </a:cubicBezTo>
                <a:cubicBezTo>
                  <a:pt x="12287" y="7243"/>
                  <a:pt x="12137" y="6949"/>
                  <a:pt x="12076" y="6828"/>
                </a:cubicBezTo>
                <a:cubicBezTo>
                  <a:pt x="11965" y="6609"/>
                  <a:pt x="11965" y="6609"/>
                  <a:pt x="11965" y="6609"/>
                </a:cubicBezTo>
                <a:cubicBezTo>
                  <a:pt x="12090" y="6545"/>
                  <a:pt x="12090" y="6545"/>
                  <a:pt x="12090" y="6545"/>
                </a:cubicBezTo>
                <a:cubicBezTo>
                  <a:pt x="12159" y="6512"/>
                  <a:pt x="12214" y="6484"/>
                  <a:pt x="12217" y="6484"/>
                </a:cubicBezTo>
                <a:cubicBezTo>
                  <a:pt x="12217" y="6487"/>
                  <a:pt x="12311" y="6809"/>
                  <a:pt x="12425" y="7202"/>
                </a:cubicBezTo>
                <a:close/>
                <a:moveTo>
                  <a:pt x="103" y="6529"/>
                </a:moveTo>
                <a:lnTo>
                  <a:pt x="103" y="6529"/>
                </a:lnTo>
                <a:cubicBezTo>
                  <a:pt x="105" y="6556"/>
                  <a:pt x="108" y="6581"/>
                  <a:pt x="108" y="6592"/>
                </a:cubicBezTo>
                <a:cubicBezTo>
                  <a:pt x="103" y="6642"/>
                  <a:pt x="100" y="6731"/>
                  <a:pt x="105" y="6770"/>
                </a:cubicBezTo>
                <a:cubicBezTo>
                  <a:pt x="105" y="6795"/>
                  <a:pt x="114" y="6831"/>
                  <a:pt x="117" y="6852"/>
                </a:cubicBezTo>
                <a:cubicBezTo>
                  <a:pt x="128" y="6894"/>
                  <a:pt x="128" y="6894"/>
                  <a:pt x="128" y="6894"/>
                </a:cubicBezTo>
                <a:cubicBezTo>
                  <a:pt x="125" y="6913"/>
                  <a:pt x="125" y="6913"/>
                  <a:pt x="125" y="6913"/>
                </a:cubicBezTo>
                <a:cubicBezTo>
                  <a:pt x="119" y="6930"/>
                  <a:pt x="128" y="7124"/>
                  <a:pt x="136" y="7240"/>
                </a:cubicBezTo>
                <a:cubicBezTo>
                  <a:pt x="139" y="7271"/>
                  <a:pt x="139" y="7271"/>
                  <a:pt x="139" y="7271"/>
                </a:cubicBezTo>
                <a:cubicBezTo>
                  <a:pt x="128" y="7251"/>
                  <a:pt x="128" y="7251"/>
                  <a:pt x="128" y="7251"/>
                </a:cubicBezTo>
                <a:cubicBezTo>
                  <a:pt x="122" y="7240"/>
                  <a:pt x="114" y="7226"/>
                  <a:pt x="111" y="7221"/>
                </a:cubicBezTo>
                <a:cubicBezTo>
                  <a:pt x="108" y="7213"/>
                  <a:pt x="94" y="7099"/>
                  <a:pt x="75" y="6880"/>
                </a:cubicBezTo>
                <a:cubicBezTo>
                  <a:pt x="44" y="6554"/>
                  <a:pt x="44" y="6554"/>
                  <a:pt x="44" y="6554"/>
                </a:cubicBezTo>
                <a:cubicBezTo>
                  <a:pt x="69" y="6520"/>
                  <a:pt x="69" y="6520"/>
                  <a:pt x="69" y="6520"/>
                </a:cubicBezTo>
                <a:cubicBezTo>
                  <a:pt x="81" y="6501"/>
                  <a:pt x="92" y="6487"/>
                  <a:pt x="94" y="6487"/>
                </a:cubicBezTo>
                <a:cubicBezTo>
                  <a:pt x="94" y="6487"/>
                  <a:pt x="100" y="6506"/>
                  <a:pt x="103" y="6529"/>
                </a:cubicBezTo>
                <a:close/>
                <a:moveTo>
                  <a:pt x="5026" y="6609"/>
                </a:moveTo>
                <a:lnTo>
                  <a:pt x="5026" y="6609"/>
                </a:lnTo>
                <a:cubicBezTo>
                  <a:pt x="4996" y="6676"/>
                  <a:pt x="4968" y="6731"/>
                  <a:pt x="4965" y="6737"/>
                </a:cubicBezTo>
                <a:cubicBezTo>
                  <a:pt x="4959" y="6742"/>
                  <a:pt x="4959" y="6742"/>
                  <a:pt x="4959" y="6742"/>
                </a:cubicBezTo>
                <a:cubicBezTo>
                  <a:pt x="4962" y="6737"/>
                  <a:pt x="4962" y="6737"/>
                  <a:pt x="4962" y="6737"/>
                </a:cubicBezTo>
                <a:cubicBezTo>
                  <a:pt x="4962" y="6731"/>
                  <a:pt x="4965" y="6720"/>
                  <a:pt x="4968" y="6714"/>
                </a:cubicBezTo>
                <a:cubicBezTo>
                  <a:pt x="4968" y="6700"/>
                  <a:pt x="5079" y="6484"/>
                  <a:pt x="5081" y="6487"/>
                </a:cubicBezTo>
                <a:cubicBezTo>
                  <a:pt x="5081" y="6487"/>
                  <a:pt x="5059" y="6542"/>
                  <a:pt x="5026" y="6609"/>
                </a:cubicBezTo>
                <a:close/>
                <a:moveTo>
                  <a:pt x="222" y="6493"/>
                </a:moveTo>
                <a:lnTo>
                  <a:pt x="222" y="6493"/>
                </a:lnTo>
                <a:cubicBezTo>
                  <a:pt x="272" y="6493"/>
                  <a:pt x="272" y="6493"/>
                  <a:pt x="272" y="6493"/>
                </a:cubicBezTo>
                <a:cubicBezTo>
                  <a:pt x="272" y="6517"/>
                  <a:pt x="272" y="6517"/>
                  <a:pt x="272" y="6517"/>
                </a:cubicBezTo>
                <a:cubicBezTo>
                  <a:pt x="269" y="6542"/>
                  <a:pt x="269" y="6542"/>
                  <a:pt x="269" y="6542"/>
                </a:cubicBezTo>
                <a:cubicBezTo>
                  <a:pt x="208" y="6581"/>
                  <a:pt x="208" y="6581"/>
                  <a:pt x="208" y="6581"/>
                </a:cubicBezTo>
                <a:cubicBezTo>
                  <a:pt x="172" y="6601"/>
                  <a:pt x="144" y="6617"/>
                  <a:pt x="141" y="6617"/>
                </a:cubicBezTo>
                <a:cubicBezTo>
                  <a:pt x="141" y="6615"/>
                  <a:pt x="155" y="6498"/>
                  <a:pt x="158" y="6493"/>
                </a:cubicBezTo>
                <a:cubicBezTo>
                  <a:pt x="161" y="6490"/>
                  <a:pt x="164" y="6490"/>
                  <a:pt x="166" y="6490"/>
                </a:cubicBezTo>
                <a:cubicBezTo>
                  <a:pt x="169" y="6493"/>
                  <a:pt x="194" y="6493"/>
                  <a:pt x="222" y="6493"/>
                </a:cubicBezTo>
                <a:close/>
                <a:moveTo>
                  <a:pt x="341" y="6498"/>
                </a:moveTo>
                <a:lnTo>
                  <a:pt x="341" y="6498"/>
                </a:lnTo>
                <a:cubicBezTo>
                  <a:pt x="341" y="6498"/>
                  <a:pt x="333" y="6504"/>
                  <a:pt x="325" y="6509"/>
                </a:cubicBezTo>
                <a:cubicBezTo>
                  <a:pt x="308" y="6520"/>
                  <a:pt x="308" y="6520"/>
                  <a:pt x="308" y="6520"/>
                </a:cubicBezTo>
                <a:cubicBezTo>
                  <a:pt x="308" y="6509"/>
                  <a:pt x="308" y="6509"/>
                  <a:pt x="308" y="6509"/>
                </a:cubicBezTo>
                <a:cubicBezTo>
                  <a:pt x="305" y="6504"/>
                  <a:pt x="305" y="6498"/>
                  <a:pt x="305" y="6495"/>
                </a:cubicBezTo>
                <a:cubicBezTo>
                  <a:pt x="311" y="6493"/>
                  <a:pt x="341" y="6493"/>
                  <a:pt x="341" y="6498"/>
                </a:cubicBezTo>
                <a:close/>
                <a:moveTo>
                  <a:pt x="2813" y="6778"/>
                </a:moveTo>
                <a:lnTo>
                  <a:pt x="2813" y="6778"/>
                </a:lnTo>
                <a:cubicBezTo>
                  <a:pt x="2965" y="6935"/>
                  <a:pt x="3093" y="7063"/>
                  <a:pt x="3093" y="7066"/>
                </a:cubicBezTo>
                <a:cubicBezTo>
                  <a:pt x="3093" y="7068"/>
                  <a:pt x="2019" y="7784"/>
                  <a:pt x="2019" y="7781"/>
                </a:cubicBezTo>
                <a:cubicBezTo>
                  <a:pt x="2017" y="7781"/>
                  <a:pt x="2530" y="6493"/>
                  <a:pt x="2532" y="6493"/>
                </a:cubicBezTo>
                <a:cubicBezTo>
                  <a:pt x="2532" y="6493"/>
                  <a:pt x="2660" y="6620"/>
                  <a:pt x="2813" y="6778"/>
                </a:cubicBezTo>
                <a:close/>
                <a:moveTo>
                  <a:pt x="2394" y="6506"/>
                </a:moveTo>
                <a:lnTo>
                  <a:pt x="2394" y="6506"/>
                </a:lnTo>
                <a:cubicBezTo>
                  <a:pt x="2394" y="6509"/>
                  <a:pt x="2252" y="6578"/>
                  <a:pt x="2249" y="6576"/>
                </a:cubicBezTo>
                <a:cubicBezTo>
                  <a:pt x="2247" y="6576"/>
                  <a:pt x="2274" y="6559"/>
                  <a:pt x="2308" y="6540"/>
                </a:cubicBezTo>
                <a:cubicBezTo>
                  <a:pt x="2372" y="6501"/>
                  <a:pt x="2372" y="6501"/>
                  <a:pt x="2372" y="6501"/>
                </a:cubicBezTo>
                <a:cubicBezTo>
                  <a:pt x="2383" y="6504"/>
                  <a:pt x="2383" y="6504"/>
                  <a:pt x="2383" y="6504"/>
                </a:cubicBezTo>
                <a:cubicBezTo>
                  <a:pt x="2388" y="6504"/>
                  <a:pt x="2394" y="6506"/>
                  <a:pt x="2394" y="6506"/>
                </a:cubicBezTo>
                <a:close/>
                <a:moveTo>
                  <a:pt x="2488" y="6506"/>
                </a:moveTo>
                <a:lnTo>
                  <a:pt x="2488" y="6506"/>
                </a:lnTo>
                <a:cubicBezTo>
                  <a:pt x="2422" y="6676"/>
                  <a:pt x="1983" y="7770"/>
                  <a:pt x="1980" y="7773"/>
                </a:cubicBezTo>
                <a:cubicBezTo>
                  <a:pt x="1978" y="7773"/>
                  <a:pt x="1919" y="7576"/>
                  <a:pt x="1847" y="7332"/>
                </a:cubicBezTo>
                <a:cubicBezTo>
                  <a:pt x="1775" y="7091"/>
                  <a:pt x="1717" y="6888"/>
                  <a:pt x="1720" y="6888"/>
                </a:cubicBezTo>
                <a:cubicBezTo>
                  <a:pt x="1723" y="6888"/>
                  <a:pt x="1894" y="6800"/>
                  <a:pt x="2103" y="6695"/>
                </a:cubicBezTo>
                <a:cubicBezTo>
                  <a:pt x="2313" y="6587"/>
                  <a:pt x="2485" y="6501"/>
                  <a:pt x="2488" y="6501"/>
                </a:cubicBezTo>
                <a:cubicBezTo>
                  <a:pt x="2491" y="6501"/>
                  <a:pt x="2491" y="6504"/>
                  <a:pt x="2488" y="6506"/>
                </a:cubicBezTo>
                <a:close/>
                <a:moveTo>
                  <a:pt x="14697" y="8294"/>
                </a:moveTo>
                <a:lnTo>
                  <a:pt x="14697" y="8294"/>
                </a:lnTo>
                <a:cubicBezTo>
                  <a:pt x="15485" y="9265"/>
                  <a:pt x="16131" y="10064"/>
                  <a:pt x="16131" y="10067"/>
                </a:cubicBezTo>
                <a:cubicBezTo>
                  <a:pt x="16131" y="10069"/>
                  <a:pt x="16059" y="10150"/>
                  <a:pt x="15970" y="10247"/>
                </a:cubicBezTo>
                <a:cubicBezTo>
                  <a:pt x="15845" y="10388"/>
                  <a:pt x="15682" y="10574"/>
                  <a:pt x="15601" y="10671"/>
                </a:cubicBezTo>
                <a:cubicBezTo>
                  <a:pt x="15596" y="10677"/>
                  <a:pt x="15593" y="10680"/>
                  <a:pt x="15590" y="10680"/>
                </a:cubicBezTo>
                <a:cubicBezTo>
                  <a:pt x="15590" y="10677"/>
                  <a:pt x="13282" y="6573"/>
                  <a:pt x="13257" y="6531"/>
                </a:cubicBezTo>
                <a:cubicBezTo>
                  <a:pt x="13246" y="6509"/>
                  <a:pt x="13246" y="6509"/>
                  <a:pt x="13246" y="6509"/>
                </a:cubicBezTo>
                <a:cubicBezTo>
                  <a:pt x="13255" y="6520"/>
                  <a:pt x="13255" y="6520"/>
                  <a:pt x="13255" y="6520"/>
                </a:cubicBezTo>
                <a:cubicBezTo>
                  <a:pt x="13260" y="6523"/>
                  <a:pt x="13909" y="7324"/>
                  <a:pt x="14697" y="8294"/>
                </a:cubicBezTo>
                <a:close/>
                <a:moveTo>
                  <a:pt x="383" y="6548"/>
                </a:moveTo>
                <a:lnTo>
                  <a:pt x="383" y="6548"/>
                </a:lnTo>
                <a:cubicBezTo>
                  <a:pt x="383" y="6565"/>
                  <a:pt x="380" y="6606"/>
                  <a:pt x="380" y="6637"/>
                </a:cubicBezTo>
                <a:cubicBezTo>
                  <a:pt x="380" y="6667"/>
                  <a:pt x="380" y="6692"/>
                  <a:pt x="377" y="6692"/>
                </a:cubicBezTo>
                <a:cubicBezTo>
                  <a:pt x="374" y="6692"/>
                  <a:pt x="322" y="6681"/>
                  <a:pt x="316" y="6678"/>
                </a:cubicBezTo>
                <a:cubicBezTo>
                  <a:pt x="308" y="6678"/>
                  <a:pt x="308" y="6678"/>
                  <a:pt x="308" y="6678"/>
                </a:cubicBezTo>
                <a:cubicBezTo>
                  <a:pt x="308" y="6620"/>
                  <a:pt x="308" y="6620"/>
                  <a:pt x="308" y="6620"/>
                </a:cubicBezTo>
                <a:cubicBezTo>
                  <a:pt x="308" y="6559"/>
                  <a:pt x="308" y="6559"/>
                  <a:pt x="308" y="6559"/>
                </a:cubicBezTo>
                <a:cubicBezTo>
                  <a:pt x="344" y="6537"/>
                  <a:pt x="344" y="6537"/>
                  <a:pt x="344" y="6537"/>
                </a:cubicBezTo>
                <a:cubicBezTo>
                  <a:pt x="363" y="6526"/>
                  <a:pt x="383" y="6515"/>
                  <a:pt x="383" y="6515"/>
                </a:cubicBezTo>
                <a:cubicBezTo>
                  <a:pt x="386" y="6515"/>
                  <a:pt x="386" y="6529"/>
                  <a:pt x="383" y="6548"/>
                </a:cubicBezTo>
                <a:close/>
                <a:moveTo>
                  <a:pt x="11224" y="6714"/>
                </a:moveTo>
                <a:lnTo>
                  <a:pt x="11224" y="6714"/>
                </a:lnTo>
                <a:cubicBezTo>
                  <a:pt x="11280" y="6789"/>
                  <a:pt x="11330" y="6858"/>
                  <a:pt x="11335" y="6863"/>
                </a:cubicBezTo>
                <a:cubicBezTo>
                  <a:pt x="11343" y="6877"/>
                  <a:pt x="11343" y="6877"/>
                  <a:pt x="11343" y="6877"/>
                </a:cubicBezTo>
                <a:cubicBezTo>
                  <a:pt x="11332" y="6883"/>
                  <a:pt x="11332" y="6883"/>
                  <a:pt x="11332" y="6883"/>
                </a:cubicBezTo>
                <a:cubicBezTo>
                  <a:pt x="11321" y="6891"/>
                  <a:pt x="11319" y="6891"/>
                  <a:pt x="11316" y="6888"/>
                </a:cubicBezTo>
                <a:cubicBezTo>
                  <a:pt x="11310" y="6883"/>
                  <a:pt x="11119" y="6570"/>
                  <a:pt x="11113" y="6559"/>
                </a:cubicBezTo>
                <a:cubicBezTo>
                  <a:pt x="11105" y="6548"/>
                  <a:pt x="11127" y="6578"/>
                  <a:pt x="11224" y="6714"/>
                </a:cubicBezTo>
                <a:close/>
                <a:moveTo>
                  <a:pt x="1010" y="6834"/>
                </a:moveTo>
                <a:lnTo>
                  <a:pt x="1010" y="6834"/>
                </a:lnTo>
                <a:cubicBezTo>
                  <a:pt x="1176" y="7656"/>
                  <a:pt x="1237" y="7973"/>
                  <a:pt x="1237" y="7973"/>
                </a:cubicBezTo>
                <a:cubicBezTo>
                  <a:pt x="1234" y="7973"/>
                  <a:pt x="1215" y="7956"/>
                  <a:pt x="1190" y="7934"/>
                </a:cubicBezTo>
                <a:cubicBezTo>
                  <a:pt x="1154" y="7900"/>
                  <a:pt x="1143" y="7892"/>
                  <a:pt x="1143" y="7881"/>
                </a:cubicBezTo>
                <a:cubicBezTo>
                  <a:pt x="1140" y="7864"/>
                  <a:pt x="954" y="6576"/>
                  <a:pt x="954" y="6573"/>
                </a:cubicBezTo>
                <a:cubicBezTo>
                  <a:pt x="954" y="6559"/>
                  <a:pt x="965" y="6603"/>
                  <a:pt x="1010" y="6834"/>
                </a:cubicBezTo>
                <a:close/>
                <a:moveTo>
                  <a:pt x="272" y="6626"/>
                </a:moveTo>
                <a:lnTo>
                  <a:pt x="272" y="6626"/>
                </a:lnTo>
                <a:cubicBezTo>
                  <a:pt x="275" y="6648"/>
                  <a:pt x="275" y="6667"/>
                  <a:pt x="275" y="6670"/>
                </a:cubicBezTo>
                <a:cubicBezTo>
                  <a:pt x="272" y="6670"/>
                  <a:pt x="172" y="6651"/>
                  <a:pt x="169" y="6648"/>
                </a:cubicBezTo>
                <a:cubicBezTo>
                  <a:pt x="169" y="6645"/>
                  <a:pt x="264" y="6587"/>
                  <a:pt x="269" y="6587"/>
                </a:cubicBezTo>
                <a:cubicBezTo>
                  <a:pt x="269" y="6587"/>
                  <a:pt x="272" y="6603"/>
                  <a:pt x="272" y="6626"/>
                </a:cubicBezTo>
                <a:close/>
                <a:moveTo>
                  <a:pt x="3500" y="6720"/>
                </a:moveTo>
                <a:lnTo>
                  <a:pt x="3500" y="6720"/>
                </a:lnTo>
                <a:cubicBezTo>
                  <a:pt x="3492" y="6778"/>
                  <a:pt x="3484" y="6842"/>
                  <a:pt x="3478" y="6858"/>
                </a:cubicBezTo>
                <a:cubicBezTo>
                  <a:pt x="3476" y="6874"/>
                  <a:pt x="3467" y="6932"/>
                  <a:pt x="3459" y="6985"/>
                </a:cubicBezTo>
                <a:cubicBezTo>
                  <a:pt x="3453" y="7038"/>
                  <a:pt x="3445" y="7082"/>
                  <a:pt x="3442" y="7082"/>
                </a:cubicBezTo>
                <a:cubicBezTo>
                  <a:pt x="3439" y="7085"/>
                  <a:pt x="3353" y="7068"/>
                  <a:pt x="3351" y="7063"/>
                </a:cubicBezTo>
                <a:cubicBezTo>
                  <a:pt x="3348" y="7063"/>
                  <a:pt x="3384" y="6966"/>
                  <a:pt x="3428" y="6847"/>
                </a:cubicBezTo>
                <a:cubicBezTo>
                  <a:pt x="3473" y="6728"/>
                  <a:pt x="3509" y="6628"/>
                  <a:pt x="3512" y="6620"/>
                </a:cubicBezTo>
                <a:cubicBezTo>
                  <a:pt x="3514" y="6615"/>
                  <a:pt x="3517" y="6612"/>
                  <a:pt x="3517" y="6612"/>
                </a:cubicBezTo>
                <a:cubicBezTo>
                  <a:pt x="3517" y="6612"/>
                  <a:pt x="3512" y="6662"/>
                  <a:pt x="3500" y="6720"/>
                </a:cubicBezTo>
                <a:close/>
                <a:moveTo>
                  <a:pt x="4668" y="6628"/>
                </a:moveTo>
                <a:lnTo>
                  <a:pt x="4668" y="6628"/>
                </a:lnTo>
                <a:cubicBezTo>
                  <a:pt x="4707" y="6637"/>
                  <a:pt x="4740" y="6645"/>
                  <a:pt x="4740" y="6645"/>
                </a:cubicBezTo>
                <a:cubicBezTo>
                  <a:pt x="4740" y="6645"/>
                  <a:pt x="4713" y="6781"/>
                  <a:pt x="4679" y="6941"/>
                </a:cubicBezTo>
                <a:cubicBezTo>
                  <a:pt x="4632" y="7157"/>
                  <a:pt x="4615" y="7235"/>
                  <a:pt x="4613" y="7226"/>
                </a:cubicBezTo>
                <a:cubicBezTo>
                  <a:pt x="4610" y="7221"/>
                  <a:pt x="4607" y="7096"/>
                  <a:pt x="4602" y="6952"/>
                </a:cubicBezTo>
                <a:cubicBezTo>
                  <a:pt x="4599" y="6809"/>
                  <a:pt x="4593" y="6673"/>
                  <a:pt x="4593" y="6651"/>
                </a:cubicBezTo>
                <a:cubicBezTo>
                  <a:pt x="4591" y="6623"/>
                  <a:pt x="4591" y="6612"/>
                  <a:pt x="4593" y="6612"/>
                </a:cubicBezTo>
                <a:cubicBezTo>
                  <a:pt x="4596" y="6612"/>
                  <a:pt x="4629" y="6620"/>
                  <a:pt x="4668" y="6628"/>
                </a:cubicBezTo>
                <a:close/>
                <a:moveTo>
                  <a:pt x="3600" y="6642"/>
                </a:moveTo>
                <a:lnTo>
                  <a:pt x="3600" y="6642"/>
                </a:lnTo>
                <a:cubicBezTo>
                  <a:pt x="3634" y="6653"/>
                  <a:pt x="3634" y="6653"/>
                  <a:pt x="3634" y="6653"/>
                </a:cubicBezTo>
                <a:cubicBezTo>
                  <a:pt x="3634" y="6673"/>
                  <a:pt x="3634" y="6673"/>
                  <a:pt x="3634" y="6673"/>
                </a:cubicBezTo>
                <a:cubicBezTo>
                  <a:pt x="3631" y="6753"/>
                  <a:pt x="3573" y="7659"/>
                  <a:pt x="3573" y="7665"/>
                </a:cubicBezTo>
                <a:cubicBezTo>
                  <a:pt x="3570" y="7673"/>
                  <a:pt x="3567" y="7465"/>
                  <a:pt x="3561" y="7152"/>
                </a:cubicBezTo>
                <a:cubicBezTo>
                  <a:pt x="3561" y="6982"/>
                  <a:pt x="3559" y="6798"/>
                  <a:pt x="3556" y="6737"/>
                </a:cubicBezTo>
                <a:cubicBezTo>
                  <a:pt x="3556" y="6626"/>
                  <a:pt x="3556" y="6626"/>
                  <a:pt x="3556" y="6626"/>
                </a:cubicBezTo>
                <a:cubicBezTo>
                  <a:pt x="3561" y="6628"/>
                  <a:pt x="3561" y="6628"/>
                  <a:pt x="3561" y="6628"/>
                </a:cubicBezTo>
                <a:cubicBezTo>
                  <a:pt x="3564" y="6628"/>
                  <a:pt x="3584" y="6634"/>
                  <a:pt x="3600" y="6642"/>
                </a:cubicBezTo>
                <a:close/>
                <a:moveTo>
                  <a:pt x="12148" y="7274"/>
                </a:moveTo>
                <a:lnTo>
                  <a:pt x="12148" y="7274"/>
                </a:lnTo>
                <a:cubicBezTo>
                  <a:pt x="12267" y="7626"/>
                  <a:pt x="12364" y="7914"/>
                  <a:pt x="12364" y="7917"/>
                </a:cubicBezTo>
                <a:cubicBezTo>
                  <a:pt x="12361" y="7920"/>
                  <a:pt x="12098" y="7410"/>
                  <a:pt x="11807" y="6842"/>
                </a:cubicBezTo>
                <a:cubicBezTo>
                  <a:pt x="11751" y="6731"/>
                  <a:pt x="11751" y="6731"/>
                  <a:pt x="11751" y="6731"/>
                </a:cubicBezTo>
                <a:cubicBezTo>
                  <a:pt x="11840" y="6678"/>
                  <a:pt x="11840" y="6678"/>
                  <a:pt x="11840" y="6678"/>
                </a:cubicBezTo>
                <a:cubicBezTo>
                  <a:pt x="11895" y="6645"/>
                  <a:pt x="11929" y="6628"/>
                  <a:pt x="11932" y="6631"/>
                </a:cubicBezTo>
                <a:cubicBezTo>
                  <a:pt x="11932" y="6634"/>
                  <a:pt x="12031" y="6921"/>
                  <a:pt x="12148" y="7274"/>
                </a:cubicBezTo>
                <a:close/>
                <a:moveTo>
                  <a:pt x="4541" y="6651"/>
                </a:moveTo>
                <a:lnTo>
                  <a:pt x="4541" y="6651"/>
                </a:lnTo>
                <a:cubicBezTo>
                  <a:pt x="4541" y="6656"/>
                  <a:pt x="4524" y="6742"/>
                  <a:pt x="4502" y="6844"/>
                </a:cubicBezTo>
                <a:cubicBezTo>
                  <a:pt x="4480" y="6944"/>
                  <a:pt x="4463" y="7030"/>
                  <a:pt x="4460" y="7030"/>
                </a:cubicBezTo>
                <a:cubicBezTo>
                  <a:pt x="4455" y="7030"/>
                  <a:pt x="4263" y="6910"/>
                  <a:pt x="4266" y="6908"/>
                </a:cubicBezTo>
                <a:cubicBezTo>
                  <a:pt x="4266" y="6905"/>
                  <a:pt x="4535" y="6645"/>
                  <a:pt x="4541" y="6645"/>
                </a:cubicBezTo>
                <a:cubicBezTo>
                  <a:pt x="4543" y="6645"/>
                  <a:pt x="4543" y="6648"/>
                  <a:pt x="4541" y="6651"/>
                </a:cubicBezTo>
                <a:close/>
                <a:moveTo>
                  <a:pt x="4854" y="6676"/>
                </a:moveTo>
                <a:lnTo>
                  <a:pt x="4854" y="6676"/>
                </a:lnTo>
                <a:cubicBezTo>
                  <a:pt x="4893" y="6687"/>
                  <a:pt x="4926" y="6698"/>
                  <a:pt x="4926" y="6698"/>
                </a:cubicBezTo>
                <a:cubicBezTo>
                  <a:pt x="4926" y="6698"/>
                  <a:pt x="4865" y="6823"/>
                  <a:pt x="4790" y="6974"/>
                </a:cubicBezTo>
                <a:cubicBezTo>
                  <a:pt x="4713" y="7127"/>
                  <a:pt x="4652" y="7249"/>
                  <a:pt x="4652" y="7246"/>
                </a:cubicBezTo>
                <a:cubicBezTo>
                  <a:pt x="4649" y="7243"/>
                  <a:pt x="4763" y="6709"/>
                  <a:pt x="4774" y="6664"/>
                </a:cubicBezTo>
                <a:cubicBezTo>
                  <a:pt x="4774" y="6659"/>
                  <a:pt x="4776" y="6656"/>
                  <a:pt x="4779" y="6656"/>
                </a:cubicBezTo>
                <a:cubicBezTo>
                  <a:pt x="4782" y="6656"/>
                  <a:pt x="4815" y="6664"/>
                  <a:pt x="4854" y="6676"/>
                </a:cubicBezTo>
                <a:close/>
                <a:moveTo>
                  <a:pt x="13035" y="6689"/>
                </a:moveTo>
                <a:lnTo>
                  <a:pt x="13035" y="6689"/>
                </a:lnTo>
                <a:cubicBezTo>
                  <a:pt x="13038" y="6698"/>
                  <a:pt x="13427" y="7562"/>
                  <a:pt x="13901" y="8616"/>
                </a:cubicBezTo>
                <a:cubicBezTo>
                  <a:pt x="14372" y="9667"/>
                  <a:pt x="14761" y="10533"/>
                  <a:pt x="14761" y="10538"/>
                </a:cubicBezTo>
                <a:cubicBezTo>
                  <a:pt x="14766" y="10549"/>
                  <a:pt x="14847" y="10699"/>
                  <a:pt x="14045" y="9201"/>
                </a:cubicBezTo>
                <a:cubicBezTo>
                  <a:pt x="13346" y="7884"/>
                  <a:pt x="13346" y="7884"/>
                  <a:pt x="13346" y="7884"/>
                </a:cubicBezTo>
                <a:cubicBezTo>
                  <a:pt x="13188" y="7287"/>
                  <a:pt x="13188" y="7287"/>
                  <a:pt x="13188" y="7287"/>
                </a:cubicBezTo>
                <a:cubicBezTo>
                  <a:pt x="13099" y="6960"/>
                  <a:pt x="13027" y="6689"/>
                  <a:pt x="13027" y="6687"/>
                </a:cubicBezTo>
                <a:cubicBezTo>
                  <a:pt x="13024" y="6673"/>
                  <a:pt x="13030" y="6678"/>
                  <a:pt x="13035" y="6689"/>
                </a:cubicBezTo>
                <a:close/>
                <a:moveTo>
                  <a:pt x="3814" y="6728"/>
                </a:moveTo>
                <a:lnTo>
                  <a:pt x="3814" y="6728"/>
                </a:lnTo>
                <a:cubicBezTo>
                  <a:pt x="3892" y="6762"/>
                  <a:pt x="3922" y="6778"/>
                  <a:pt x="3922" y="6781"/>
                </a:cubicBezTo>
                <a:cubicBezTo>
                  <a:pt x="3922" y="6792"/>
                  <a:pt x="3639" y="7551"/>
                  <a:pt x="3636" y="7554"/>
                </a:cubicBezTo>
                <a:cubicBezTo>
                  <a:pt x="3634" y="7557"/>
                  <a:pt x="3634" y="7554"/>
                  <a:pt x="3634" y="7543"/>
                </a:cubicBezTo>
                <a:cubicBezTo>
                  <a:pt x="3636" y="7534"/>
                  <a:pt x="3650" y="7340"/>
                  <a:pt x="3667" y="7116"/>
                </a:cubicBezTo>
                <a:cubicBezTo>
                  <a:pt x="3697" y="6698"/>
                  <a:pt x="3697" y="6681"/>
                  <a:pt x="3703" y="6681"/>
                </a:cubicBezTo>
                <a:cubicBezTo>
                  <a:pt x="3703" y="6681"/>
                  <a:pt x="3756" y="6703"/>
                  <a:pt x="3814" y="6728"/>
                </a:cubicBezTo>
                <a:close/>
                <a:moveTo>
                  <a:pt x="14439" y="8702"/>
                </a:moveTo>
                <a:lnTo>
                  <a:pt x="14439" y="8702"/>
                </a:lnTo>
                <a:cubicBezTo>
                  <a:pt x="15058" y="9800"/>
                  <a:pt x="15565" y="10704"/>
                  <a:pt x="15565" y="10704"/>
                </a:cubicBezTo>
                <a:cubicBezTo>
                  <a:pt x="15565" y="10710"/>
                  <a:pt x="15376" y="10940"/>
                  <a:pt x="15279" y="11054"/>
                </a:cubicBezTo>
                <a:cubicBezTo>
                  <a:pt x="15265" y="11071"/>
                  <a:pt x="15265" y="11071"/>
                  <a:pt x="15265" y="11071"/>
                </a:cubicBezTo>
                <a:cubicBezTo>
                  <a:pt x="14289" y="8891"/>
                  <a:pt x="14289" y="8891"/>
                  <a:pt x="14289" y="8891"/>
                </a:cubicBezTo>
                <a:cubicBezTo>
                  <a:pt x="13751" y="7690"/>
                  <a:pt x="13310" y="6706"/>
                  <a:pt x="13310" y="6703"/>
                </a:cubicBezTo>
                <a:cubicBezTo>
                  <a:pt x="13307" y="6698"/>
                  <a:pt x="13307" y="6695"/>
                  <a:pt x="13310" y="6698"/>
                </a:cubicBezTo>
                <a:cubicBezTo>
                  <a:pt x="13313" y="6700"/>
                  <a:pt x="13820" y="7601"/>
                  <a:pt x="14439" y="8702"/>
                </a:cubicBezTo>
                <a:close/>
                <a:moveTo>
                  <a:pt x="11718" y="6767"/>
                </a:moveTo>
                <a:lnTo>
                  <a:pt x="11718" y="6767"/>
                </a:lnTo>
                <a:cubicBezTo>
                  <a:pt x="11723" y="6784"/>
                  <a:pt x="11807" y="7043"/>
                  <a:pt x="11904" y="7349"/>
                </a:cubicBezTo>
                <a:cubicBezTo>
                  <a:pt x="12004" y="7654"/>
                  <a:pt x="12081" y="7903"/>
                  <a:pt x="12081" y="7903"/>
                </a:cubicBezTo>
                <a:cubicBezTo>
                  <a:pt x="12078" y="7906"/>
                  <a:pt x="11527" y="6834"/>
                  <a:pt x="11527" y="6825"/>
                </a:cubicBezTo>
                <a:cubicBezTo>
                  <a:pt x="11527" y="6823"/>
                  <a:pt x="11693" y="6737"/>
                  <a:pt x="11704" y="6737"/>
                </a:cubicBezTo>
                <a:cubicBezTo>
                  <a:pt x="11707" y="6737"/>
                  <a:pt x="11712" y="6750"/>
                  <a:pt x="11718" y="6767"/>
                </a:cubicBezTo>
                <a:close/>
                <a:moveTo>
                  <a:pt x="214" y="6770"/>
                </a:moveTo>
                <a:lnTo>
                  <a:pt x="214" y="6770"/>
                </a:lnTo>
                <a:cubicBezTo>
                  <a:pt x="244" y="6775"/>
                  <a:pt x="266" y="6781"/>
                  <a:pt x="266" y="6781"/>
                </a:cubicBezTo>
                <a:cubicBezTo>
                  <a:pt x="264" y="6784"/>
                  <a:pt x="144" y="6792"/>
                  <a:pt x="144" y="6789"/>
                </a:cubicBezTo>
                <a:cubicBezTo>
                  <a:pt x="141" y="6786"/>
                  <a:pt x="141" y="6778"/>
                  <a:pt x="139" y="6770"/>
                </a:cubicBezTo>
                <a:cubicBezTo>
                  <a:pt x="136" y="6753"/>
                  <a:pt x="136" y="6753"/>
                  <a:pt x="136" y="6753"/>
                </a:cubicBezTo>
                <a:cubicBezTo>
                  <a:pt x="147" y="6756"/>
                  <a:pt x="147" y="6756"/>
                  <a:pt x="147" y="6756"/>
                </a:cubicBezTo>
                <a:cubicBezTo>
                  <a:pt x="153" y="6759"/>
                  <a:pt x="183" y="6764"/>
                  <a:pt x="214" y="6770"/>
                </a:cubicBezTo>
                <a:close/>
                <a:moveTo>
                  <a:pt x="4566" y="6963"/>
                </a:moveTo>
                <a:lnTo>
                  <a:pt x="4566" y="6963"/>
                </a:lnTo>
                <a:cubicBezTo>
                  <a:pt x="4568" y="7071"/>
                  <a:pt x="4571" y="7188"/>
                  <a:pt x="4571" y="7221"/>
                </a:cubicBezTo>
                <a:cubicBezTo>
                  <a:pt x="4574" y="7285"/>
                  <a:pt x="4574" y="7285"/>
                  <a:pt x="4574" y="7285"/>
                </a:cubicBezTo>
                <a:cubicBezTo>
                  <a:pt x="4568" y="7282"/>
                  <a:pt x="4568" y="7282"/>
                  <a:pt x="4568" y="7282"/>
                </a:cubicBezTo>
                <a:cubicBezTo>
                  <a:pt x="4566" y="7282"/>
                  <a:pt x="4549" y="7235"/>
                  <a:pt x="4527" y="7171"/>
                </a:cubicBezTo>
                <a:cubicBezTo>
                  <a:pt x="4493" y="7063"/>
                  <a:pt x="4493" y="7063"/>
                  <a:pt x="4493" y="7063"/>
                </a:cubicBezTo>
                <a:cubicBezTo>
                  <a:pt x="4524" y="6908"/>
                  <a:pt x="4524" y="6908"/>
                  <a:pt x="4524" y="6908"/>
                </a:cubicBezTo>
                <a:cubicBezTo>
                  <a:pt x="4541" y="6825"/>
                  <a:pt x="4557" y="6759"/>
                  <a:pt x="4557" y="6762"/>
                </a:cubicBezTo>
                <a:cubicBezTo>
                  <a:pt x="4560" y="6762"/>
                  <a:pt x="4563" y="6852"/>
                  <a:pt x="4566" y="6963"/>
                </a:cubicBezTo>
                <a:close/>
                <a:moveTo>
                  <a:pt x="4005" y="6814"/>
                </a:moveTo>
                <a:lnTo>
                  <a:pt x="4005" y="6814"/>
                </a:lnTo>
                <a:cubicBezTo>
                  <a:pt x="4030" y="6825"/>
                  <a:pt x="4044" y="6836"/>
                  <a:pt x="4044" y="6839"/>
                </a:cubicBezTo>
                <a:cubicBezTo>
                  <a:pt x="4044" y="6852"/>
                  <a:pt x="3947" y="7515"/>
                  <a:pt x="3944" y="7515"/>
                </a:cubicBezTo>
                <a:cubicBezTo>
                  <a:pt x="3944" y="7518"/>
                  <a:pt x="3944" y="7496"/>
                  <a:pt x="3944" y="7468"/>
                </a:cubicBezTo>
                <a:cubicBezTo>
                  <a:pt x="3947" y="7440"/>
                  <a:pt x="3950" y="7285"/>
                  <a:pt x="3955" y="7118"/>
                </a:cubicBezTo>
                <a:cubicBezTo>
                  <a:pt x="3961" y="6836"/>
                  <a:pt x="3964" y="6798"/>
                  <a:pt x="3966" y="6798"/>
                </a:cubicBezTo>
                <a:cubicBezTo>
                  <a:pt x="3969" y="6798"/>
                  <a:pt x="3986" y="6806"/>
                  <a:pt x="4005" y="6814"/>
                </a:cubicBezTo>
                <a:close/>
                <a:moveTo>
                  <a:pt x="405" y="6825"/>
                </a:moveTo>
                <a:lnTo>
                  <a:pt x="405" y="6825"/>
                </a:lnTo>
                <a:cubicBezTo>
                  <a:pt x="405" y="6834"/>
                  <a:pt x="408" y="6842"/>
                  <a:pt x="405" y="6842"/>
                </a:cubicBezTo>
                <a:cubicBezTo>
                  <a:pt x="405" y="6842"/>
                  <a:pt x="383" y="6839"/>
                  <a:pt x="358" y="6834"/>
                </a:cubicBezTo>
                <a:cubicBezTo>
                  <a:pt x="336" y="6831"/>
                  <a:pt x="313" y="6825"/>
                  <a:pt x="313" y="6825"/>
                </a:cubicBezTo>
                <a:cubicBezTo>
                  <a:pt x="313" y="6825"/>
                  <a:pt x="311" y="6823"/>
                  <a:pt x="311" y="6820"/>
                </a:cubicBezTo>
                <a:cubicBezTo>
                  <a:pt x="311" y="6814"/>
                  <a:pt x="325" y="6814"/>
                  <a:pt x="374" y="6811"/>
                </a:cubicBezTo>
                <a:cubicBezTo>
                  <a:pt x="399" y="6811"/>
                  <a:pt x="399" y="6811"/>
                  <a:pt x="399" y="6811"/>
                </a:cubicBezTo>
                <a:cubicBezTo>
                  <a:pt x="405" y="6825"/>
                  <a:pt x="405" y="6825"/>
                  <a:pt x="405" y="6825"/>
                </a:cubicBezTo>
                <a:close/>
                <a:moveTo>
                  <a:pt x="1087" y="6960"/>
                </a:moveTo>
                <a:lnTo>
                  <a:pt x="1087" y="6960"/>
                </a:lnTo>
                <a:cubicBezTo>
                  <a:pt x="1137" y="7149"/>
                  <a:pt x="1176" y="7265"/>
                  <a:pt x="1254" y="7479"/>
                </a:cubicBezTo>
                <a:cubicBezTo>
                  <a:pt x="1320" y="7670"/>
                  <a:pt x="1320" y="7670"/>
                  <a:pt x="1320" y="7670"/>
                </a:cubicBezTo>
                <a:cubicBezTo>
                  <a:pt x="1295" y="7795"/>
                  <a:pt x="1295" y="7795"/>
                  <a:pt x="1295" y="7795"/>
                </a:cubicBezTo>
                <a:cubicBezTo>
                  <a:pt x="1281" y="7864"/>
                  <a:pt x="1268" y="7923"/>
                  <a:pt x="1268" y="7928"/>
                </a:cubicBezTo>
                <a:cubicBezTo>
                  <a:pt x="1265" y="7931"/>
                  <a:pt x="1051" y="6866"/>
                  <a:pt x="1046" y="6828"/>
                </a:cubicBezTo>
                <a:cubicBezTo>
                  <a:pt x="1043" y="6806"/>
                  <a:pt x="1046" y="6817"/>
                  <a:pt x="1087" y="6960"/>
                </a:cubicBezTo>
                <a:close/>
                <a:moveTo>
                  <a:pt x="4898" y="6863"/>
                </a:moveTo>
                <a:lnTo>
                  <a:pt x="4898" y="6863"/>
                </a:lnTo>
                <a:cubicBezTo>
                  <a:pt x="4893" y="6888"/>
                  <a:pt x="4837" y="7154"/>
                  <a:pt x="4810" y="7301"/>
                </a:cubicBezTo>
                <a:cubicBezTo>
                  <a:pt x="4804" y="7318"/>
                  <a:pt x="4804" y="7318"/>
                  <a:pt x="4804" y="7318"/>
                </a:cubicBezTo>
                <a:cubicBezTo>
                  <a:pt x="4737" y="7310"/>
                  <a:pt x="4737" y="7310"/>
                  <a:pt x="4737" y="7310"/>
                </a:cubicBezTo>
                <a:cubicBezTo>
                  <a:pt x="4701" y="7304"/>
                  <a:pt x="4671" y="7299"/>
                  <a:pt x="4671" y="7299"/>
                </a:cubicBezTo>
                <a:cubicBezTo>
                  <a:pt x="4668" y="7296"/>
                  <a:pt x="4721" y="7190"/>
                  <a:pt x="4785" y="7063"/>
                </a:cubicBezTo>
                <a:cubicBezTo>
                  <a:pt x="4848" y="6932"/>
                  <a:pt x="4901" y="6828"/>
                  <a:pt x="4904" y="6831"/>
                </a:cubicBezTo>
                <a:cubicBezTo>
                  <a:pt x="4904" y="6831"/>
                  <a:pt x="4901" y="6847"/>
                  <a:pt x="4898" y="6863"/>
                </a:cubicBezTo>
                <a:close/>
                <a:moveTo>
                  <a:pt x="216" y="6844"/>
                </a:moveTo>
                <a:lnTo>
                  <a:pt x="216" y="6844"/>
                </a:lnTo>
                <a:cubicBezTo>
                  <a:pt x="250" y="6849"/>
                  <a:pt x="277" y="6855"/>
                  <a:pt x="277" y="6855"/>
                </a:cubicBezTo>
                <a:cubicBezTo>
                  <a:pt x="277" y="6855"/>
                  <a:pt x="277" y="6877"/>
                  <a:pt x="277" y="6905"/>
                </a:cubicBezTo>
                <a:cubicBezTo>
                  <a:pt x="277" y="6957"/>
                  <a:pt x="277" y="6957"/>
                  <a:pt x="277" y="6957"/>
                </a:cubicBezTo>
                <a:cubicBezTo>
                  <a:pt x="239" y="6988"/>
                  <a:pt x="239" y="6988"/>
                  <a:pt x="239" y="6988"/>
                </a:cubicBezTo>
                <a:cubicBezTo>
                  <a:pt x="216" y="7005"/>
                  <a:pt x="197" y="7018"/>
                  <a:pt x="194" y="7016"/>
                </a:cubicBezTo>
                <a:cubicBezTo>
                  <a:pt x="194" y="7016"/>
                  <a:pt x="183" y="6977"/>
                  <a:pt x="172" y="6932"/>
                </a:cubicBezTo>
                <a:cubicBezTo>
                  <a:pt x="161" y="6885"/>
                  <a:pt x="153" y="6847"/>
                  <a:pt x="153" y="6842"/>
                </a:cubicBezTo>
                <a:cubicBezTo>
                  <a:pt x="150" y="6836"/>
                  <a:pt x="150" y="6834"/>
                  <a:pt x="153" y="6834"/>
                </a:cubicBezTo>
                <a:cubicBezTo>
                  <a:pt x="153" y="6834"/>
                  <a:pt x="183" y="6839"/>
                  <a:pt x="216" y="6844"/>
                </a:cubicBezTo>
                <a:close/>
                <a:moveTo>
                  <a:pt x="3528" y="7179"/>
                </a:moveTo>
                <a:lnTo>
                  <a:pt x="3528" y="7179"/>
                </a:lnTo>
                <a:cubicBezTo>
                  <a:pt x="3534" y="7562"/>
                  <a:pt x="3534" y="7726"/>
                  <a:pt x="3534" y="7728"/>
                </a:cubicBezTo>
                <a:cubicBezTo>
                  <a:pt x="3531" y="7728"/>
                  <a:pt x="3517" y="7598"/>
                  <a:pt x="3503" y="7435"/>
                </a:cubicBezTo>
                <a:cubicBezTo>
                  <a:pt x="3473" y="7140"/>
                  <a:pt x="3473" y="7140"/>
                  <a:pt x="3473" y="7140"/>
                </a:cubicBezTo>
                <a:cubicBezTo>
                  <a:pt x="3495" y="6985"/>
                  <a:pt x="3495" y="6985"/>
                  <a:pt x="3495" y="6985"/>
                </a:cubicBezTo>
                <a:cubicBezTo>
                  <a:pt x="3509" y="6902"/>
                  <a:pt x="3520" y="6834"/>
                  <a:pt x="3523" y="6836"/>
                </a:cubicBezTo>
                <a:cubicBezTo>
                  <a:pt x="3523" y="6836"/>
                  <a:pt x="3525" y="6991"/>
                  <a:pt x="3528" y="7179"/>
                </a:cubicBezTo>
                <a:close/>
                <a:moveTo>
                  <a:pt x="11735" y="7310"/>
                </a:moveTo>
                <a:lnTo>
                  <a:pt x="11735" y="7310"/>
                </a:lnTo>
                <a:cubicBezTo>
                  <a:pt x="11868" y="7568"/>
                  <a:pt x="11976" y="7781"/>
                  <a:pt x="11976" y="7781"/>
                </a:cubicBezTo>
                <a:cubicBezTo>
                  <a:pt x="11973" y="7781"/>
                  <a:pt x="11410" y="6916"/>
                  <a:pt x="11396" y="6894"/>
                </a:cubicBezTo>
                <a:cubicBezTo>
                  <a:pt x="11396" y="6891"/>
                  <a:pt x="11407" y="6883"/>
                  <a:pt x="11441" y="6863"/>
                </a:cubicBezTo>
                <a:cubicBezTo>
                  <a:pt x="11466" y="6852"/>
                  <a:pt x="11488" y="6842"/>
                  <a:pt x="11488" y="6842"/>
                </a:cubicBezTo>
                <a:cubicBezTo>
                  <a:pt x="11490" y="6842"/>
                  <a:pt x="11601" y="7052"/>
                  <a:pt x="11735" y="7310"/>
                </a:cubicBezTo>
                <a:close/>
                <a:moveTo>
                  <a:pt x="12367" y="7479"/>
                </a:moveTo>
                <a:lnTo>
                  <a:pt x="12367" y="7479"/>
                </a:lnTo>
                <a:cubicBezTo>
                  <a:pt x="12536" y="7817"/>
                  <a:pt x="12675" y="8092"/>
                  <a:pt x="12675" y="8095"/>
                </a:cubicBezTo>
                <a:cubicBezTo>
                  <a:pt x="12672" y="8097"/>
                  <a:pt x="12481" y="8136"/>
                  <a:pt x="12478" y="8133"/>
                </a:cubicBezTo>
                <a:cubicBezTo>
                  <a:pt x="12475" y="8131"/>
                  <a:pt x="12042" y="6847"/>
                  <a:pt x="12042" y="6844"/>
                </a:cubicBezTo>
                <a:cubicBezTo>
                  <a:pt x="12042" y="6839"/>
                  <a:pt x="12076" y="6902"/>
                  <a:pt x="12367" y="7479"/>
                </a:cubicBezTo>
                <a:close/>
                <a:moveTo>
                  <a:pt x="4144" y="6885"/>
                </a:moveTo>
                <a:lnTo>
                  <a:pt x="4144" y="6885"/>
                </a:lnTo>
                <a:cubicBezTo>
                  <a:pt x="4177" y="6905"/>
                  <a:pt x="4205" y="6919"/>
                  <a:pt x="4208" y="6921"/>
                </a:cubicBezTo>
                <a:cubicBezTo>
                  <a:pt x="4208" y="6921"/>
                  <a:pt x="4188" y="6985"/>
                  <a:pt x="4163" y="7060"/>
                </a:cubicBezTo>
                <a:cubicBezTo>
                  <a:pt x="4016" y="7496"/>
                  <a:pt x="3969" y="7640"/>
                  <a:pt x="3966" y="7642"/>
                </a:cubicBezTo>
                <a:cubicBezTo>
                  <a:pt x="3964" y="7645"/>
                  <a:pt x="3986" y="7482"/>
                  <a:pt x="4016" y="7282"/>
                </a:cubicBezTo>
                <a:cubicBezTo>
                  <a:pt x="4044" y="7082"/>
                  <a:pt x="4069" y="6905"/>
                  <a:pt x="4072" y="6888"/>
                </a:cubicBezTo>
                <a:cubicBezTo>
                  <a:pt x="4075" y="6869"/>
                  <a:pt x="4080" y="6855"/>
                  <a:pt x="4083" y="6855"/>
                </a:cubicBezTo>
                <a:cubicBezTo>
                  <a:pt x="4083" y="6855"/>
                  <a:pt x="4113" y="6869"/>
                  <a:pt x="4144" y="6885"/>
                </a:cubicBezTo>
                <a:close/>
                <a:moveTo>
                  <a:pt x="361" y="6869"/>
                </a:moveTo>
                <a:lnTo>
                  <a:pt x="361" y="6869"/>
                </a:lnTo>
                <a:cubicBezTo>
                  <a:pt x="374" y="6871"/>
                  <a:pt x="386" y="6874"/>
                  <a:pt x="383" y="6877"/>
                </a:cubicBezTo>
                <a:cubicBezTo>
                  <a:pt x="383" y="6880"/>
                  <a:pt x="366" y="6891"/>
                  <a:pt x="350" y="6905"/>
                </a:cubicBezTo>
                <a:cubicBezTo>
                  <a:pt x="316" y="6930"/>
                  <a:pt x="316" y="6930"/>
                  <a:pt x="316" y="6930"/>
                </a:cubicBezTo>
                <a:cubicBezTo>
                  <a:pt x="316" y="6916"/>
                  <a:pt x="316" y="6916"/>
                  <a:pt x="316" y="6916"/>
                </a:cubicBezTo>
                <a:cubicBezTo>
                  <a:pt x="313" y="6908"/>
                  <a:pt x="313" y="6891"/>
                  <a:pt x="313" y="6880"/>
                </a:cubicBezTo>
                <a:cubicBezTo>
                  <a:pt x="311" y="6860"/>
                  <a:pt x="311" y="6860"/>
                  <a:pt x="311" y="6860"/>
                </a:cubicBezTo>
                <a:cubicBezTo>
                  <a:pt x="325" y="6863"/>
                  <a:pt x="325" y="6863"/>
                  <a:pt x="325" y="6863"/>
                </a:cubicBezTo>
                <a:cubicBezTo>
                  <a:pt x="330" y="6866"/>
                  <a:pt x="347" y="6869"/>
                  <a:pt x="361" y="6869"/>
                </a:cubicBezTo>
                <a:close/>
                <a:moveTo>
                  <a:pt x="5273" y="6891"/>
                </a:moveTo>
                <a:lnTo>
                  <a:pt x="5273" y="6891"/>
                </a:lnTo>
                <a:cubicBezTo>
                  <a:pt x="5234" y="6927"/>
                  <a:pt x="4862" y="7249"/>
                  <a:pt x="4860" y="7249"/>
                </a:cubicBezTo>
                <a:cubicBezTo>
                  <a:pt x="4860" y="7251"/>
                  <a:pt x="4857" y="7249"/>
                  <a:pt x="4857" y="7246"/>
                </a:cubicBezTo>
                <a:cubicBezTo>
                  <a:pt x="4857" y="7235"/>
                  <a:pt x="4921" y="6921"/>
                  <a:pt x="4923" y="6919"/>
                </a:cubicBezTo>
                <a:cubicBezTo>
                  <a:pt x="4926" y="6919"/>
                  <a:pt x="5251" y="6883"/>
                  <a:pt x="5270" y="6880"/>
                </a:cubicBezTo>
                <a:cubicBezTo>
                  <a:pt x="5284" y="6880"/>
                  <a:pt x="5284" y="6880"/>
                  <a:pt x="5284" y="6880"/>
                </a:cubicBezTo>
                <a:cubicBezTo>
                  <a:pt x="5273" y="6891"/>
                  <a:pt x="5273" y="6891"/>
                  <a:pt x="5273" y="6891"/>
                </a:cubicBezTo>
                <a:close/>
                <a:moveTo>
                  <a:pt x="3914" y="7376"/>
                </a:moveTo>
                <a:lnTo>
                  <a:pt x="3914" y="7376"/>
                </a:lnTo>
                <a:cubicBezTo>
                  <a:pt x="3905" y="7620"/>
                  <a:pt x="3900" y="7817"/>
                  <a:pt x="3900" y="7817"/>
                </a:cubicBezTo>
                <a:cubicBezTo>
                  <a:pt x="3897" y="7820"/>
                  <a:pt x="3636" y="7690"/>
                  <a:pt x="3631" y="7684"/>
                </a:cubicBezTo>
                <a:cubicBezTo>
                  <a:pt x="3631" y="7684"/>
                  <a:pt x="3695" y="7504"/>
                  <a:pt x="3775" y="7282"/>
                </a:cubicBezTo>
                <a:cubicBezTo>
                  <a:pt x="3922" y="6883"/>
                  <a:pt x="3922" y="6883"/>
                  <a:pt x="3922" y="6883"/>
                </a:cubicBezTo>
                <a:cubicBezTo>
                  <a:pt x="3925" y="6910"/>
                  <a:pt x="3925" y="6910"/>
                  <a:pt x="3925" y="6910"/>
                </a:cubicBezTo>
                <a:cubicBezTo>
                  <a:pt x="3925" y="6924"/>
                  <a:pt x="3919" y="7135"/>
                  <a:pt x="3914" y="7376"/>
                </a:cubicBezTo>
                <a:close/>
                <a:moveTo>
                  <a:pt x="433" y="6930"/>
                </a:moveTo>
                <a:lnTo>
                  <a:pt x="433" y="6930"/>
                </a:lnTo>
                <a:cubicBezTo>
                  <a:pt x="441" y="6952"/>
                  <a:pt x="444" y="6969"/>
                  <a:pt x="444" y="6969"/>
                </a:cubicBezTo>
                <a:cubicBezTo>
                  <a:pt x="441" y="6971"/>
                  <a:pt x="327" y="6999"/>
                  <a:pt x="322" y="6999"/>
                </a:cubicBezTo>
                <a:cubicBezTo>
                  <a:pt x="316" y="6999"/>
                  <a:pt x="316" y="6994"/>
                  <a:pt x="316" y="6985"/>
                </a:cubicBezTo>
                <a:cubicBezTo>
                  <a:pt x="316" y="6974"/>
                  <a:pt x="316" y="6974"/>
                  <a:pt x="316" y="6974"/>
                </a:cubicBezTo>
                <a:cubicBezTo>
                  <a:pt x="369" y="6935"/>
                  <a:pt x="369" y="6935"/>
                  <a:pt x="369" y="6935"/>
                </a:cubicBezTo>
                <a:cubicBezTo>
                  <a:pt x="397" y="6913"/>
                  <a:pt x="422" y="6896"/>
                  <a:pt x="422" y="6896"/>
                </a:cubicBezTo>
                <a:cubicBezTo>
                  <a:pt x="422" y="6896"/>
                  <a:pt x="427" y="6910"/>
                  <a:pt x="433" y="6930"/>
                </a:cubicBezTo>
                <a:close/>
                <a:moveTo>
                  <a:pt x="6590" y="7376"/>
                </a:moveTo>
                <a:lnTo>
                  <a:pt x="6590" y="7376"/>
                </a:lnTo>
                <a:cubicBezTo>
                  <a:pt x="7264" y="7634"/>
                  <a:pt x="7814" y="7848"/>
                  <a:pt x="7811" y="7848"/>
                </a:cubicBezTo>
                <a:cubicBezTo>
                  <a:pt x="7805" y="7851"/>
                  <a:pt x="5215" y="7582"/>
                  <a:pt x="5212" y="7582"/>
                </a:cubicBezTo>
                <a:cubicBezTo>
                  <a:pt x="5212" y="7579"/>
                  <a:pt x="5345" y="6910"/>
                  <a:pt x="5348" y="6902"/>
                </a:cubicBezTo>
                <a:cubicBezTo>
                  <a:pt x="5348" y="6899"/>
                  <a:pt x="5351" y="6899"/>
                  <a:pt x="5356" y="6899"/>
                </a:cubicBezTo>
                <a:cubicBezTo>
                  <a:pt x="5359" y="6902"/>
                  <a:pt x="5914" y="7116"/>
                  <a:pt x="6590" y="7376"/>
                </a:cubicBezTo>
                <a:close/>
                <a:moveTo>
                  <a:pt x="11490" y="7196"/>
                </a:moveTo>
                <a:lnTo>
                  <a:pt x="11490" y="7196"/>
                </a:lnTo>
                <a:cubicBezTo>
                  <a:pt x="11654" y="7557"/>
                  <a:pt x="11662" y="7573"/>
                  <a:pt x="11660" y="7573"/>
                </a:cubicBezTo>
                <a:cubicBezTo>
                  <a:pt x="11660" y="7576"/>
                  <a:pt x="11341" y="6935"/>
                  <a:pt x="11335" y="6924"/>
                </a:cubicBezTo>
                <a:cubicBezTo>
                  <a:pt x="11335" y="6921"/>
                  <a:pt x="11355" y="6910"/>
                  <a:pt x="11360" y="6910"/>
                </a:cubicBezTo>
                <a:cubicBezTo>
                  <a:pt x="11363" y="6913"/>
                  <a:pt x="11421" y="7041"/>
                  <a:pt x="11490" y="7196"/>
                </a:cubicBezTo>
                <a:close/>
                <a:moveTo>
                  <a:pt x="1692" y="6935"/>
                </a:moveTo>
                <a:lnTo>
                  <a:pt x="1692" y="6935"/>
                </a:lnTo>
                <a:cubicBezTo>
                  <a:pt x="1692" y="6938"/>
                  <a:pt x="1739" y="7099"/>
                  <a:pt x="1797" y="7290"/>
                </a:cubicBezTo>
                <a:cubicBezTo>
                  <a:pt x="1853" y="7482"/>
                  <a:pt x="1900" y="7640"/>
                  <a:pt x="1897" y="7640"/>
                </a:cubicBezTo>
                <a:cubicBezTo>
                  <a:pt x="1897" y="7640"/>
                  <a:pt x="1822" y="7520"/>
                  <a:pt x="1734" y="7371"/>
                </a:cubicBezTo>
                <a:cubicBezTo>
                  <a:pt x="1570" y="7102"/>
                  <a:pt x="1570" y="7102"/>
                  <a:pt x="1570" y="7102"/>
                </a:cubicBezTo>
                <a:cubicBezTo>
                  <a:pt x="1628" y="7016"/>
                  <a:pt x="1628" y="7016"/>
                  <a:pt x="1628" y="7016"/>
                </a:cubicBezTo>
                <a:cubicBezTo>
                  <a:pt x="1659" y="6969"/>
                  <a:pt x="1686" y="6930"/>
                  <a:pt x="1689" y="6930"/>
                </a:cubicBezTo>
                <a:cubicBezTo>
                  <a:pt x="1689" y="6930"/>
                  <a:pt x="1692" y="6932"/>
                  <a:pt x="1692" y="6935"/>
                </a:cubicBezTo>
                <a:close/>
                <a:moveTo>
                  <a:pt x="4346" y="7002"/>
                </a:moveTo>
                <a:lnTo>
                  <a:pt x="4346" y="7002"/>
                </a:lnTo>
                <a:cubicBezTo>
                  <a:pt x="4402" y="7035"/>
                  <a:pt x="4444" y="7063"/>
                  <a:pt x="4444" y="7066"/>
                </a:cubicBezTo>
                <a:cubicBezTo>
                  <a:pt x="4444" y="7071"/>
                  <a:pt x="3980" y="7731"/>
                  <a:pt x="3978" y="7728"/>
                </a:cubicBezTo>
                <a:cubicBezTo>
                  <a:pt x="3978" y="7728"/>
                  <a:pt x="4036" y="7551"/>
                  <a:pt x="4108" y="7337"/>
                </a:cubicBezTo>
                <a:cubicBezTo>
                  <a:pt x="4180" y="7121"/>
                  <a:pt x="4238" y="6946"/>
                  <a:pt x="4238" y="6944"/>
                </a:cubicBezTo>
                <a:cubicBezTo>
                  <a:pt x="4238" y="6938"/>
                  <a:pt x="4260" y="6949"/>
                  <a:pt x="4346" y="7002"/>
                </a:cubicBezTo>
                <a:close/>
                <a:moveTo>
                  <a:pt x="5137" y="7182"/>
                </a:moveTo>
                <a:lnTo>
                  <a:pt x="5137" y="7182"/>
                </a:lnTo>
                <a:cubicBezTo>
                  <a:pt x="5062" y="7310"/>
                  <a:pt x="5001" y="7415"/>
                  <a:pt x="5001" y="7415"/>
                </a:cubicBezTo>
                <a:cubicBezTo>
                  <a:pt x="4998" y="7418"/>
                  <a:pt x="4860" y="7307"/>
                  <a:pt x="4860" y="7304"/>
                </a:cubicBezTo>
                <a:cubicBezTo>
                  <a:pt x="4860" y="7299"/>
                  <a:pt x="5265" y="6944"/>
                  <a:pt x="5267" y="6946"/>
                </a:cubicBezTo>
                <a:cubicBezTo>
                  <a:pt x="5267" y="6946"/>
                  <a:pt x="5209" y="7052"/>
                  <a:pt x="5137" y="7182"/>
                </a:cubicBezTo>
                <a:close/>
                <a:moveTo>
                  <a:pt x="11704" y="7745"/>
                </a:moveTo>
                <a:lnTo>
                  <a:pt x="11704" y="7745"/>
                </a:lnTo>
                <a:cubicBezTo>
                  <a:pt x="11923" y="8183"/>
                  <a:pt x="12101" y="8541"/>
                  <a:pt x="12101" y="8544"/>
                </a:cubicBezTo>
                <a:cubicBezTo>
                  <a:pt x="12098" y="8544"/>
                  <a:pt x="11701" y="8059"/>
                  <a:pt x="11024" y="7232"/>
                </a:cubicBezTo>
                <a:cubicBezTo>
                  <a:pt x="11011" y="7213"/>
                  <a:pt x="11011" y="7213"/>
                  <a:pt x="11011" y="7213"/>
                </a:cubicBezTo>
                <a:cubicBezTo>
                  <a:pt x="11158" y="7080"/>
                  <a:pt x="11158" y="7080"/>
                  <a:pt x="11158" y="7080"/>
                </a:cubicBezTo>
                <a:cubicBezTo>
                  <a:pt x="11238" y="7007"/>
                  <a:pt x="11305" y="6946"/>
                  <a:pt x="11305" y="6946"/>
                </a:cubicBezTo>
                <a:cubicBezTo>
                  <a:pt x="11305" y="6946"/>
                  <a:pt x="11485" y="7307"/>
                  <a:pt x="11704" y="7745"/>
                </a:cubicBezTo>
                <a:close/>
                <a:moveTo>
                  <a:pt x="12176" y="7670"/>
                </a:moveTo>
                <a:lnTo>
                  <a:pt x="12176" y="7670"/>
                </a:lnTo>
                <a:cubicBezTo>
                  <a:pt x="12531" y="8386"/>
                  <a:pt x="12531" y="8386"/>
                  <a:pt x="12531" y="8386"/>
                </a:cubicBezTo>
                <a:cubicBezTo>
                  <a:pt x="12556" y="8450"/>
                  <a:pt x="12556" y="8450"/>
                  <a:pt x="12556" y="8450"/>
                </a:cubicBezTo>
                <a:cubicBezTo>
                  <a:pt x="12567" y="8486"/>
                  <a:pt x="12578" y="8516"/>
                  <a:pt x="12578" y="8516"/>
                </a:cubicBezTo>
                <a:cubicBezTo>
                  <a:pt x="12578" y="8519"/>
                  <a:pt x="12489" y="8427"/>
                  <a:pt x="12381" y="8314"/>
                </a:cubicBezTo>
                <a:cubicBezTo>
                  <a:pt x="12187" y="8111"/>
                  <a:pt x="12187" y="8111"/>
                  <a:pt x="12187" y="8111"/>
                </a:cubicBezTo>
                <a:cubicBezTo>
                  <a:pt x="12015" y="7579"/>
                  <a:pt x="12015" y="7579"/>
                  <a:pt x="12015" y="7579"/>
                </a:cubicBezTo>
                <a:cubicBezTo>
                  <a:pt x="11801" y="6913"/>
                  <a:pt x="11812" y="6946"/>
                  <a:pt x="11815" y="6949"/>
                </a:cubicBezTo>
                <a:cubicBezTo>
                  <a:pt x="11818" y="6952"/>
                  <a:pt x="11979" y="7274"/>
                  <a:pt x="12176" y="7670"/>
                </a:cubicBezTo>
                <a:close/>
                <a:moveTo>
                  <a:pt x="3209" y="6999"/>
                </a:moveTo>
                <a:lnTo>
                  <a:pt x="3209" y="6999"/>
                </a:lnTo>
                <a:cubicBezTo>
                  <a:pt x="3223" y="7035"/>
                  <a:pt x="3223" y="7038"/>
                  <a:pt x="3206" y="7032"/>
                </a:cubicBezTo>
                <a:cubicBezTo>
                  <a:pt x="3195" y="7032"/>
                  <a:pt x="3195" y="7027"/>
                  <a:pt x="3193" y="6974"/>
                </a:cubicBezTo>
                <a:cubicBezTo>
                  <a:pt x="3190" y="6944"/>
                  <a:pt x="3193" y="6946"/>
                  <a:pt x="3209" y="6999"/>
                </a:cubicBezTo>
                <a:close/>
                <a:moveTo>
                  <a:pt x="3159" y="7013"/>
                </a:moveTo>
                <a:lnTo>
                  <a:pt x="3159" y="7013"/>
                </a:lnTo>
                <a:cubicBezTo>
                  <a:pt x="3159" y="7030"/>
                  <a:pt x="3159" y="7035"/>
                  <a:pt x="3154" y="7038"/>
                </a:cubicBezTo>
                <a:cubicBezTo>
                  <a:pt x="3151" y="7038"/>
                  <a:pt x="3148" y="7038"/>
                  <a:pt x="3145" y="7038"/>
                </a:cubicBezTo>
                <a:cubicBezTo>
                  <a:pt x="3145" y="7038"/>
                  <a:pt x="3148" y="7024"/>
                  <a:pt x="3148" y="7007"/>
                </a:cubicBezTo>
                <a:cubicBezTo>
                  <a:pt x="3154" y="6974"/>
                  <a:pt x="3159" y="6980"/>
                  <a:pt x="3159" y="7013"/>
                </a:cubicBezTo>
                <a:close/>
                <a:moveTo>
                  <a:pt x="5237" y="7271"/>
                </a:moveTo>
                <a:lnTo>
                  <a:pt x="5237" y="7271"/>
                </a:lnTo>
                <a:cubicBezTo>
                  <a:pt x="5206" y="7426"/>
                  <a:pt x="5181" y="7557"/>
                  <a:pt x="5179" y="7559"/>
                </a:cubicBezTo>
                <a:cubicBezTo>
                  <a:pt x="5176" y="7562"/>
                  <a:pt x="5032" y="7446"/>
                  <a:pt x="5032" y="7440"/>
                </a:cubicBezTo>
                <a:cubicBezTo>
                  <a:pt x="5032" y="7437"/>
                  <a:pt x="5292" y="6985"/>
                  <a:pt x="5292" y="6985"/>
                </a:cubicBezTo>
                <a:cubicBezTo>
                  <a:pt x="5295" y="6985"/>
                  <a:pt x="5270" y="7116"/>
                  <a:pt x="5237" y="7271"/>
                </a:cubicBezTo>
                <a:close/>
                <a:moveTo>
                  <a:pt x="277" y="7007"/>
                </a:moveTo>
                <a:lnTo>
                  <a:pt x="277" y="7007"/>
                </a:lnTo>
                <a:cubicBezTo>
                  <a:pt x="277" y="7007"/>
                  <a:pt x="277" y="7010"/>
                  <a:pt x="275" y="7010"/>
                </a:cubicBezTo>
                <a:cubicBezTo>
                  <a:pt x="272" y="7010"/>
                  <a:pt x="272" y="7007"/>
                  <a:pt x="272" y="7007"/>
                </a:cubicBezTo>
                <a:cubicBezTo>
                  <a:pt x="275" y="7005"/>
                  <a:pt x="277" y="7002"/>
                  <a:pt x="277" y="7002"/>
                </a:cubicBezTo>
                <a:cubicBezTo>
                  <a:pt x="277" y="7002"/>
                  <a:pt x="277" y="7005"/>
                  <a:pt x="277" y="7007"/>
                </a:cubicBezTo>
                <a:close/>
                <a:moveTo>
                  <a:pt x="505" y="7104"/>
                </a:moveTo>
                <a:lnTo>
                  <a:pt x="505" y="7104"/>
                </a:lnTo>
                <a:cubicBezTo>
                  <a:pt x="527" y="7152"/>
                  <a:pt x="544" y="7193"/>
                  <a:pt x="544" y="7193"/>
                </a:cubicBezTo>
                <a:cubicBezTo>
                  <a:pt x="541" y="7196"/>
                  <a:pt x="491" y="7190"/>
                  <a:pt x="430" y="7182"/>
                </a:cubicBezTo>
                <a:cubicBezTo>
                  <a:pt x="322" y="7168"/>
                  <a:pt x="322" y="7168"/>
                  <a:pt x="322" y="7168"/>
                </a:cubicBezTo>
                <a:cubicBezTo>
                  <a:pt x="319" y="7146"/>
                  <a:pt x="319" y="7146"/>
                  <a:pt x="319" y="7146"/>
                </a:cubicBezTo>
                <a:cubicBezTo>
                  <a:pt x="319" y="7127"/>
                  <a:pt x="319" y="7127"/>
                  <a:pt x="319" y="7127"/>
                </a:cubicBezTo>
                <a:cubicBezTo>
                  <a:pt x="388" y="7068"/>
                  <a:pt x="388" y="7068"/>
                  <a:pt x="388" y="7068"/>
                </a:cubicBezTo>
                <a:cubicBezTo>
                  <a:pt x="427" y="7038"/>
                  <a:pt x="460" y="7013"/>
                  <a:pt x="460" y="7016"/>
                </a:cubicBezTo>
                <a:cubicBezTo>
                  <a:pt x="463" y="7016"/>
                  <a:pt x="483" y="7054"/>
                  <a:pt x="505" y="7104"/>
                </a:cubicBezTo>
                <a:close/>
                <a:moveTo>
                  <a:pt x="10683" y="7207"/>
                </a:moveTo>
                <a:lnTo>
                  <a:pt x="10683" y="7207"/>
                </a:lnTo>
                <a:cubicBezTo>
                  <a:pt x="10744" y="7307"/>
                  <a:pt x="10792" y="7393"/>
                  <a:pt x="10792" y="7396"/>
                </a:cubicBezTo>
                <a:cubicBezTo>
                  <a:pt x="10789" y="7398"/>
                  <a:pt x="8374" y="8896"/>
                  <a:pt x="8365" y="8899"/>
                </a:cubicBezTo>
                <a:cubicBezTo>
                  <a:pt x="8360" y="8899"/>
                  <a:pt x="8302" y="8949"/>
                  <a:pt x="9486" y="7942"/>
                </a:cubicBezTo>
                <a:cubicBezTo>
                  <a:pt x="10081" y="7435"/>
                  <a:pt x="10572" y="7018"/>
                  <a:pt x="10572" y="7018"/>
                </a:cubicBezTo>
                <a:cubicBezTo>
                  <a:pt x="10575" y="7021"/>
                  <a:pt x="10625" y="7104"/>
                  <a:pt x="10683" y="7207"/>
                </a:cubicBezTo>
                <a:close/>
                <a:moveTo>
                  <a:pt x="388" y="7021"/>
                </a:moveTo>
                <a:lnTo>
                  <a:pt x="388" y="7021"/>
                </a:lnTo>
                <a:cubicBezTo>
                  <a:pt x="388" y="7024"/>
                  <a:pt x="319" y="7080"/>
                  <a:pt x="316" y="7080"/>
                </a:cubicBezTo>
                <a:cubicBezTo>
                  <a:pt x="316" y="7080"/>
                  <a:pt x="316" y="7071"/>
                  <a:pt x="316" y="7057"/>
                </a:cubicBezTo>
                <a:cubicBezTo>
                  <a:pt x="316" y="7035"/>
                  <a:pt x="316" y="7035"/>
                  <a:pt x="316" y="7035"/>
                </a:cubicBezTo>
                <a:cubicBezTo>
                  <a:pt x="347" y="7030"/>
                  <a:pt x="347" y="7030"/>
                  <a:pt x="347" y="7030"/>
                </a:cubicBezTo>
                <a:cubicBezTo>
                  <a:pt x="377" y="7021"/>
                  <a:pt x="388" y="7018"/>
                  <a:pt x="388" y="7021"/>
                </a:cubicBezTo>
                <a:close/>
                <a:moveTo>
                  <a:pt x="10492" y="7038"/>
                </a:moveTo>
                <a:lnTo>
                  <a:pt x="10492" y="7038"/>
                </a:lnTo>
                <a:cubicBezTo>
                  <a:pt x="10464" y="7066"/>
                  <a:pt x="8188" y="8999"/>
                  <a:pt x="8185" y="8999"/>
                </a:cubicBezTo>
                <a:cubicBezTo>
                  <a:pt x="8185" y="8996"/>
                  <a:pt x="8402" y="7573"/>
                  <a:pt x="8404" y="7570"/>
                </a:cubicBezTo>
                <a:cubicBezTo>
                  <a:pt x="8404" y="7568"/>
                  <a:pt x="8818" y="7462"/>
                  <a:pt x="9322" y="7332"/>
                </a:cubicBezTo>
                <a:cubicBezTo>
                  <a:pt x="9826" y="7202"/>
                  <a:pt x="10295" y="7080"/>
                  <a:pt x="10364" y="7063"/>
                </a:cubicBezTo>
                <a:cubicBezTo>
                  <a:pt x="10434" y="7043"/>
                  <a:pt x="10492" y="7030"/>
                  <a:pt x="10495" y="7030"/>
                </a:cubicBezTo>
                <a:cubicBezTo>
                  <a:pt x="10500" y="7030"/>
                  <a:pt x="10498" y="7032"/>
                  <a:pt x="10492" y="7038"/>
                </a:cubicBezTo>
                <a:close/>
                <a:moveTo>
                  <a:pt x="44" y="7068"/>
                </a:moveTo>
                <a:lnTo>
                  <a:pt x="44" y="7068"/>
                </a:lnTo>
                <a:cubicBezTo>
                  <a:pt x="44" y="7102"/>
                  <a:pt x="44" y="7102"/>
                  <a:pt x="44" y="7102"/>
                </a:cubicBezTo>
                <a:cubicBezTo>
                  <a:pt x="39" y="7093"/>
                  <a:pt x="39" y="7093"/>
                  <a:pt x="39" y="7093"/>
                </a:cubicBezTo>
                <a:cubicBezTo>
                  <a:pt x="36" y="7088"/>
                  <a:pt x="33" y="7080"/>
                  <a:pt x="33" y="7068"/>
                </a:cubicBezTo>
                <a:cubicBezTo>
                  <a:pt x="33" y="7049"/>
                  <a:pt x="39" y="7030"/>
                  <a:pt x="39" y="7032"/>
                </a:cubicBezTo>
                <a:cubicBezTo>
                  <a:pt x="42" y="7032"/>
                  <a:pt x="42" y="7049"/>
                  <a:pt x="44" y="7068"/>
                </a:cubicBezTo>
                <a:close/>
                <a:moveTo>
                  <a:pt x="10794" y="7127"/>
                </a:moveTo>
                <a:lnTo>
                  <a:pt x="10794" y="7127"/>
                </a:lnTo>
                <a:cubicBezTo>
                  <a:pt x="10883" y="7177"/>
                  <a:pt x="10955" y="7215"/>
                  <a:pt x="10955" y="7218"/>
                </a:cubicBezTo>
                <a:cubicBezTo>
                  <a:pt x="10955" y="7221"/>
                  <a:pt x="10825" y="7368"/>
                  <a:pt x="10822" y="7368"/>
                </a:cubicBezTo>
                <a:cubicBezTo>
                  <a:pt x="10819" y="7368"/>
                  <a:pt x="10628" y="7046"/>
                  <a:pt x="10628" y="7041"/>
                </a:cubicBezTo>
                <a:cubicBezTo>
                  <a:pt x="10628" y="7038"/>
                  <a:pt x="10622" y="7035"/>
                  <a:pt x="10794" y="7127"/>
                </a:cubicBezTo>
                <a:close/>
                <a:moveTo>
                  <a:pt x="175" y="7082"/>
                </a:moveTo>
                <a:lnTo>
                  <a:pt x="175" y="7082"/>
                </a:lnTo>
                <a:cubicBezTo>
                  <a:pt x="175" y="7088"/>
                  <a:pt x="172" y="7093"/>
                  <a:pt x="169" y="7096"/>
                </a:cubicBezTo>
                <a:cubicBezTo>
                  <a:pt x="164" y="7099"/>
                  <a:pt x="164" y="7099"/>
                  <a:pt x="164" y="7099"/>
                </a:cubicBezTo>
                <a:cubicBezTo>
                  <a:pt x="164" y="7091"/>
                  <a:pt x="164" y="7091"/>
                  <a:pt x="164" y="7091"/>
                </a:cubicBezTo>
                <a:cubicBezTo>
                  <a:pt x="164" y="7085"/>
                  <a:pt x="164" y="7074"/>
                  <a:pt x="161" y="7063"/>
                </a:cubicBezTo>
                <a:cubicBezTo>
                  <a:pt x="161" y="7046"/>
                  <a:pt x="161" y="7046"/>
                  <a:pt x="161" y="7046"/>
                </a:cubicBezTo>
                <a:cubicBezTo>
                  <a:pt x="166" y="7060"/>
                  <a:pt x="166" y="7060"/>
                  <a:pt x="166" y="7060"/>
                </a:cubicBezTo>
                <a:cubicBezTo>
                  <a:pt x="172" y="7068"/>
                  <a:pt x="175" y="7077"/>
                  <a:pt x="175" y="7082"/>
                </a:cubicBezTo>
                <a:close/>
                <a:moveTo>
                  <a:pt x="283" y="7077"/>
                </a:moveTo>
                <a:lnTo>
                  <a:pt x="283" y="7077"/>
                </a:lnTo>
                <a:cubicBezTo>
                  <a:pt x="283" y="7110"/>
                  <a:pt x="283" y="7110"/>
                  <a:pt x="283" y="7110"/>
                </a:cubicBezTo>
                <a:cubicBezTo>
                  <a:pt x="261" y="7127"/>
                  <a:pt x="261" y="7127"/>
                  <a:pt x="261" y="7127"/>
                </a:cubicBezTo>
                <a:cubicBezTo>
                  <a:pt x="250" y="7135"/>
                  <a:pt x="241" y="7143"/>
                  <a:pt x="241" y="7143"/>
                </a:cubicBezTo>
                <a:cubicBezTo>
                  <a:pt x="239" y="7140"/>
                  <a:pt x="208" y="7066"/>
                  <a:pt x="211" y="7063"/>
                </a:cubicBezTo>
                <a:cubicBezTo>
                  <a:pt x="211" y="7060"/>
                  <a:pt x="269" y="7046"/>
                  <a:pt x="275" y="7046"/>
                </a:cubicBezTo>
                <a:cubicBezTo>
                  <a:pt x="283" y="7046"/>
                  <a:pt x="283" y="7046"/>
                  <a:pt x="283" y="7046"/>
                </a:cubicBezTo>
                <a:cubicBezTo>
                  <a:pt x="283" y="7077"/>
                  <a:pt x="283" y="7077"/>
                  <a:pt x="283" y="7077"/>
                </a:cubicBezTo>
                <a:close/>
                <a:moveTo>
                  <a:pt x="3198" y="7104"/>
                </a:moveTo>
                <a:lnTo>
                  <a:pt x="3198" y="7104"/>
                </a:lnTo>
                <a:cubicBezTo>
                  <a:pt x="3220" y="7107"/>
                  <a:pt x="3240" y="7113"/>
                  <a:pt x="3240" y="7116"/>
                </a:cubicBezTo>
                <a:cubicBezTo>
                  <a:pt x="3243" y="7116"/>
                  <a:pt x="3245" y="7260"/>
                  <a:pt x="3248" y="7432"/>
                </a:cubicBezTo>
                <a:cubicBezTo>
                  <a:pt x="3256" y="7792"/>
                  <a:pt x="3256" y="7806"/>
                  <a:pt x="3254" y="7803"/>
                </a:cubicBezTo>
                <a:cubicBezTo>
                  <a:pt x="3254" y="7803"/>
                  <a:pt x="3229" y="7651"/>
                  <a:pt x="3201" y="7462"/>
                </a:cubicBezTo>
                <a:cubicBezTo>
                  <a:pt x="3170" y="7276"/>
                  <a:pt x="3148" y="7116"/>
                  <a:pt x="3145" y="7110"/>
                </a:cubicBezTo>
                <a:cubicBezTo>
                  <a:pt x="3143" y="7096"/>
                  <a:pt x="3143" y="7096"/>
                  <a:pt x="3143" y="7096"/>
                </a:cubicBezTo>
                <a:cubicBezTo>
                  <a:pt x="3151" y="7096"/>
                  <a:pt x="3151" y="7096"/>
                  <a:pt x="3151" y="7096"/>
                </a:cubicBezTo>
                <a:cubicBezTo>
                  <a:pt x="3157" y="7096"/>
                  <a:pt x="3176" y="7099"/>
                  <a:pt x="3198" y="7104"/>
                </a:cubicBezTo>
                <a:close/>
                <a:moveTo>
                  <a:pt x="3184" y="7587"/>
                </a:moveTo>
                <a:lnTo>
                  <a:pt x="3184" y="7587"/>
                </a:lnTo>
                <a:cubicBezTo>
                  <a:pt x="3223" y="7848"/>
                  <a:pt x="3256" y="8067"/>
                  <a:pt x="3256" y="8070"/>
                </a:cubicBezTo>
                <a:cubicBezTo>
                  <a:pt x="3254" y="8072"/>
                  <a:pt x="3101" y="8042"/>
                  <a:pt x="2641" y="7948"/>
                </a:cubicBezTo>
                <a:cubicBezTo>
                  <a:pt x="2302" y="7881"/>
                  <a:pt x="2025" y="7823"/>
                  <a:pt x="2025" y="7823"/>
                </a:cubicBezTo>
                <a:cubicBezTo>
                  <a:pt x="2022" y="7823"/>
                  <a:pt x="2266" y="7662"/>
                  <a:pt x="2563" y="7462"/>
                </a:cubicBezTo>
                <a:cubicBezTo>
                  <a:pt x="2862" y="7265"/>
                  <a:pt x="3107" y="7104"/>
                  <a:pt x="3109" y="7104"/>
                </a:cubicBezTo>
                <a:cubicBezTo>
                  <a:pt x="3109" y="7107"/>
                  <a:pt x="3143" y="7324"/>
                  <a:pt x="3184" y="7587"/>
                </a:cubicBezTo>
                <a:close/>
                <a:moveTo>
                  <a:pt x="11829" y="7626"/>
                </a:moveTo>
                <a:lnTo>
                  <a:pt x="11829" y="7626"/>
                </a:lnTo>
                <a:cubicBezTo>
                  <a:pt x="12156" y="8128"/>
                  <a:pt x="12156" y="8128"/>
                  <a:pt x="12156" y="8128"/>
                </a:cubicBezTo>
                <a:cubicBezTo>
                  <a:pt x="12212" y="8472"/>
                  <a:pt x="12212" y="8472"/>
                  <a:pt x="12212" y="8472"/>
                </a:cubicBezTo>
                <a:cubicBezTo>
                  <a:pt x="12242" y="8658"/>
                  <a:pt x="12267" y="8816"/>
                  <a:pt x="12270" y="8821"/>
                </a:cubicBezTo>
                <a:cubicBezTo>
                  <a:pt x="12275" y="8846"/>
                  <a:pt x="12262" y="8818"/>
                  <a:pt x="12237" y="8752"/>
                </a:cubicBezTo>
                <a:cubicBezTo>
                  <a:pt x="12220" y="8708"/>
                  <a:pt x="12189" y="8641"/>
                  <a:pt x="12162" y="8585"/>
                </a:cubicBezTo>
                <a:cubicBezTo>
                  <a:pt x="12126" y="8511"/>
                  <a:pt x="11490" y="7116"/>
                  <a:pt x="11490" y="7107"/>
                </a:cubicBezTo>
                <a:cubicBezTo>
                  <a:pt x="11490" y="7102"/>
                  <a:pt x="11518" y="7143"/>
                  <a:pt x="11829" y="7626"/>
                </a:cubicBezTo>
                <a:close/>
                <a:moveTo>
                  <a:pt x="3434" y="7163"/>
                </a:moveTo>
                <a:lnTo>
                  <a:pt x="3434" y="7163"/>
                </a:lnTo>
                <a:cubicBezTo>
                  <a:pt x="3434" y="7165"/>
                  <a:pt x="3409" y="7423"/>
                  <a:pt x="3376" y="7731"/>
                </a:cubicBezTo>
                <a:cubicBezTo>
                  <a:pt x="3345" y="8039"/>
                  <a:pt x="3317" y="8294"/>
                  <a:pt x="3317" y="8297"/>
                </a:cubicBezTo>
                <a:cubicBezTo>
                  <a:pt x="3317" y="8300"/>
                  <a:pt x="3317" y="8300"/>
                  <a:pt x="3317" y="8300"/>
                </a:cubicBezTo>
                <a:cubicBezTo>
                  <a:pt x="3315" y="8297"/>
                  <a:pt x="3279" y="7129"/>
                  <a:pt x="3281" y="7124"/>
                </a:cubicBezTo>
                <a:cubicBezTo>
                  <a:pt x="3281" y="7124"/>
                  <a:pt x="3315" y="7129"/>
                  <a:pt x="3356" y="7138"/>
                </a:cubicBezTo>
                <a:cubicBezTo>
                  <a:pt x="3431" y="7152"/>
                  <a:pt x="3431" y="7152"/>
                  <a:pt x="3431" y="7152"/>
                </a:cubicBezTo>
                <a:cubicBezTo>
                  <a:pt x="3434" y="7163"/>
                  <a:pt x="3434" y="7163"/>
                  <a:pt x="3434" y="7163"/>
                </a:cubicBezTo>
                <a:close/>
                <a:moveTo>
                  <a:pt x="4430" y="7224"/>
                </a:moveTo>
                <a:lnTo>
                  <a:pt x="4430" y="7224"/>
                </a:lnTo>
                <a:cubicBezTo>
                  <a:pt x="4416" y="7304"/>
                  <a:pt x="4416" y="7304"/>
                  <a:pt x="4416" y="7304"/>
                </a:cubicBezTo>
                <a:cubicBezTo>
                  <a:pt x="4407" y="7312"/>
                  <a:pt x="4407" y="7312"/>
                  <a:pt x="4407" y="7312"/>
                </a:cubicBezTo>
                <a:cubicBezTo>
                  <a:pt x="4396" y="7329"/>
                  <a:pt x="4080" y="7656"/>
                  <a:pt x="4077" y="7656"/>
                </a:cubicBezTo>
                <a:cubicBezTo>
                  <a:pt x="4077" y="7654"/>
                  <a:pt x="4158" y="7537"/>
                  <a:pt x="4258" y="7396"/>
                </a:cubicBezTo>
                <a:cubicBezTo>
                  <a:pt x="4358" y="7254"/>
                  <a:pt x="4441" y="7140"/>
                  <a:pt x="4441" y="7140"/>
                </a:cubicBezTo>
                <a:cubicBezTo>
                  <a:pt x="4444" y="7140"/>
                  <a:pt x="4438" y="7179"/>
                  <a:pt x="4430" y="7224"/>
                </a:cubicBezTo>
                <a:close/>
                <a:moveTo>
                  <a:pt x="1756" y="7476"/>
                </a:moveTo>
                <a:lnTo>
                  <a:pt x="1756" y="7476"/>
                </a:lnTo>
                <a:cubicBezTo>
                  <a:pt x="1856" y="7640"/>
                  <a:pt x="1936" y="7776"/>
                  <a:pt x="1936" y="7778"/>
                </a:cubicBezTo>
                <a:cubicBezTo>
                  <a:pt x="1936" y="7784"/>
                  <a:pt x="1612" y="8208"/>
                  <a:pt x="1609" y="8208"/>
                </a:cubicBezTo>
                <a:cubicBezTo>
                  <a:pt x="1606" y="8208"/>
                  <a:pt x="1598" y="8028"/>
                  <a:pt x="1587" y="7706"/>
                </a:cubicBezTo>
                <a:cubicBezTo>
                  <a:pt x="1567" y="7129"/>
                  <a:pt x="1567" y="7171"/>
                  <a:pt x="1573" y="7174"/>
                </a:cubicBezTo>
                <a:cubicBezTo>
                  <a:pt x="1575" y="7177"/>
                  <a:pt x="1656" y="7312"/>
                  <a:pt x="1756" y="7476"/>
                </a:cubicBezTo>
                <a:close/>
                <a:moveTo>
                  <a:pt x="280" y="7207"/>
                </a:moveTo>
                <a:lnTo>
                  <a:pt x="280" y="7207"/>
                </a:lnTo>
                <a:cubicBezTo>
                  <a:pt x="283" y="7218"/>
                  <a:pt x="283" y="7218"/>
                  <a:pt x="283" y="7218"/>
                </a:cubicBezTo>
                <a:cubicBezTo>
                  <a:pt x="277" y="7210"/>
                  <a:pt x="277" y="7210"/>
                  <a:pt x="277" y="7210"/>
                </a:cubicBezTo>
                <a:cubicBezTo>
                  <a:pt x="269" y="7199"/>
                  <a:pt x="269" y="7193"/>
                  <a:pt x="277" y="7196"/>
                </a:cubicBezTo>
                <a:cubicBezTo>
                  <a:pt x="277" y="7196"/>
                  <a:pt x="280" y="7202"/>
                  <a:pt x="280" y="7207"/>
                </a:cubicBezTo>
                <a:close/>
                <a:moveTo>
                  <a:pt x="447" y="7218"/>
                </a:moveTo>
                <a:lnTo>
                  <a:pt x="447" y="7218"/>
                </a:lnTo>
                <a:cubicBezTo>
                  <a:pt x="552" y="7232"/>
                  <a:pt x="552" y="7232"/>
                  <a:pt x="552" y="7232"/>
                </a:cubicBezTo>
                <a:cubicBezTo>
                  <a:pt x="552" y="7240"/>
                  <a:pt x="552" y="7240"/>
                  <a:pt x="552" y="7240"/>
                </a:cubicBezTo>
                <a:cubicBezTo>
                  <a:pt x="552" y="7249"/>
                  <a:pt x="502" y="7490"/>
                  <a:pt x="497" y="7498"/>
                </a:cubicBezTo>
                <a:cubicBezTo>
                  <a:pt x="494" y="7509"/>
                  <a:pt x="386" y="7379"/>
                  <a:pt x="347" y="7321"/>
                </a:cubicBezTo>
                <a:cubicBezTo>
                  <a:pt x="319" y="7276"/>
                  <a:pt x="319" y="7276"/>
                  <a:pt x="319" y="7276"/>
                </a:cubicBezTo>
                <a:cubicBezTo>
                  <a:pt x="319" y="7240"/>
                  <a:pt x="319" y="7240"/>
                  <a:pt x="319" y="7240"/>
                </a:cubicBezTo>
                <a:cubicBezTo>
                  <a:pt x="319" y="7202"/>
                  <a:pt x="319" y="7202"/>
                  <a:pt x="319" y="7202"/>
                </a:cubicBezTo>
                <a:cubicBezTo>
                  <a:pt x="330" y="7204"/>
                  <a:pt x="330" y="7204"/>
                  <a:pt x="330" y="7204"/>
                </a:cubicBezTo>
                <a:cubicBezTo>
                  <a:pt x="336" y="7204"/>
                  <a:pt x="388" y="7213"/>
                  <a:pt x="447" y="7218"/>
                </a:cubicBezTo>
                <a:close/>
                <a:moveTo>
                  <a:pt x="1537" y="7232"/>
                </a:moveTo>
                <a:lnTo>
                  <a:pt x="1537" y="7232"/>
                </a:lnTo>
                <a:cubicBezTo>
                  <a:pt x="1537" y="7249"/>
                  <a:pt x="1542" y="7465"/>
                  <a:pt x="1553" y="7712"/>
                </a:cubicBezTo>
                <a:cubicBezTo>
                  <a:pt x="1562" y="7959"/>
                  <a:pt x="1567" y="8161"/>
                  <a:pt x="1567" y="8161"/>
                </a:cubicBezTo>
                <a:cubicBezTo>
                  <a:pt x="1564" y="8164"/>
                  <a:pt x="1517" y="8053"/>
                  <a:pt x="1462" y="7917"/>
                </a:cubicBezTo>
                <a:cubicBezTo>
                  <a:pt x="1359" y="7670"/>
                  <a:pt x="1359" y="7670"/>
                  <a:pt x="1359" y="7670"/>
                </a:cubicBezTo>
                <a:cubicBezTo>
                  <a:pt x="1445" y="7437"/>
                  <a:pt x="1445" y="7437"/>
                  <a:pt x="1445" y="7437"/>
                </a:cubicBezTo>
                <a:cubicBezTo>
                  <a:pt x="1492" y="7307"/>
                  <a:pt x="1531" y="7202"/>
                  <a:pt x="1534" y="7202"/>
                </a:cubicBezTo>
                <a:cubicBezTo>
                  <a:pt x="1534" y="7202"/>
                  <a:pt x="1537" y="7215"/>
                  <a:pt x="1537" y="7232"/>
                </a:cubicBezTo>
                <a:close/>
                <a:moveTo>
                  <a:pt x="166" y="7398"/>
                </a:moveTo>
                <a:lnTo>
                  <a:pt x="166" y="7398"/>
                </a:lnTo>
                <a:cubicBezTo>
                  <a:pt x="269" y="7582"/>
                  <a:pt x="269" y="7582"/>
                  <a:pt x="269" y="7582"/>
                </a:cubicBezTo>
                <a:cubicBezTo>
                  <a:pt x="275" y="7623"/>
                  <a:pt x="275" y="7623"/>
                  <a:pt x="275" y="7623"/>
                </a:cubicBezTo>
                <a:cubicBezTo>
                  <a:pt x="280" y="7648"/>
                  <a:pt x="283" y="7668"/>
                  <a:pt x="283" y="7673"/>
                </a:cubicBezTo>
                <a:cubicBezTo>
                  <a:pt x="286" y="7676"/>
                  <a:pt x="300" y="7687"/>
                  <a:pt x="316" y="7701"/>
                </a:cubicBezTo>
                <a:cubicBezTo>
                  <a:pt x="350" y="7723"/>
                  <a:pt x="350" y="7723"/>
                  <a:pt x="350" y="7723"/>
                </a:cubicBezTo>
                <a:cubicBezTo>
                  <a:pt x="377" y="7776"/>
                  <a:pt x="377" y="7776"/>
                  <a:pt x="377" y="7776"/>
                </a:cubicBezTo>
                <a:cubicBezTo>
                  <a:pt x="405" y="7826"/>
                  <a:pt x="405" y="7826"/>
                  <a:pt x="405" y="7826"/>
                </a:cubicBezTo>
                <a:cubicBezTo>
                  <a:pt x="499" y="8880"/>
                  <a:pt x="499" y="8880"/>
                  <a:pt x="499" y="8880"/>
                </a:cubicBezTo>
                <a:cubicBezTo>
                  <a:pt x="552" y="9459"/>
                  <a:pt x="594" y="9942"/>
                  <a:pt x="594" y="9953"/>
                </a:cubicBezTo>
                <a:cubicBezTo>
                  <a:pt x="596" y="9967"/>
                  <a:pt x="596" y="9967"/>
                  <a:pt x="594" y="9961"/>
                </a:cubicBezTo>
                <a:cubicBezTo>
                  <a:pt x="591" y="9953"/>
                  <a:pt x="61" y="7221"/>
                  <a:pt x="61" y="7213"/>
                </a:cubicBezTo>
                <a:cubicBezTo>
                  <a:pt x="61" y="7210"/>
                  <a:pt x="61" y="7210"/>
                  <a:pt x="64" y="7213"/>
                </a:cubicBezTo>
                <a:cubicBezTo>
                  <a:pt x="67" y="7213"/>
                  <a:pt x="111" y="7296"/>
                  <a:pt x="166" y="7398"/>
                </a:cubicBezTo>
                <a:close/>
                <a:moveTo>
                  <a:pt x="990" y="7221"/>
                </a:moveTo>
                <a:lnTo>
                  <a:pt x="990" y="7221"/>
                </a:lnTo>
                <a:cubicBezTo>
                  <a:pt x="990" y="7224"/>
                  <a:pt x="990" y="7224"/>
                  <a:pt x="990" y="7218"/>
                </a:cubicBezTo>
                <a:cubicBezTo>
                  <a:pt x="990" y="7215"/>
                  <a:pt x="990" y="7213"/>
                  <a:pt x="990" y="7215"/>
                </a:cubicBezTo>
                <a:cubicBezTo>
                  <a:pt x="993" y="7215"/>
                  <a:pt x="993" y="7218"/>
                  <a:pt x="990" y="7221"/>
                </a:cubicBezTo>
                <a:close/>
                <a:moveTo>
                  <a:pt x="4513" y="7243"/>
                </a:moveTo>
                <a:lnTo>
                  <a:pt x="4513" y="7243"/>
                </a:lnTo>
                <a:cubicBezTo>
                  <a:pt x="4518" y="7254"/>
                  <a:pt x="4524" y="7268"/>
                  <a:pt x="4524" y="7271"/>
                </a:cubicBezTo>
                <a:cubicBezTo>
                  <a:pt x="4524" y="7276"/>
                  <a:pt x="4521" y="7276"/>
                  <a:pt x="4516" y="7276"/>
                </a:cubicBezTo>
                <a:cubicBezTo>
                  <a:pt x="4504" y="7274"/>
                  <a:pt x="4504" y="7274"/>
                  <a:pt x="4504" y="7274"/>
                </a:cubicBezTo>
                <a:cubicBezTo>
                  <a:pt x="4502" y="7246"/>
                  <a:pt x="4502" y="7246"/>
                  <a:pt x="4502" y="7246"/>
                </a:cubicBezTo>
                <a:cubicBezTo>
                  <a:pt x="4502" y="7229"/>
                  <a:pt x="4502" y="7218"/>
                  <a:pt x="4504" y="7218"/>
                </a:cubicBezTo>
                <a:cubicBezTo>
                  <a:pt x="4504" y="7218"/>
                  <a:pt x="4510" y="7229"/>
                  <a:pt x="4513" y="7243"/>
                </a:cubicBezTo>
                <a:close/>
                <a:moveTo>
                  <a:pt x="4468" y="7263"/>
                </a:moveTo>
                <a:lnTo>
                  <a:pt x="4468" y="7263"/>
                </a:lnTo>
                <a:cubicBezTo>
                  <a:pt x="4468" y="7274"/>
                  <a:pt x="4466" y="7279"/>
                  <a:pt x="4463" y="7282"/>
                </a:cubicBezTo>
                <a:cubicBezTo>
                  <a:pt x="4457" y="7285"/>
                  <a:pt x="4457" y="7285"/>
                  <a:pt x="4457" y="7285"/>
                </a:cubicBezTo>
                <a:cubicBezTo>
                  <a:pt x="4460" y="7265"/>
                  <a:pt x="4460" y="7265"/>
                  <a:pt x="4460" y="7265"/>
                </a:cubicBezTo>
                <a:cubicBezTo>
                  <a:pt x="4460" y="7257"/>
                  <a:pt x="4460" y="7246"/>
                  <a:pt x="4460" y="7243"/>
                </a:cubicBezTo>
                <a:cubicBezTo>
                  <a:pt x="4460" y="7238"/>
                  <a:pt x="4460" y="7238"/>
                  <a:pt x="4460" y="7238"/>
                </a:cubicBezTo>
                <a:cubicBezTo>
                  <a:pt x="4466" y="7243"/>
                  <a:pt x="4466" y="7243"/>
                  <a:pt x="4466" y="7243"/>
                </a:cubicBezTo>
                <a:cubicBezTo>
                  <a:pt x="4468" y="7246"/>
                  <a:pt x="4468" y="7254"/>
                  <a:pt x="4468" y="7263"/>
                </a:cubicBezTo>
                <a:close/>
                <a:moveTo>
                  <a:pt x="275" y="7276"/>
                </a:moveTo>
                <a:lnTo>
                  <a:pt x="275" y="7276"/>
                </a:lnTo>
                <a:cubicBezTo>
                  <a:pt x="283" y="7293"/>
                  <a:pt x="283" y="7293"/>
                  <a:pt x="283" y="7293"/>
                </a:cubicBezTo>
                <a:cubicBezTo>
                  <a:pt x="286" y="7360"/>
                  <a:pt x="286" y="7360"/>
                  <a:pt x="286" y="7360"/>
                </a:cubicBezTo>
                <a:cubicBezTo>
                  <a:pt x="286" y="7398"/>
                  <a:pt x="286" y="7429"/>
                  <a:pt x="283" y="7429"/>
                </a:cubicBezTo>
                <a:cubicBezTo>
                  <a:pt x="280" y="7429"/>
                  <a:pt x="252" y="7257"/>
                  <a:pt x="252" y="7246"/>
                </a:cubicBezTo>
                <a:cubicBezTo>
                  <a:pt x="252" y="7238"/>
                  <a:pt x="266" y="7257"/>
                  <a:pt x="275" y="7276"/>
                </a:cubicBezTo>
                <a:close/>
                <a:moveTo>
                  <a:pt x="10986" y="7265"/>
                </a:moveTo>
                <a:lnTo>
                  <a:pt x="10986" y="7265"/>
                </a:lnTo>
                <a:cubicBezTo>
                  <a:pt x="11049" y="7451"/>
                  <a:pt x="11571" y="8979"/>
                  <a:pt x="11571" y="8979"/>
                </a:cubicBezTo>
                <a:cubicBezTo>
                  <a:pt x="11568" y="8985"/>
                  <a:pt x="11524" y="8874"/>
                  <a:pt x="11432" y="8630"/>
                </a:cubicBezTo>
                <a:cubicBezTo>
                  <a:pt x="11374" y="8477"/>
                  <a:pt x="11321" y="8339"/>
                  <a:pt x="11310" y="8322"/>
                </a:cubicBezTo>
                <a:cubicBezTo>
                  <a:pt x="11302" y="8303"/>
                  <a:pt x="11194" y="8089"/>
                  <a:pt x="11069" y="7851"/>
                </a:cubicBezTo>
                <a:cubicBezTo>
                  <a:pt x="10944" y="7609"/>
                  <a:pt x="10844" y="7410"/>
                  <a:pt x="10844" y="7407"/>
                </a:cubicBezTo>
                <a:cubicBezTo>
                  <a:pt x="10841" y="7404"/>
                  <a:pt x="10972" y="7251"/>
                  <a:pt x="10977" y="7251"/>
                </a:cubicBezTo>
                <a:cubicBezTo>
                  <a:pt x="10977" y="7251"/>
                  <a:pt x="10983" y="7257"/>
                  <a:pt x="10986" y="7265"/>
                </a:cubicBezTo>
                <a:close/>
                <a:moveTo>
                  <a:pt x="649" y="7362"/>
                </a:moveTo>
                <a:lnTo>
                  <a:pt x="649" y="7362"/>
                </a:lnTo>
                <a:cubicBezTo>
                  <a:pt x="682" y="7415"/>
                  <a:pt x="710" y="7459"/>
                  <a:pt x="710" y="7462"/>
                </a:cubicBezTo>
                <a:cubicBezTo>
                  <a:pt x="710" y="7465"/>
                  <a:pt x="682" y="7482"/>
                  <a:pt x="627" y="7509"/>
                </a:cubicBezTo>
                <a:cubicBezTo>
                  <a:pt x="577" y="7532"/>
                  <a:pt x="538" y="7551"/>
                  <a:pt x="535" y="7551"/>
                </a:cubicBezTo>
                <a:cubicBezTo>
                  <a:pt x="533" y="7551"/>
                  <a:pt x="530" y="7545"/>
                  <a:pt x="530" y="7543"/>
                </a:cubicBezTo>
                <a:cubicBezTo>
                  <a:pt x="527" y="7537"/>
                  <a:pt x="583" y="7268"/>
                  <a:pt x="585" y="7268"/>
                </a:cubicBezTo>
                <a:cubicBezTo>
                  <a:pt x="585" y="7268"/>
                  <a:pt x="616" y="7310"/>
                  <a:pt x="649" y="7362"/>
                </a:cubicBezTo>
                <a:close/>
                <a:moveTo>
                  <a:pt x="14320" y="9146"/>
                </a:moveTo>
                <a:lnTo>
                  <a:pt x="14320" y="9146"/>
                </a:lnTo>
                <a:cubicBezTo>
                  <a:pt x="15318" y="11267"/>
                  <a:pt x="15227" y="11071"/>
                  <a:pt x="15227" y="11076"/>
                </a:cubicBezTo>
                <a:cubicBezTo>
                  <a:pt x="15227" y="11079"/>
                  <a:pt x="15224" y="11082"/>
                  <a:pt x="15218" y="11079"/>
                </a:cubicBezTo>
                <a:cubicBezTo>
                  <a:pt x="15216" y="11079"/>
                  <a:pt x="15171" y="11071"/>
                  <a:pt x="15121" y="11059"/>
                </a:cubicBezTo>
                <a:cubicBezTo>
                  <a:pt x="15071" y="11051"/>
                  <a:pt x="15030" y="11043"/>
                  <a:pt x="15030" y="11040"/>
                </a:cubicBezTo>
                <a:cubicBezTo>
                  <a:pt x="15027" y="11037"/>
                  <a:pt x="13446" y="7301"/>
                  <a:pt x="13446" y="7290"/>
                </a:cubicBezTo>
                <a:cubicBezTo>
                  <a:pt x="13440" y="7276"/>
                  <a:pt x="13532" y="7471"/>
                  <a:pt x="14320" y="9146"/>
                </a:cubicBezTo>
                <a:close/>
                <a:moveTo>
                  <a:pt x="3498" y="7756"/>
                </a:moveTo>
                <a:lnTo>
                  <a:pt x="3498" y="7756"/>
                </a:lnTo>
                <a:cubicBezTo>
                  <a:pt x="3542" y="8178"/>
                  <a:pt x="3542" y="8178"/>
                  <a:pt x="3542" y="8178"/>
                </a:cubicBezTo>
                <a:cubicBezTo>
                  <a:pt x="3534" y="8192"/>
                  <a:pt x="3534" y="8192"/>
                  <a:pt x="3534" y="8192"/>
                </a:cubicBezTo>
                <a:cubicBezTo>
                  <a:pt x="3517" y="8217"/>
                  <a:pt x="3337" y="8508"/>
                  <a:pt x="3334" y="8508"/>
                </a:cubicBezTo>
                <a:cubicBezTo>
                  <a:pt x="3331" y="8511"/>
                  <a:pt x="3331" y="8508"/>
                  <a:pt x="3331" y="8502"/>
                </a:cubicBezTo>
                <a:cubicBezTo>
                  <a:pt x="3334" y="8491"/>
                  <a:pt x="3450" y="7343"/>
                  <a:pt x="3450" y="7335"/>
                </a:cubicBezTo>
                <a:cubicBezTo>
                  <a:pt x="3450" y="7332"/>
                  <a:pt x="3453" y="7332"/>
                  <a:pt x="3453" y="7332"/>
                </a:cubicBezTo>
                <a:cubicBezTo>
                  <a:pt x="3456" y="7335"/>
                  <a:pt x="3476" y="7523"/>
                  <a:pt x="3498" y="7756"/>
                </a:cubicBezTo>
                <a:close/>
                <a:moveTo>
                  <a:pt x="4571" y="7351"/>
                </a:moveTo>
                <a:lnTo>
                  <a:pt x="4571" y="7351"/>
                </a:lnTo>
                <a:cubicBezTo>
                  <a:pt x="4635" y="7362"/>
                  <a:pt x="4685" y="7368"/>
                  <a:pt x="4685" y="7371"/>
                </a:cubicBezTo>
                <a:cubicBezTo>
                  <a:pt x="4688" y="7371"/>
                  <a:pt x="4635" y="7545"/>
                  <a:pt x="4574" y="7759"/>
                </a:cubicBezTo>
                <a:cubicBezTo>
                  <a:pt x="4513" y="7973"/>
                  <a:pt x="4455" y="8172"/>
                  <a:pt x="4446" y="8206"/>
                </a:cubicBezTo>
                <a:cubicBezTo>
                  <a:pt x="4438" y="8239"/>
                  <a:pt x="4430" y="8267"/>
                  <a:pt x="4427" y="8269"/>
                </a:cubicBezTo>
                <a:cubicBezTo>
                  <a:pt x="4424" y="8272"/>
                  <a:pt x="4424" y="8250"/>
                  <a:pt x="4427" y="8219"/>
                </a:cubicBezTo>
                <a:cubicBezTo>
                  <a:pt x="4427" y="8189"/>
                  <a:pt x="4432" y="8009"/>
                  <a:pt x="4438" y="7817"/>
                </a:cubicBezTo>
                <a:cubicBezTo>
                  <a:pt x="4449" y="7373"/>
                  <a:pt x="4449" y="7335"/>
                  <a:pt x="4455" y="7335"/>
                </a:cubicBezTo>
                <a:cubicBezTo>
                  <a:pt x="4457" y="7335"/>
                  <a:pt x="4510" y="7343"/>
                  <a:pt x="4571" y="7351"/>
                </a:cubicBezTo>
                <a:close/>
                <a:moveTo>
                  <a:pt x="4865" y="7357"/>
                </a:moveTo>
                <a:lnTo>
                  <a:pt x="4865" y="7357"/>
                </a:lnTo>
                <a:cubicBezTo>
                  <a:pt x="4879" y="7368"/>
                  <a:pt x="4890" y="7376"/>
                  <a:pt x="4890" y="7379"/>
                </a:cubicBezTo>
                <a:cubicBezTo>
                  <a:pt x="4890" y="7379"/>
                  <a:pt x="4840" y="7362"/>
                  <a:pt x="4837" y="7357"/>
                </a:cubicBezTo>
                <a:cubicBezTo>
                  <a:pt x="4835" y="7354"/>
                  <a:pt x="4837" y="7340"/>
                  <a:pt x="4840" y="7340"/>
                </a:cubicBezTo>
                <a:cubicBezTo>
                  <a:pt x="4843" y="7340"/>
                  <a:pt x="4854" y="7349"/>
                  <a:pt x="4865" y="7357"/>
                </a:cubicBezTo>
                <a:close/>
                <a:moveTo>
                  <a:pt x="338" y="7379"/>
                </a:moveTo>
                <a:lnTo>
                  <a:pt x="338" y="7379"/>
                </a:lnTo>
                <a:cubicBezTo>
                  <a:pt x="344" y="7385"/>
                  <a:pt x="380" y="7440"/>
                  <a:pt x="416" y="7496"/>
                </a:cubicBezTo>
                <a:cubicBezTo>
                  <a:pt x="483" y="7601"/>
                  <a:pt x="483" y="7601"/>
                  <a:pt x="483" y="7601"/>
                </a:cubicBezTo>
                <a:cubicBezTo>
                  <a:pt x="624" y="7753"/>
                  <a:pt x="624" y="7753"/>
                  <a:pt x="624" y="7753"/>
                </a:cubicBezTo>
                <a:cubicBezTo>
                  <a:pt x="702" y="7837"/>
                  <a:pt x="763" y="7906"/>
                  <a:pt x="760" y="7903"/>
                </a:cubicBezTo>
                <a:cubicBezTo>
                  <a:pt x="760" y="7903"/>
                  <a:pt x="660" y="7848"/>
                  <a:pt x="538" y="7778"/>
                </a:cubicBezTo>
                <a:cubicBezTo>
                  <a:pt x="319" y="7656"/>
                  <a:pt x="319" y="7656"/>
                  <a:pt x="319" y="7656"/>
                </a:cubicBezTo>
                <a:cubicBezTo>
                  <a:pt x="319" y="7509"/>
                  <a:pt x="319" y="7509"/>
                  <a:pt x="319" y="7509"/>
                </a:cubicBezTo>
                <a:cubicBezTo>
                  <a:pt x="319" y="7426"/>
                  <a:pt x="322" y="7360"/>
                  <a:pt x="322" y="7362"/>
                </a:cubicBezTo>
                <a:cubicBezTo>
                  <a:pt x="325" y="7362"/>
                  <a:pt x="330" y="7371"/>
                  <a:pt x="338" y="7379"/>
                </a:cubicBezTo>
                <a:close/>
                <a:moveTo>
                  <a:pt x="4399" y="7875"/>
                </a:moveTo>
                <a:lnTo>
                  <a:pt x="4399" y="7875"/>
                </a:lnTo>
                <a:cubicBezTo>
                  <a:pt x="4394" y="8147"/>
                  <a:pt x="4385" y="8369"/>
                  <a:pt x="4385" y="8369"/>
                </a:cubicBezTo>
                <a:cubicBezTo>
                  <a:pt x="4385" y="8372"/>
                  <a:pt x="4382" y="8369"/>
                  <a:pt x="4380" y="8366"/>
                </a:cubicBezTo>
                <a:cubicBezTo>
                  <a:pt x="4377" y="8364"/>
                  <a:pt x="4277" y="8247"/>
                  <a:pt x="4161" y="8108"/>
                </a:cubicBezTo>
                <a:cubicBezTo>
                  <a:pt x="4041" y="7970"/>
                  <a:pt x="3944" y="7853"/>
                  <a:pt x="3944" y="7851"/>
                </a:cubicBezTo>
                <a:cubicBezTo>
                  <a:pt x="3944" y="7848"/>
                  <a:pt x="4050" y="7737"/>
                  <a:pt x="4177" y="7604"/>
                </a:cubicBezTo>
                <a:cubicBezTo>
                  <a:pt x="4410" y="7362"/>
                  <a:pt x="4410" y="7362"/>
                  <a:pt x="4410" y="7362"/>
                </a:cubicBezTo>
                <a:cubicBezTo>
                  <a:pt x="4413" y="7371"/>
                  <a:pt x="4413" y="7371"/>
                  <a:pt x="4413" y="7371"/>
                </a:cubicBezTo>
                <a:cubicBezTo>
                  <a:pt x="4413" y="7379"/>
                  <a:pt x="4407" y="7604"/>
                  <a:pt x="4399" y="7875"/>
                </a:cubicBezTo>
                <a:close/>
                <a:moveTo>
                  <a:pt x="11635" y="8034"/>
                </a:moveTo>
                <a:lnTo>
                  <a:pt x="11635" y="8034"/>
                </a:lnTo>
                <a:cubicBezTo>
                  <a:pt x="11926" y="8391"/>
                  <a:pt x="12167" y="8685"/>
                  <a:pt x="12173" y="8691"/>
                </a:cubicBezTo>
                <a:cubicBezTo>
                  <a:pt x="12176" y="8696"/>
                  <a:pt x="12231" y="8916"/>
                  <a:pt x="12350" y="9395"/>
                </a:cubicBezTo>
                <a:cubicBezTo>
                  <a:pt x="12445" y="9778"/>
                  <a:pt x="12522" y="10092"/>
                  <a:pt x="12520" y="10094"/>
                </a:cubicBezTo>
                <a:cubicBezTo>
                  <a:pt x="12520" y="10094"/>
                  <a:pt x="12520" y="10094"/>
                  <a:pt x="12517" y="10094"/>
                </a:cubicBezTo>
                <a:cubicBezTo>
                  <a:pt x="12514" y="10089"/>
                  <a:pt x="11091" y="7376"/>
                  <a:pt x="11091" y="7373"/>
                </a:cubicBezTo>
                <a:cubicBezTo>
                  <a:pt x="11091" y="7368"/>
                  <a:pt x="11108" y="7387"/>
                  <a:pt x="11635" y="8034"/>
                </a:cubicBezTo>
                <a:close/>
                <a:moveTo>
                  <a:pt x="4851" y="7415"/>
                </a:moveTo>
                <a:lnTo>
                  <a:pt x="4851" y="7415"/>
                </a:lnTo>
                <a:cubicBezTo>
                  <a:pt x="4918" y="7437"/>
                  <a:pt x="4973" y="7454"/>
                  <a:pt x="4973" y="7454"/>
                </a:cubicBezTo>
                <a:cubicBezTo>
                  <a:pt x="4976" y="7457"/>
                  <a:pt x="4543" y="8045"/>
                  <a:pt x="4527" y="8061"/>
                </a:cubicBezTo>
                <a:cubicBezTo>
                  <a:pt x="4524" y="8067"/>
                  <a:pt x="4521" y="8067"/>
                  <a:pt x="4521" y="8064"/>
                </a:cubicBezTo>
                <a:cubicBezTo>
                  <a:pt x="4524" y="8061"/>
                  <a:pt x="4568" y="7909"/>
                  <a:pt x="4621" y="7726"/>
                </a:cubicBezTo>
                <a:cubicBezTo>
                  <a:pt x="4674" y="7543"/>
                  <a:pt x="4718" y="7390"/>
                  <a:pt x="4718" y="7387"/>
                </a:cubicBezTo>
                <a:cubicBezTo>
                  <a:pt x="4721" y="7382"/>
                  <a:pt x="4724" y="7379"/>
                  <a:pt x="4726" y="7379"/>
                </a:cubicBezTo>
                <a:cubicBezTo>
                  <a:pt x="4729" y="7379"/>
                  <a:pt x="4787" y="7396"/>
                  <a:pt x="4851" y="7415"/>
                </a:cubicBezTo>
                <a:close/>
                <a:moveTo>
                  <a:pt x="11055" y="7900"/>
                </a:moveTo>
                <a:lnTo>
                  <a:pt x="11055" y="7900"/>
                </a:lnTo>
                <a:cubicBezTo>
                  <a:pt x="11180" y="8142"/>
                  <a:pt x="11280" y="8339"/>
                  <a:pt x="11280" y="8339"/>
                </a:cubicBezTo>
                <a:cubicBezTo>
                  <a:pt x="11280" y="8339"/>
                  <a:pt x="10750" y="8408"/>
                  <a:pt x="10106" y="8491"/>
                </a:cubicBezTo>
                <a:cubicBezTo>
                  <a:pt x="9461" y="8574"/>
                  <a:pt x="8931" y="8641"/>
                  <a:pt x="8926" y="8644"/>
                </a:cubicBezTo>
                <a:cubicBezTo>
                  <a:pt x="8923" y="8644"/>
                  <a:pt x="8917" y="8644"/>
                  <a:pt x="8917" y="8641"/>
                </a:cubicBezTo>
                <a:cubicBezTo>
                  <a:pt x="8917" y="8635"/>
                  <a:pt x="9081" y="8536"/>
                  <a:pt x="9181" y="8483"/>
                </a:cubicBezTo>
                <a:cubicBezTo>
                  <a:pt x="9264" y="8436"/>
                  <a:pt x="9383" y="8364"/>
                  <a:pt x="9729" y="8142"/>
                </a:cubicBezTo>
                <a:cubicBezTo>
                  <a:pt x="10173" y="7862"/>
                  <a:pt x="10173" y="7862"/>
                  <a:pt x="10173" y="7862"/>
                </a:cubicBezTo>
                <a:cubicBezTo>
                  <a:pt x="10492" y="7645"/>
                  <a:pt x="10492" y="7645"/>
                  <a:pt x="10492" y="7645"/>
                </a:cubicBezTo>
                <a:cubicBezTo>
                  <a:pt x="10811" y="7429"/>
                  <a:pt x="10811" y="7429"/>
                  <a:pt x="10811" y="7429"/>
                </a:cubicBezTo>
                <a:cubicBezTo>
                  <a:pt x="10822" y="7446"/>
                  <a:pt x="10822" y="7446"/>
                  <a:pt x="10822" y="7446"/>
                </a:cubicBezTo>
                <a:cubicBezTo>
                  <a:pt x="10828" y="7454"/>
                  <a:pt x="10933" y="7659"/>
                  <a:pt x="11055" y="7900"/>
                </a:cubicBezTo>
                <a:close/>
                <a:moveTo>
                  <a:pt x="219" y="8222"/>
                </a:moveTo>
                <a:lnTo>
                  <a:pt x="219" y="8222"/>
                </a:lnTo>
                <a:cubicBezTo>
                  <a:pt x="300" y="8644"/>
                  <a:pt x="422" y="9273"/>
                  <a:pt x="491" y="9626"/>
                </a:cubicBezTo>
                <a:cubicBezTo>
                  <a:pt x="560" y="9978"/>
                  <a:pt x="613" y="10266"/>
                  <a:pt x="613" y="10266"/>
                </a:cubicBezTo>
                <a:cubicBezTo>
                  <a:pt x="613" y="10266"/>
                  <a:pt x="533" y="10166"/>
                  <a:pt x="438" y="10042"/>
                </a:cubicBezTo>
                <a:cubicBezTo>
                  <a:pt x="261" y="9814"/>
                  <a:pt x="261" y="9814"/>
                  <a:pt x="261" y="9814"/>
                </a:cubicBezTo>
                <a:cubicBezTo>
                  <a:pt x="166" y="8649"/>
                  <a:pt x="166" y="8649"/>
                  <a:pt x="166" y="8649"/>
                </a:cubicBezTo>
                <a:cubicBezTo>
                  <a:pt x="111" y="8009"/>
                  <a:pt x="67" y="7476"/>
                  <a:pt x="67" y="7462"/>
                </a:cubicBezTo>
                <a:cubicBezTo>
                  <a:pt x="64" y="7446"/>
                  <a:pt x="67" y="7443"/>
                  <a:pt x="69" y="7451"/>
                </a:cubicBezTo>
                <a:cubicBezTo>
                  <a:pt x="69" y="7454"/>
                  <a:pt x="139" y="7803"/>
                  <a:pt x="219" y="8222"/>
                </a:cubicBezTo>
                <a:close/>
                <a:moveTo>
                  <a:pt x="11793" y="8791"/>
                </a:moveTo>
                <a:lnTo>
                  <a:pt x="11793" y="8791"/>
                </a:lnTo>
                <a:cubicBezTo>
                  <a:pt x="12608" y="10344"/>
                  <a:pt x="12497" y="10130"/>
                  <a:pt x="12495" y="10130"/>
                </a:cubicBezTo>
                <a:cubicBezTo>
                  <a:pt x="12495" y="10130"/>
                  <a:pt x="12320" y="9947"/>
                  <a:pt x="12109" y="9723"/>
                </a:cubicBezTo>
                <a:cubicBezTo>
                  <a:pt x="11726" y="9318"/>
                  <a:pt x="11726" y="9318"/>
                  <a:pt x="11726" y="9318"/>
                </a:cubicBezTo>
                <a:cubicBezTo>
                  <a:pt x="11407" y="8386"/>
                  <a:pt x="11407" y="8386"/>
                  <a:pt x="11407" y="8386"/>
                </a:cubicBezTo>
                <a:cubicBezTo>
                  <a:pt x="11233" y="7875"/>
                  <a:pt x="11086" y="7451"/>
                  <a:pt x="11086" y="7448"/>
                </a:cubicBezTo>
                <a:cubicBezTo>
                  <a:pt x="11086" y="7443"/>
                  <a:pt x="11086" y="7446"/>
                  <a:pt x="11091" y="7451"/>
                </a:cubicBezTo>
                <a:cubicBezTo>
                  <a:pt x="11094" y="7457"/>
                  <a:pt x="11410" y="8061"/>
                  <a:pt x="11793" y="8791"/>
                </a:cubicBezTo>
                <a:close/>
                <a:moveTo>
                  <a:pt x="5486" y="7931"/>
                </a:moveTo>
                <a:lnTo>
                  <a:pt x="5486" y="7931"/>
                </a:lnTo>
                <a:cubicBezTo>
                  <a:pt x="5952" y="8383"/>
                  <a:pt x="5952" y="8383"/>
                  <a:pt x="5952" y="8383"/>
                </a:cubicBezTo>
                <a:cubicBezTo>
                  <a:pt x="5947" y="8386"/>
                  <a:pt x="5947" y="8386"/>
                  <a:pt x="5947" y="8386"/>
                </a:cubicBezTo>
                <a:cubicBezTo>
                  <a:pt x="5930" y="8391"/>
                  <a:pt x="4510" y="8938"/>
                  <a:pt x="4507" y="8935"/>
                </a:cubicBezTo>
                <a:cubicBezTo>
                  <a:pt x="4507" y="8935"/>
                  <a:pt x="4674" y="8455"/>
                  <a:pt x="4968" y="7606"/>
                </a:cubicBezTo>
                <a:cubicBezTo>
                  <a:pt x="4993" y="7537"/>
                  <a:pt x="5015" y="7479"/>
                  <a:pt x="5018" y="7479"/>
                </a:cubicBezTo>
                <a:cubicBezTo>
                  <a:pt x="5018" y="7482"/>
                  <a:pt x="5228" y="7684"/>
                  <a:pt x="5486" y="7931"/>
                </a:cubicBezTo>
                <a:close/>
                <a:moveTo>
                  <a:pt x="724" y="7529"/>
                </a:moveTo>
                <a:lnTo>
                  <a:pt x="724" y="7529"/>
                </a:lnTo>
                <a:cubicBezTo>
                  <a:pt x="730" y="7587"/>
                  <a:pt x="738" y="7770"/>
                  <a:pt x="738" y="7778"/>
                </a:cubicBezTo>
                <a:cubicBezTo>
                  <a:pt x="735" y="7784"/>
                  <a:pt x="660" y="7698"/>
                  <a:pt x="569" y="7590"/>
                </a:cubicBezTo>
                <a:cubicBezTo>
                  <a:pt x="560" y="7579"/>
                  <a:pt x="560" y="7579"/>
                  <a:pt x="560" y="7579"/>
                </a:cubicBezTo>
                <a:cubicBezTo>
                  <a:pt x="638" y="7540"/>
                  <a:pt x="638" y="7540"/>
                  <a:pt x="638" y="7540"/>
                </a:cubicBezTo>
                <a:cubicBezTo>
                  <a:pt x="682" y="7520"/>
                  <a:pt x="718" y="7501"/>
                  <a:pt x="718" y="7501"/>
                </a:cubicBezTo>
                <a:cubicBezTo>
                  <a:pt x="721" y="7501"/>
                  <a:pt x="724" y="7515"/>
                  <a:pt x="724" y="7529"/>
                </a:cubicBezTo>
                <a:close/>
                <a:moveTo>
                  <a:pt x="915" y="7695"/>
                </a:moveTo>
                <a:lnTo>
                  <a:pt x="915" y="7695"/>
                </a:lnTo>
                <a:cubicBezTo>
                  <a:pt x="993" y="7781"/>
                  <a:pt x="1062" y="7856"/>
                  <a:pt x="1071" y="7864"/>
                </a:cubicBezTo>
                <a:cubicBezTo>
                  <a:pt x="1076" y="7873"/>
                  <a:pt x="1082" y="7878"/>
                  <a:pt x="1082" y="7881"/>
                </a:cubicBezTo>
                <a:cubicBezTo>
                  <a:pt x="1079" y="7881"/>
                  <a:pt x="1018" y="7878"/>
                  <a:pt x="940" y="7873"/>
                </a:cubicBezTo>
                <a:cubicBezTo>
                  <a:pt x="804" y="7862"/>
                  <a:pt x="804" y="7862"/>
                  <a:pt x="804" y="7862"/>
                </a:cubicBezTo>
                <a:cubicBezTo>
                  <a:pt x="793" y="7851"/>
                  <a:pt x="793" y="7851"/>
                  <a:pt x="793" y="7851"/>
                </a:cubicBezTo>
                <a:cubicBezTo>
                  <a:pt x="788" y="7845"/>
                  <a:pt x="779" y="7837"/>
                  <a:pt x="779" y="7831"/>
                </a:cubicBezTo>
                <a:cubicBezTo>
                  <a:pt x="777" y="7826"/>
                  <a:pt x="771" y="7767"/>
                  <a:pt x="768" y="7701"/>
                </a:cubicBezTo>
                <a:cubicBezTo>
                  <a:pt x="766" y="7634"/>
                  <a:pt x="763" y="7568"/>
                  <a:pt x="760" y="7551"/>
                </a:cubicBezTo>
                <a:cubicBezTo>
                  <a:pt x="760" y="7523"/>
                  <a:pt x="760" y="7523"/>
                  <a:pt x="760" y="7523"/>
                </a:cubicBezTo>
                <a:cubicBezTo>
                  <a:pt x="766" y="7529"/>
                  <a:pt x="766" y="7529"/>
                  <a:pt x="766" y="7529"/>
                </a:cubicBezTo>
                <a:cubicBezTo>
                  <a:pt x="771" y="7534"/>
                  <a:pt x="838" y="7606"/>
                  <a:pt x="915" y="7695"/>
                </a:cubicBezTo>
                <a:close/>
                <a:moveTo>
                  <a:pt x="4790" y="8003"/>
                </a:moveTo>
                <a:lnTo>
                  <a:pt x="4790" y="8003"/>
                </a:lnTo>
                <a:cubicBezTo>
                  <a:pt x="4704" y="8244"/>
                  <a:pt x="4632" y="8444"/>
                  <a:pt x="4632" y="8444"/>
                </a:cubicBezTo>
                <a:cubicBezTo>
                  <a:pt x="4627" y="8444"/>
                  <a:pt x="4496" y="8164"/>
                  <a:pt x="4499" y="8161"/>
                </a:cubicBezTo>
                <a:cubicBezTo>
                  <a:pt x="4510" y="8147"/>
                  <a:pt x="4937" y="7570"/>
                  <a:pt x="4940" y="7565"/>
                </a:cubicBezTo>
                <a:cubicBezTo>
                  <a:pt x="4943" y="7562"/>
                  <a:pt x="4946" y="7559"/>
                  <a:pt x="4946" y="7559"/>
                </a:cubicBezTo>
                <a:cubicBezTo>
                  <a:pt x="4946" y="7559"/>
                  <a:pt x="4876" y="7759"/>
                  <a:pt x="4790" y="8003"/>
                </a:cubicBezTo>
                <a:close/>
                <a:moveTo>
                  <a:pt x="8363" y="7615"/>
                </a:moveTo>
                <a:lnTo>
                  <a:pt x="8363" y="7615"/>
                </a:lnTo>
                <a:cubicBezTo>
                  <a:pt x="8360" y="7618"/>
                  <a:pt x="8310" y="7939"/>
                  <a:pt x="8252" y="8325"/>
                </a:cubicBezTo>
                <a:cubicBezTo>
                  <a:pt x="8194" y="8710"/>
                  <a:pt x="8144" y="9029"/>
                  <a:pt x="8141" y="9029"/>
                </a:cubicBezTo>
                <a:cubicBezTo>
                  <a:pt x="8138" y="9035"/>
                  <a:pt x="6685" y="9229"/>
                  <a:pt x="6679" y="9226"/>
                </a:cubicBezTo>
                <a:cubicBezTo>
                  <a:pt x="6674" y="9226"/>
                  <a:pt x="8354" y="7609"/>
                  <a:pt x="8360" y="7609"/>
                </a:cubicBezTo>
                <a:cubicBezTo>
                  <a:pt x="8363" y="7609"/>
                  <a:pt x="8363" y="7612"/>
                  <a:pt x="8363" y="7615"/>
                </a:cubicBezTo>
                <a:close/>
                <a:moveTo>
                  <a:pt x="6529" y="7753"/>
                </a:moveTo>
                <a:lnTo>
                  <a:pt x="6529" y="7753"/>
                </a:lnTo>
                <a:cubicBezTo>
                  <a:pt x="7226" y="7826"/>
                  <a:pt x="7797" y="7884"/>
                  <a:pt x="7797" y="7884"/>
                </a:cubicBezTo>
                <a:cubicBezTo>
                  <a:pt x="7797" y="7887"/>
                  <a:pt x="7797" y="7887"/>
                  <a:pt x="7797" y="7887"/>
                </a:cubicBezTo>
                <a:cubicBezTo>
                  <a:pt x="7794" y="7889"/>
                  <a:pt x="5825" y="8167"/>
                  <a:pt x="5814" y="8167"/>
                </a:cubicBezTo>
                <a:cubicBezTo>
                  <a:pt x="5808" y="8167"/>
                  <a:pt x="5248" y="7631"/>
                  <a:pt x="5245" y="7623"/>
                </a:cubicBezTo>
                <a:cubicBezTo>
                  <a:pt x="5245" y="7620"/>
                  <a:pt x="5248" y="7620"/>
                  <a:pt x="5256" y="7620"/>
                </a:cubicBezTo>
                <a:cubicBezTo>
                  <a:pt x="5262" y="7623"/>
                  <a:pt x="5836" y="7681"/>
                  <a:pt x="6529" y="7753"/>
                </a:cubicBezTo>
                <a:close/>
                <a:moveTo>
                  <a:pt x="3764" y="7792"/>
                </a:moveTo>
                <a:lnTo>
                  <a:pt x="3764" y="7792"/>
                </a:lnTo>
                <a:cubicBezTo>
                  <a:pt x="3894" y="7859"/>
                  <a:pt x="3894" y="7859"/>
                  <a:pt x="3894" y="7859"/>
                </a:cubicBezTo>
                <a:cubicBezTo>
                  <a:pt x="3894" y="7867"/>
                  <a:pt x="3894" y="7867"/>
                  <a:pt x="3894" y="7867"/>
                </a:cubicBezTo>
                <a:cubicBezTo>
                  <a:pt x="3894" y="7873"/>
                  <a:pt x="3864" y="8139"/>
                  <a:pt x="3822" y="8461"/>
                </a:cubicBezTo>
                <a:cubicBezTo>
                  <a:pt x="3783" y="8782"/>
                  <a:pt x="3750" y="9049"/>
                  <a:pt x="3750" y="9051"/>
                </a:cubicBezTo>
                <a:cubicBezTo>
                  <a:pt x="3750" y="9057"/>
                  <a:pt x="3750" y="9060"/>
                  <a:pt x="3750" y="9060"/>
                </a:cubicBezTo>
                <a:cubicBezTo>
                  <a:pt x="3747" y="9060"/>
                  <a:pt x="3675" y="8275"/>
                  <a:pt x="3631" y="7776"/>
                </a:cubicBezTo>
                <a:cubicBezTo>
                  <a:pt x="3628" y="7748"/>
                  <a:pt x="3628" y="7728"/>
                  <a:pt x="3631" y="7728"/>
                </a:cubicBezTo>
                <a:cubicBezTo>
                  <a:pt x="3634" y="7728"/>
                  <a:pt x="3692" y="7756"/>
                  <a:pt x="3764" y="7792"/>
                </a:cubicBezTo>
                <a:close/>
                <a:moveTo>
                  <a:pt x="1373" y="7939"/>
                </a:moveTo>
                <a:lnTo>
                  <a:pt x="1373" y="7939"/>
                </a:lnTo>
                <a:cubicBezTo>
                  <a:pt x="1390" y="8028"/>
                  <a:pt x="1404" y="8100"/>
                  <a:pt x="1406" y="8103"/>
                </a:cubicBezTo>
                <a:cubicBezTo>
                  <a:pt x="1409" y="8114"/>
                  <a:pt x="1395" y="8106"/>
                  <a:pt x="1340" y="8061"/>
                </a:cubicBezTo>
                <a:cubicBezTo>
                  <a:pt x="1284" y="8017"/>
                  <a:pt x="1284" y="8017"/>
                  <a:pt x="1284" y="8017"/>
                </a:cubicBezTo>
                <a:cubicBezTo>
                  <a:pt x="1287" y="8011"/>
                  <a:pt x="1287" y="8011"/>
                  <a:pt x="1287" y="8011"/>
                </a:cubicBezTo>
                <a:cubicBezTo>
                  <a:pt x="1290" y="7992"/>
                  <a:pt x="1337" y="7773"/>
                  <a:pt x="1337" y="7770"/>
                </a:cubicBezTo>
                <a:cubicBezTo>
                  <a:pt x="1337" y="7756"/>
                  <a:pt x="1348" y="7801"/>
                  <a:pt x="1373" y="7939"/>
                </a:cubicBezTo>
                <a:close/>
                <a:moveTo>
                  <a:pt x="460" y="7806"/>
                </a:moveTo>
                <a:lnTo>
                  <a:pt x="460" y="7806"/>
                </a:lnTo>
                <a:cubicBezTo>
                  <a:pt x="483" y="7823"/>
                  <a:pt x="483" y="7823"/>
                  <a:pt x="483" y="7823"/>
                </a:cubicBezTo>
                <a:cubicBezTo>
                  <a:pt x="483" y="7842"/>
                  <a:pt x="483" y="7842"/>
                  <a:pt x="483" y="7842"/>
                </a:cubicBezTo>
                <a:cubicBezTo>
                  <a:pt x="483" y="7859"/>
                  <a:pt x="483" y="7859"/>
                  <a:pt x="483" y="7859"/>
                </a:cubicBezTo>
                <a:cubicBezTo>
                  <a:pt x="458" y="7834"/>
                  <a:pt x="458" y="7834"/>
                  <a:pt x="458" y="7834"/>
                </a:cubicBezTo>
                <a:cubicBezTo>
                  <a:pt x="444" y="7820"/>
                  <a:pt x="430" y="7801"/>
                  <a:pt x="427" y="7792"/>
                </a:cubicBezTo>
                <a:cubicBezTo>
                  <a:pt x="419" y="7778"/>
                  <a:pt x="419" y="7778"/>
                  <a:pt x="419" y="7778"/>
                </a:cubicBezTo>
                <a:cubicBezTo>
                  <a:pt x="430" y="7784"/>
                  <a:pt x="430" y="7784"/>
                  <a:pt x="430" y="7784"/>
                </a:cubicBezTo>
                <a:cubicBezTo>
                  <a:pt x="436" y="7787"/>
                  <a:pt x="449" y="7798"/>
                  <a:pt x="460" y="7806"/>
                </a:cubicBezTo>
                <a:close/>
                <a:moveTo>
                  <a:pt x="8077" y="7831"/>
                </a:moveTo>
                <a:lnTo>
                  <a:pt x="8077" y="7831"/>
                </a:lnTo>
                <a:cubicBezTo>
                  <a:pt x="7947" y="7959"/>
                  <a:pt x="6626" y="9223"/>
                  <a:pt x="6624" y="9223"/>
                </a:cubicBezTo>
                <a:cubicBezTo>
                  <a:pt x="6618" y="9223"/>
                  <a:pt x="6488" y="9024"/>
                  <a:pt x="6490" y="9021"/>
                </a:cubicBezTo>
                <a:cubicBezTo>
                  <a:pt x="6493" y="9021"/>
                  <a:pt x="6832" y="8766"/>
                  <a:pt x="7242" y="8455"/>
                </a:cubicBezTo>
                <a:cubicBezTo>
                  <a:pt x="7655" y="8145"/>
                  <a:pt x="8019" y="7870"/>
                  <a:pt x="8049" y="7842"/>
                </a:cubicBezTo>
                <a:cubicBezTo>
                  <a:pt x="8083" y="7814"/>
                  <a:pt x="8110" y="7795"/>
                  <a:pt x="8110" y="7795"/>
                </a:cubicBezTo>
                <a:cubicBezTo>
                  <a:pt x="8113" y="7795"/>
                  <a:pt x="8096" y="7809"/>
                  <a:pt x="8077" y="7831"/>
                </a:cubicBezTo>
                <a:close/>
                <a:moveTo>
                  <a:pt x="1972" y="7875"/>
                </a:moveTo>
                <a:lnTo>
                  <a:pt x="1972" y="7875"/>
                </a:lnTo>
                <a:cubicBezTo>
                  <a:pt x="1983" y="7906"/>
                  <a:pt x="2047" y="8086"/>
                  <a:pt x="2114" y="8278"/>
                </a:cubicBezTo>
                <a:cubicBezTo>
                  <a:pt x="2183" y="8472"/>
                  <a:pt x="2236" y="8627"/>
                  <a:pt x="2236" y="8630"/>
                </a:cubicBezTo>
                <a:cubicBezTo>
                  <a:pt x="2233" y="8630"/>
                  <a:pt x="2094" y="8547"/>
                  <a:pt x="1925" y="8447"/>
                </a:cubicBezTo>
                <a:cubicBezTo>
                  <a:pt x="1723" y="8328"/>
                  <a:pt x="1617" y="8264"/>
                  <a:pt x="1620" y="8261"/>
                </a:cubicBezTo>
                <a:cubicBezTo>
                  <a:pt x="1620" y="8255"/>
                  <a:pt x="1725" y="8117"/>
                  <a:pt x="1889" y="7900"/>
                </a:cubicBezTo>
                <a:cubicBezTo>
                  <a:pt x="1922" y="7856"/>
                  <a:pt x="1953" y="7820"/>
                  <a:pt x="1953" y="7820"/>
                </a:cubicBezTo>
                <a:cubicBezTo>
                  <a:pt x="1953" y="7823"/>
                  <a:pt x="1964" y="7848"/>
                  <a:pt x="1972" y="7875"/>
                </a:cubicBezTo>
                <a:close/>
                <a:moveTo>
                  <a:pt x="732" y="7931"/>
                </a:moveTo>
                <a:lnTo>
                  <a:pt x="732" y="7931"/>
                </a:lnTo>
                <a:cubicBezTo>
                  <a:pt x="890" y="8017"/>
                  <a:pt x="890" y="8017"/>
                  <a:pt x="890" y="8017"/>
                </a:cubicBezTo>
                <a:cubicBezTo>
                  <a:pt x="1243" y="8311"/>
                  <a:pt x="1243" y="8311"/>
                  <a:pt x="1243" y="8311"/>
                </a:cubicBezTo>
                <a:cubicBezTo>
                  <a:pt x="1437" y="8472"/>
                  <a:pt x="1600" y="8608"/>
                  <a:pt x="1606" y="8613"/>
                </a:cubicBezTo>
                <a:cubicBezTo>
                  <a:pt x="1614" y="8624"/>
                  <a:pt x="1614" y="8624"/>
                  <a:pt x="1614" y="8624"/>
                </a:cubicBezTo>
                <a:cubicBezTo>
                  <a:pt x="1603" y="8613"/>
                  <a:pt x="1603" y="8613"/>
                  <a:pt x="1603" y="8613"/>
                </a:cubicBezTo>
                <a:cubicBezTo>
                  <a:pt x="1539" y="8569"/>
                  <a:pt x="566" y="7842"/>
                  <a:pt x="560" y="7837"/>
                </a:cubicBezTo>
                <a:cubicBezTo>
                  <a:pt x="549" y="7826"/>
                  <a:pt x="549" y="7826"/>
                  <a:pt x="549" y="7826"/>
                </a:cubicBezTo>
                <a:cubicBezTo>
                  <a:pt x="563" y="7834"/>
                  <a:pt x="563" y="7834"/>
                  <a:pt x="563" y="7834"/>
                </a:cubicBezTo>
                <a:cubicBezTo>
                  <a:pt x="571" y="7837"/>
                  <a:pt x="646" y="7881"/>
                  <a:pt x="732" y="7931"/>
                </a:cubicBezTo>
                <a:close/>
                <a:moveTo>
                  <a:pt x="1473" y="8036"/>
                </a:moveTo>
                <a:lnTo>
                  <a:pt x="1473" y="8036"/>
                </a:lnTo>
                <a:cubicBezTo>
                  <a:pt x="1514" y="8133"/>
                  <a:pt x="1545" y="8211"/>
                  <a:pt x="1542" y="8211"/>
                </a:cubicBezTo>
                <a:cubicBezTo>
                  <a:pt x="1537" y="8211"/>
                  <a:pt x="1448" y="8145"/>
                  <a:pt x="1448" y="8142"/>
                </a:cubicBezTo>
                <a:cubicBezTo>
                  <a:pt x="1448" y="8139"/>
                  <a:pt x="1401" y="7895"/>
                  <a:pt x="1392" y="7856"/>
                </a:cubicBezTo>
                <a:cubicBezTo>
                  <a:pt x="1392" y="7848"/>
                  <a:pt x="1392" y="7848"/>
                  <a:pt x="1392" y="7848"/>
                </a:cubicBezTo>
                <a:cubicBezTo>
                  <a:pt x="1395" y="7853"/>
                  <a:pt x="1395" y="7853"/>
                  <a:pt x="1395" y="7853"/>
                </a:cubicBezTo>
                <a:cubicBezTo>
                  <a:pt x="1398" y="7859"/>
                  <a:pt x="1434" y="7939"/>
                  <a:pt x="1473" y="8036"/>
                </a:cubicBezTo>
                <a:close/>
                <a:moveTo>
                  <a:pt x="552" y="7875"/>
                </a:moveTo>
                <a:lnTo>
                  <a:pt x="552" y="7875"/>
                </a:lnTo>
                <a:cubicBezTo>
                  <a:pt x="574" y="7895"/>
                  <a:pt x="574" y="7895"/>
                  <a:pt x="574" y="7895"/>
                </a:cubicBezTo>
                <a:cubicBezTo>
                  <a:pt x="574" y="7925"/>
                  <a:pt x="574" y="7925"/>
                  <a:pt x="574" y="7925"/>
                </a:cubicBezTo>
                <a:cubicBezTo>
                  <a:pt x="574" y="7956"/>
                  <a:pt x="574" y="7956"/>
                  <a:pt x="574" y="7956"/>
                </a:cubicBezTo>
                <a:cubicBezTo>
                  <a:pt x="552" y="7931"/>
                  <a:pt x="552" y="7931"/>
                  <a:pt x="552" y="7931"/>
                </a:cubicBezTo>
                <a:cubicBezTo>
                  <a:pt x="527" y="7906"/>
                  <a:pt x="527" y="7906"/>
                  <a:pt x="527" y="7906"/>
                </a:cubicBezTo>
                <a:cubicBezTo>
                  <a:pt x="524" y="7881"/>
                  <a:pt x="524" y="7881"/>
                  <a:pt x="524" y="7881"/>
                </a:cubicBezTo>
                <a:cubicBezTo>
                  <a:pt x="524" y="7864"/>
                  <a:pt x="524" y="7856"/>
                  <a:pt x="527" y="7856"/>
                </a:cubicBezTo>
                <a:cubicBezTo>
                  <a:pt x="527" y="7859"/>
                  <a:pt x="538" y="7867"/>
                  <a:pt x="552" y="7875"/>
                </a:cubicBezTo>
                <a:close/>
                <a:moveTo>
                  <a:pt x="2657" y="7989"/>
                </a:moveTo>
                <a:lnTo>
                  <a:pt x="2657" y="7989"/>
                </a:lnTo>
                <a:cubicBezTo>
                  <a:pt x="3259" y="8111"/>
                  <a:pt x="3259" y="8111"/>
                  <a:pt x="3259" y="8111"/>
                </a:cubicBezTo>
                <a:cubicBezTo>
                  <a:pt x="3259" y="8139"/>
                  <a:pt x="3259" y="8139"/>
                  <a:pt x="3259" y="8139"/>
                </a:cubicBezTo>
                <a:cubicBezTo>
                  <a:pt x="3259" y="8153"/>
                  <a:pt x="3254" y="8361"/>
                  <a:pt x="3245" y="8602"/>
                </a:cubicBezTo>
                <a:cubicBezTo>
                  <a:pt x="3237" y="8841"/>
                  <a:pt x="3229" y="9040"/>
                  <a:pt x="3229" y="9046"/>
                </a:cubicBezTo>
                <a:cubicBezTo>
                  <a:pt x="3229" y="9051"/>
                  <a:pt x="3026" y="8852"/>
                  <a:pt x="2380" y="8208"/>
                </a:cubicBezTo>
                <a:cubicBezTo>
                  <a:pt x="2033" y="7864"/>
                  <a:pt x="2033" y="7864"/>
                  <a:pt x="2033" y="7864"/>
                </a:cubicBezTo>
                <a:cubicBezTo>
                  <a:pt x="2044" y="7864"/>
                  <a:pt x="2044" y="7864"/>
                  <a:pt x="2044" y="7864"/>
                </a:cubicBezTo>
                <a:cubicBezTo>
                  <a:pt x="2050" y="7867"/>
                  <a:pt x="2327" y="7923"/>
                  <a:pt x="2657" y="7989"/>
                </a:cubicBezTo>
                <a:close/>
                <a:moveTo>
                  <a:pt x="538" y="7967"/>
                </a:moveTo>
                <a:lnTo>
                  <a:pt x="538" y="7967"/>
                </a:lnTo>
                <a:cubicBezTo>
                  <a:pt x="624" y="8061"/>
                  <a:pt x="624" y="8061"/>
                  <a:pt x="624" y="8061"/>
                </a:cubicBezTo>
                <a:cubicBezTo>
                  <a:pt x="627" y="8414"/>
                  <a:pt x="627" y="8414"/>
                  <a:pt x="627" y="8414"/>
                </a:cubicBezTo>
                <a:cubicBezTo>
                  <a:pt x="630" y="8857"/>
                  <a:pt x="630" y="9911"/>
                  <a:pt x="627" y="9909"/>
                </a:cubicBezTo>
                <a:cubicBezTo>
                  <a:pt x="627" y="9906"/>
                  <a:pt x="444" y="7895"/>
                  <a:pt x="444" y="7881"/>
                </a:cubicBezTo>
                <a:cubicBezTo>
                  <a:pt x="444" y="7878"/>
                  <a:pt x="447" y="7875"/>
                  <a:pt x="447" y="7875"/>
                </a:cubicBezTo>
                <a:cubicBezTo>
                  <a:pt x="449" y="7875"/>
                  <a:pt x="491" y="7917"/>
                  <a:pt x="538" y="7967"/>
                </a:cubicBezTo>
                <a:close/>
                <a:moveTo>
                  <a:pt x="946" y="7906"/>
                </a:moveTo>
                <a:lnTo>
                  <a:pt x="946" y="7906"/>
                </a:lnTo>
                <a:cubicBezTo>
                  <a:pt x="996" y="7909"/>
                  <a:pt x="1037" y="7914"/>
                  <a:pt x="1043" y="7914"/>
                </a:cubicBezTo>
                <a:cubicBezTo>
                  <a:pt x="1049" y="7917"/>
                  <a:pt x="1032" y="7925"/>
                  <a:pt x="982" y="7948"/>
                </a:cubicBezTo>
                <a:cubicBezTo>
                  <a:pt x="943" y="7964"/>
                  <a:pt x="910" y="7978"/>
                  <a:pt x="910" y="7978"/>
                </a:cubicBezTo>
                <a:cubicBezTo>
                  <a:pt x="907" y="7981"/>
                  <a:pt x="893" y="7967"/>
                  <a:pt x="876" y="7948"/>
                </a:cubicBezTo>
                <a:cubicBezTo>
                  <a:pt x="860" y="7928"/>
                  <a:pt x="846" y="7912"/>
                  <a:pt x="840" y="7909"/>
                </a:cubicBezTo>
                <a:cubicBezTo>
                  <a:pt x="835" y="7900"/>
                  <a:pt x="835" y="7900"/>
                  <a:pt x="835" y="7900"/>
                </a:cubicBezTo>
                <a:cubicBezTo>
                  <a:pt x="846" y="7900"/>
                  <a:pt x="846" y="7900"/>
                  <a:pt x="846" y="7900"/>
                </a:cubicBezTo>
                <a:cubicBezTo>
                  <a:pt x="852" y="7900"/>
                  <a:pt x="899" y="7903"/>
                  <a:pt x="946" y="7906"/>
                </a:cubicBezTo>
                <a:close/>
                <a:moveTo>
                  <a:pt x="2655" y="8533"/>
                </a:moveTo>
                <a:lnTo>
                  <a:pt x="2655" y="8533"/>
                </a:lnTo>
                <a:cubicBezTo>
                  <a:pt x="2932" y="8807"/>
                  <a:pt x="3159" y="9035"/>
                  <a:pt x="3159" y="9035"/>
                </a:cubicBezTo>
                <a:cubicBezTo>
                  <a:pt x="3157" y="9038"/>
                  <a:pt x="2291" y="8663"/>
                  <a:pt x="2288" y="8660"/>
                </a:cubicBezTo>
                <a:cubicBezTo>
                  <a:pt x="2286" y="8658"/>
                  <a:pt x="2025" y="7914"/>
                  <a:pt x="2025" y="7912"/>
                </a:cubicBezTo>
                <a:cubicBezTo>
                  <a:pt x="2025" y="7906"/>
                  <a:pt x="2044" y="7925"/>
                  <a:pt x="2655" y="8533"/>
                </a:cubicBezTo>
                <a:close/>
                <a:moveTo>
                  <a:pt x="4169" y="8175"/>
                </a:moveTo>
                <a:lnTo>
                  <a:pt x="4169" y="8175"/>
                </a:lnTo>
                <a:cubicBezTo>
                  <a:pt x="4285" y="8311"/>
                  <a:pt x="4380" y="8422"/>
                  <a:pt x="4382" y="8425"/>
                </a:cubicBezTo>
                <a:cubicBezTo>
                  <a:pt x="4382" y="8427"/>
                  <a:pt x="4169" y="9282"/>
                  <a:pt x="4163" y="9301"/>
                </a:cubicBezTo>
                <a:cubicBezTo>
                  <a:pt x="4158" y="9309"/>
                  <a:pt x="4158" y="9309"/>
                  <a:pt x="4158" y="9309"/>
                </a:cubicBezTo>
                <a:cubicBezTo>
                  <a:pt x="4158" y="9295"/>
                  <a:pt x="4158" y="9295"/>
                  <a:pt x="4158" y="9295"/>
                </a:cubicBezTo>
                <a:cubicBezTo>
                  <a:pt x="4155" y="9287"/>
                  <a:pt x="4108" y="8979"/>
                  <a:pt x="4050" y="8608"/>
                </a:cubicBezTo>
                <a:cubicBezTo>
                  <a:pt x="3994" y="8236"/>
                  <a:pt x="3947" y="7928"/>
                  <a:pt x="3947" y="7923"/>
                </a:cubicBezTo>
                <a:cubicBezTo>
                  <a:pt x="3944" y="7912"/>
                  <a:pt x="3944" y="7912"/>
                  <a:pt x="3944" y="7912"/>
                </a:cubicBezTo>
                <a:cubicBezTo>
                  <a:pt x="3953" y="7920"/>
                  <a:pt x="3953" y="7920"/>
                  <a:pt x="3953" y="7920"/>
                </a:cubicBezTo>
                <a:cubicBezTo>
                  <a:pt x="3958" y="7925"/>
                  <a:pt x="4055" y="8039"/>
                  <a:pt x="4169" y="8175"/>
                </a:cubicBezTo>
                <a:close/>
                <a:moveTo>
                  <a:pt x="7888" y="7914"/>
                </a:moveTo>
                <a:lnTo>
                  <a:pt x="7888" y="7914"/>
                </a:lnTo>
                <a:cubicBezTo>
                  <a:pt x="7888" y="7914"/>
                  <a:pt x="6474" y="8990"/>
                  <a:pt x="6471" y="8990"/>
                </a:cubicBezTo>
                <a:cubicBezTo>
                  <a:pt x="6468" y="8990"/>
                  <a:pt x="6360" y="8855"/>
                  <a:pt x="6233" y="8685"/>
                </a:cubicBezTo>
                <a:cubicBezTo>
                  <a:pt x="5997" y="8378"/>
                  <a:pt x="5997" y="8378"/>
                  <a:pt x="5997" y="8378"/>
                </a:cubicBezTo>
                <a:cubicBezTo>
                  <a:pt x="5950" y="8330"/>
                  <a:pt x="5950" y="8330"/>
                  <a:pt x="5950" y="8330"/>
                </a:cubicBezTo>
                <a:cubicBezTo>
                  <a:pt x="5902" y="8286"/>
                  <a:pt x="5839" y="8206"/>
                  <a:pt x="5841" y="8203"/>
                </a:cubicBezTo>
                <a:cubicBezTo>
                  <a:pt x="5844" y="8200"/>
                  <a:pt x="7863" y="7914"/>
                  <a:pt x="7880" y="7912"/>
                </a:cubicBezTo>
                <a:cubicBezTo>
                  <a:pt x="7886" y="7912"/>
                  <a:pt x="7888" y="7912"/>
                  <a:pt x="7888" y="7914"/>
                </a:cubicBezTo>
                <a:close/>
                <a:moveTo>
                  <a:pt x="13640" y="9251"/>
                </a:moveTo>
                <a:lnTo>
                  <a:pt x="13640" y="9251"/>
                </a:lnTo>
                <a:cubicBezTo>
                  <a:pt x="13818" y="9986"/>
                  <a:pt x="13962" y="10588"/>
                  <a:pt x="13962" y="10588"/>
                </a:cubicBezTo>
                <a:cubicBezTo>
                  <a:pt x="13959" y="10588"/>
                  <a:pt x="12733" y="8125"/>
                  <a:pt x="12733" y="8120"/>
                </a:cubicBezTo>
                <a:cubicBezTo>
                  <a:pt x="12730" y="8117"/>
                  <a:pt x="13302" y="7917"/>
                  <a:pt x="13313" y="7917"/>
                </a:cubicBezTo>
                <a:cubicBezTo>
                  <a:pt x="13316" y="7917"/>
                  <a:pt x="13460" y="8513"/>
                  <a:pt x="13640" y="9251"/>
                </a:cubicBezTo>
                <a:close/>
                <a:moveTo>
                  <a:pt x="619" y="7925"/>
                </a:moveTo>
                <a:lnTo>
                  <a:pt x="619" y="7925"/>
                </a:lnTo>
                <a:cubicBezTo>
                  <a:pt x="619" y="7925"/>
                  <a:pt x="619" y="7928"/>
                  <a:pt x="616" y="7928"/>
                </a:cubicBezTo>
                <a:cubicBezTo>
                  <a:pt x="613" y="7931"/>
                  <a:pt x="610" y="7928"/>
                  <a:pt x="610" y="7928"/>
                </a:cubicBezTo>
                <a:cubicBezTo>
                  <a:pt x="610" y="7925"/>
                  <a:pt x="613" y="7923"/>
                  <a:pt x="616" y="7923"/>
                </a:cubicBezTo>
                <a:cubicBezTo>
                  <a:pt x="619" y="7923"/>
                  <a:pt x="619" y="7923"/>
                  <a:pt x="619" y="7925"/>
                </a:cubicBezTo>
                <a:close/>
                <a:moveTo>
                  <a:pt x="1151" y="7948"/>
                </a:moveTo>
                <a:lnTo>
                  <a:pt x="1151" y="7948"/>
                </a:lnTo>
                <a:cubicBezTo>
                  <a:pt x="1198" y="7989"/>
                  <a:pt x="1212" y="8000"/>
                  <a:pt x="1209" y="8003"/>
                </a:cubicBezTo>
                <a:cubicBezTo>
                  <a:pt x="1207" y="8006"/>
                  <a:pt x="985" y="7992"/>
                  <a:pt x="982" y="7989"/>
                </a:cubicBezTo>
                <a:cubicBezTo>
                  <a:pt x="982" y="7986"/>
                  <a:pt x="1115" y="7925"/>
                  <a:pt x="1121" y="7923"/>
                </a:cubicBezTo>
                <a:cubicBezTo>
                  <a:pt x="1123" y="7923"/>
                  <a:pt x="1137" y="7934"/>
                  <a:pt x="1151" y="7948"/>
                </a:cubicBezTo>
                <a:close/>
                <a:moveTo>
                  <a:pt x="674" y="7981"/>
                </a:moveTo>
                <a:lnTo>
                  <a:pt x="674" y="7981"/>
                </a:lnTo>
                <a:cubicBezTo>
                  <a:pt x="682" y="7986"/>
                  <a:pt x="682" y="7989"/>
                  <a:pt x="674" y="7992"/>
                </a:cubicBezTo>
                <a:cubicBezTo>
                  <a:pt x="671" y="7992"/>
                  <a:pt x="666" y="7992"/>
                  <a:pt x="666" y="7989"/>
                </a:cubicBezTo>
                <a:cubicBezTo>
                  <a:pt x="666" y="7989"/>
                  <a:pt x="666" y="7984"/>
                  <a:pt x="666" y="7981"/>
                </a:cubicBezTo>
                <a:cubicBezTo>
                  <a:pt x="663" y="7973"/>
                  <a:pt x="666" y="7973"/>
                  <a:pt x="674" y="7981"/>
                </a:cubicBezTo>
                <a:close/>
                <a:moveTo>
                  <a:pt x="4027" y="8691"/>
                </a:moveTo>
                <a:lnTo>
                  <a:pt x="4027" y="8691"/>
                </a:lnTo>
                <a:cubicBezTo>
                  <a:pt x="4086" y="9068"/>
                  <a:pt x="4133" y="9373"/>
                  <a:pt x="4130" y="9376"/>
                </a:cubicBezTo>
                <a:cubicBezTo>
                  <a:pt x="4130" y="9376"/>
                  <a:pt x="3794" y="9271"/>
                  <a:pt x="3794" y="9268"/>
                </a:cubicBezTo>
                <a:cubicBezTo>
                  <a:pt x="3792" y="9268"/>
                  <a:pt x="3822" y="8988"/>
                  <a:pt x="3855" y="8644"/>
                </a:cubicBezTo>
                <a:cubicBezTo>
                  <a:pt x="3889" y="8303"/>
                  <a:pt x="3916" y="8017"/>
                  <a:pt x="3916" y="8011"/>
                </a:cubicBezTo>
                <a:cubicBezTo>
                  <a:pt x="3916" y="8006"/>
                  <a:pt x="3919" y="8006"/>
                  <a:pt x="3922" y="8006"/>
                </a:cubicBezTo>
                <a:cubicBezTo>
                  <a:pt x="3922" y="8009"/>
                  <a:pt x="3972" y="8316"/>
                  <a:pt x="4027" y="8691"/>
                </a:cubicBezTo>
                <a:close/>
                <a:moveTo>
                  <a:pt x="707" y="8028"/>
                </a:moveTo>
                <a:lnTo>
                  <a:pt x="707" y="8028"/>
                </a:lnTo>
                <a:cubicBezTo>
                  <a:pt x="707" y="8031"/>
                  <a:pt x="707" y="8034"/>
                  <a:pt x="705" y="8034"/>
                </a:cubicBezTo>
                <a:cubicBezTo>
                  <a:pt x="699" y="8034"/>
                  <a:pt x="693" y="8025"/>
                  <a:pt x="696" y="8023"/>
                </a:cubicBezTo>
                <a:cubicBezTo>
                  <a:pt x="702" y="8017"/>
                  <a:pt x="707" y="8020"/>
                  <a:pt x="707" y="8028"/>
                </a:cubicBezTo>
                <a:close/>
                <a:moveTo>
                  <a:pt x="785" y="8050"/>
                </a:moveTo>
                <a:lnTo>
                  <a:pt x="785" y="8050"/>
                </a:lnTo>
                <a:cubicBezTo>
                  <a:pt x="785" y="8053"/>
                  <a:pt x="779" y="8064"/>
                  <a:pt x="774" y="8072"/>
                </a:cubicBezTo>
                <a:cubicBezTo>
                  <a:pt x="763" y="8092"/>
                  <a:pt x="763" y="8092"/>
                  <a:pt x="763" y="8092"/>
                </a:cubicBezTo>
                <a:cubicBezTo>
                  <a:pt x="754" y="8064"/>
                  <a:pt x="754" y="8064"/>
                  <a:pt x="754" y="8064"/>
                </a:cubicBezTo>
                <a:cubicBezTo>
                  <a:pt x="752" y="8047"/>
                  <a:pt x="749" y="8034"/>
                  <a:pt x="749" y="8028"/>
                </a:cubicBezTo>
                <a:cubicBezTo>
                  <a:pt x="749" y="8023"/>
                  <a:pt x="749" y="8023"/>
                  <a:pt x="749" y="8023"/>
                </a:cubicBezTo>
                <a:cubicBezTo>
                  <a:pt x="766" y="8034"/>
                  <a:pt x="766" y="8034"/>
                  <a:pt x="766" y="8034"/>
                </a:cubicBezTo>
                <a:cubicBezTo>
                  <a:pt x="774" y="8042"/>
                  <a:pt x="782" y="8050"/>
                  <a:pt x="785" y="8050"/>
                </a:cubicBezTo>
                <a:close/>
                <a:moveTo>
                  <a:pt x="1093" y="8034"/>
                </a:moveTo>
                <a:lnTo>
                  <a:pt x="1093" y="8034"/>
                </a:lnTo>
                <a:cubicBezTo>
                  <a:pt x="1143" y="8036"/>
                  <a:pt x="1184" y="8039"/>
                  <a:pt x="1187" y="8039"/>
                </a:cubicBezTo>
                <a:cubicBezTo>
                  <a:pt x="1195" y="8039"/>
                  <a:pt x="1093" y="8095"/>
                  <a:pt x="1085" y="8095"/>
                </a:cubicBezTo>
                <a:cubicBezTo>
                  <a:pt x="1079" y="8095"/>
                  <a:pt x="976" y="8031"/>
                  <a:pt x="976" y="8028"/>
                </a:cubicBezTo>
                <a:cubicBezTo>
                  <a:pt x="976" y="8025"/>
                  <a:pt x="996" y="8025"/>
                  <a:pt x="1093" y="8034"/>
                </a:cubicBezTo>
                <a:close/>
                <a:moveTo>
                  <a:pt x="3672" y="8638"/>
                </a:moveTo>
                <a:lnTo>
                  <a:pt x="3672" y="8638"/>
                </a:lnTo>
                <a:cubicBezTo>
                  <a:pt x="3700" y="8952"/>
                  <a:pt x="3722" y="9210"/>
                  <a:pt x="3722" y="9210"/>
                </a:cubicBezTo>
                <a:cubicBezTo>
                  <a:pt x="3717" y="9212"/>
                  <a:pt x="3592" y="9149"/>
                  <a:pt x="3589" y="9143"/>
                </a:cubicBezTo>
                <a:cubicBezTo>
                  <a:pt x="3589" y="9140"/>
                  <a:pt x="3595" y="8899"/>
                  <a:pt x="3600" y="8608"/>
                </a:cubicBezTo>
                <a:cubicBezTo>
                  <a:pt x="3609" y="8316"/>
                  <a:pt x="3614" y="8067"/>
                  <a:pt x="3614" y="8053"/>
                </a:cubicBezTo>
                <a:cubicBezTo>
                  <a:pt x="3617" y="8028"/>
                  <a:pt x="3617" y="8028"/>
                  <a:pt x="3617" y="8028"/>
                </a:cubicBezTo>
                <a:cubicBezTo>
                  <a:pt x="3620" y="8047"/>
                  <a:pt x="3620" y="8047"/>
                  <a:pt x="3620" y="8047"/>
                </a:cubicBezTo>
                <a:cubicBezTo>
                  <a:pt x="3620" y="8059"/>
                  <a:pt x="3645" y="8322"/>
                  <a:pt x="3672" y="8638"/>
                </a:cubicBezTo>
                <a:close/>
                <a:moveTo>
                  <a:pt x="1240" y="8061"/>
                </a:moveTo>
                <a:lnTo>
                  <a:pt x="1240" y="8061"/>
                </a:lnTo>
                <a:cubicBezTo>
                  <a:pt x="1240" y="8067"/>
                  <a:pt x="1218" y="8172"/>
                  <a:pt x="1215" y="8175"/>
                </a:cubicBezTo>
                <a:cubicBezTo>
                  <a:pt x="1215" y="8175"/>
                  <a:pt x="1121" y="8120"/>
                  <a:pt x="1121" y="8117"/>
                </a:cubicBezTo>
                <a:cubicBezTo>
                  <a:pt x="1121" y="8114"/>
                  <a:pt x="1232" y="8061"/>
                  <a:pt x="1237" y="8061"/>
                </a:cubicBezTo>
                <a:cubicBezTo>
                  <a:pt x="1240" y="8061"/>
                  <a:pt x="1240" y="8061"/>
                  <a:pt x="1240" y="8061"/>
                </a:cubicBezTo>
                <a:close/>
                <a:moveTo>
                  <a:pt x="1348" y="8114"/>
                </a:moveTo>
                <a:lnTo>
                  <a:pt x="1348" y="8114"/>
                </a:lnTo>
                <a:cubicBezTo>
                  <a:pt x="1384" y="8142"/>
                  <a:pt x="1440" y="8183"/>
                  <a:pt x="1470" y="8206"/>
                </a:cubicBezTo>
                <a:cubicBezTo>
                  <a:pt x="1498" y="8225"/>
                  <a:pt x="1523" y="8244"/>
                  <a:pt x="1526" y="8244"/>
                </a:cubicBezTo>
                <a:cubicBezTo>
                  <a:pt x="1531" y="8247"/>
                  <a:pt x="1512" y="8247"/>
                  <a:pt x="1420" y="8244"/>
                </a:cubicBezTo>
                <a:cubicBezTo>
                  <a:pt x="1320" y="8242"/>
                  <a:pt x="1320" y="8242"/>
                  <a:pt x="1320" y="8242"/>
                </a:cubicBezTo>
                <a:cubicBezTo>
                  <a:pt x="1287" y="8219"/>
                  <a:pt x="1287" y="8219"/>
                  <a:pt x="1287" y="8219"/>
                </a:cubicBezTo>
                <a:cubicBezTo>
                  <a:pt x="1265" y="8208"/>
                  <a:pt x="1251" y="8197"/>
                  <a:pt x="1251" y="8192"/>
                </a:cubicBezTo>
                <a:cubicBezTo>
                  <a:pt x="1251" y="8189"/>
                  <a:pt x="1257" y="8161"/>
                  <a:pt x="1262" y="8131"/>
                </a:cubicBezTo>
                <a:cubicBezTo>
                  <a:pt x="1276" y="8064"/>
                  <a:pt x="1276" y="8061"/>
                  <a:pt x="1279" y="8061"/>
                </a:cubicBezTo>
                <a:cubicBezTo>
                  <a:pt x="1279" y="8061"/>
                  <a:pt x="1312" y="8083"/>
                  <a:pt x="1348" y="8114"/>
                </a:cubicBezTo>
                <a:close/>
                <a:moveTo>
                  <a:pt x="827" y="8081"/>
                </a:moveTo>
                <a:lnTo>
                  <a:pt x="827" y="8081"/>
                </a:lnTo>
                <a:cubicBezTo>
                  <a:pt x="832" y="8083"/>
                  <a:pt x="835" y="8097"/>
                  <a:pt x="838" y="8125"/>
                </a:cubicBezTo>
                <a:cubicBezTo>
                  <a:pt x="843" y="8150"/>
                  <a:pt x="843" y="8172"/>
                  <a:pt x="843" y="8175"/>
                </a:cubicBezTo>
                <a:cubicBezTo>
                  <a:pt x="843" y="8183"/>
                  <a:pt x="843" y="8183"/>
                  <a:pt x="843" y="8183"/>
                </a:cubicBezTo>
                <a:cubicBezTo>
                  <a:pt x="813" y="8158"/>
                  <a:pt x="813" y="8158"/>
                  <a:pt x="813" y="8158"/>
                </a:cubicBezTo>
                <a:cubicBezTo>
                  <a:pt x="796" y="8147"/>
                  <a:pt x="782" y="8136"/>
                  <a:pt x="779" y="8133"/>
                </a:cubicBezTo>
                <a:cubicBezTo>
                  <a:pt x="777" y="8131"/>
                  <a:pt x="813" y="8075"/>
                  <a:pt x="818" y="8075"/>
                </a:cubicBezTo>
                <a:cubicBezTo>
                  <a:pt x="818" y="8075"/>
                  <a:pt x="824" y="8078"/>
                  <a:pt x="827" y="8081"/>
                </a:cubicBezTo>
                <a:close/>
                <a:moveTo>
                  <a:pt x="1135" y="8439"/>
                </a:moveTo>
                <a:lnTo>
                  <a:pt x="1135" y="8439"/>
                </a:lnTo>
                <a:cubicBezTo>
                  <a:pt x="1387" y="8624"/>
                  <a:pt x="1595" y="8777"/>
                  <a:pt x="1598" y="8780"/>
                </a:cubicBezTo>
                <a:cubicBezTo>
                  <a:pt x="1603" y="8782"/>
                  <a:pt x="1603" y="8782"/>
                  <a:pt x="1603" y="8782"/>
                </a:cubicBezTo>
                <a:cubicBezTo>
                  <a:pt x="1245" y="9540"/>
                  <a:pt x="1245" y="9540"/>
                  <a:pt x="1245" y="9540"/>
                </a:cubicBezTo>
                <a:cubicBezTo>
                  <a:pt x="1049" y="9953"/>
                  <a:pt x="885" y="10302"/>
                  <a:pt x="879" y="10311"/>
                </a:cubicBezTo>
                <a:cubicBezTo>
                  <a:pt x="871" y="10330"/>
                  <a:pt x="871" y="10330"/>
                  <a:pt x="871" y="10330"/>
                </a:cubicBezTo>
                <a:cubicBezTo>
                  <a:pt x="868" y="10316"/>
                  <a:pt x="868" y="10316"/>
                  <a:pt x="868" y="10316"/>
                </a:cubicBezTo>
                <a:cubicBezTo>
                  <a:pt x="868" y="10305"/>
                  <a:pt x="666" y="8108"/>
                  <a:pt x="666" y="8100"/>
                </a:cubicBezTo>
                <a:cubicBezTo>
                  <a:pt x="666" y="8097"/>
                  <a:pt x="669" y="8097"/>
                  <a:pt x="671" y="8100"/>
                </a:cubicBezTo>
                <a:cubicBezTo>
                  <a:pt x="674" y="8100"/>
                  <a:pt x="882" y="8253"/>
                  <a:pt x="1135" y="8439"/>
                </a:cubicBezTo>
                <a:close/>
                <a:moveTo>
                  <a:pt x="1040" y="8239"/>
                </a:moveTo>
                <a:lnTo>
                  <a:pt x="1040" y="8239"/>
                </a:lnTo>
                <a:cubicBezTo>
                  <a:pt x="1129" y="8305"/>
                  <a:pt x="1198" y="8361"/>
                  <a:pt x="1195" y="8361"/>
                </a:cubicBezTo>
                <a:cubicBezTo>
                  <a:pt x="1193" y="8361"/>
                  <a:pt x="1157" y="8353"/>
                  <a:pt x="1118" y="8344"/>
                </a:cubicBezTo>
                <a:cubicBezTo>
                  <a:pt x="1062" y="8330"/>
                  <a:pt x="1040" y="8325"/>
                  <a:pt x="1029" y="8316"/>
                </a:cubicBezTo>
                <a:cubicBezTo>
                  <a:pt x="1024" y="8314"/>
                  <a:pt x="987" y="8286"/>
                  <a:pt x="951" y="8261"/>
                </a:cubicBezTo>
                <a:cubicBezTo>
                  <a:pt x="888" y="8214"/>
                  <a:pt x="888" y="8214"/>
                  <a:pt x="888" y="8214"/>
                </a:cubicBezTo>
                <a:cubicBezTo>
                  <a:pt x="882" y="8186"/>
                  <a:pt x="882" y="8186"/>
                  <a:pt x="882" y="8186"/>
                </a:cubicBezTo>
                <a:cubicBezTo>
                  <a:pt x="876" y="8145"/>
                  <a:pt x="874" y="8120"/>
                  <a:pt x="876" y="8120"/>
                </a:cubicBezTo>
                <a:cubicBezTo>
                  <a:pt x="879" y="8120"/>
                  <a:pt x="951" y="8172"/>
                  <a:pt x="1040" y="8239"/>
                </a:cubicBezTo>
                <a:close/>
                <a:moveTo>
                  <a:pt x="13083" y="9298"/>
                </a:moveTo>
                <a:lnTo>
                  <a:pt x="13083" y="9298"/>
                </a:lnTo>
                <a:cubicBezTo>
                  <a:pt x="13293" y="9939"/>
                  <a:pt x="13468" y="10463"/>
                  <a:pt x="13468" y="10469"/>
                </a:cubicBezTo>
                <a:cubicBezTo>
                  <a:pt x="13468" y="10471"/>
                  <a:pt x="13465" y="10466"/>
                  <a:pt x="13463" y="10460"/>
                </a:cubicBezTo>
                <a:cubicBezTo>
                  <a:pt x="13346" y="10191"/>
                  <a:pt x="12753" y="8788"/>
                  <a:pt x="12730" y="8730"/>
                </a:cubicBezTo>
                <a:cubicBezTo>
                  <a:pt x="12714" y="8685"/>
                  <a:pt x="12689" y="8624"/>
                  <a:pt x="12675" y="8599"/>
                </a:cubicBezTo>
                <a:cubicBezTo>
                  <a:pt x="12650" y="8549"/>
                  <a:pt x="12489" y="8175"/>
                  <a:pt x="12492" y="8172"/>
                </a:cubicBezTo>
                <a:cubicBezTo>
                  <a:pt x="12495" y="8169"/>
                  <a:pt x="12678" y="8131"/>
                  <a:pt x="12686" y="8131"/>
                </a:cubicBezTo>
                <a:cubicBezTo>
                  <a:pt x="12694" y="8133"/>
                  <a:pt x="12694" y="8133"/>
                  <a:pt x="12694" y="8133"/>
                </a:cubicBezTo>
                <a:cubicBezTo>
                  <a:pt x="13083" y="9298"/>
                  <a:pt x="13083" y="9298"/>
                  <a:pt x="13083" y="9298"/>
                </a:cubicBezTo>
                <a:close/>
                <a:moveTo>
                  <a:pt x="13454" y="8164"/>
                </a:moveTo>
                <a:lnTo>
                  <a:pt x="13454" y="8164"/>
                </a:lnTo>
                <a:cubicBezTo>
                  <a:pt x="13601" y="8439"/>
                  <a:pt x="14966" y="11004"/>
                  <a:pt x="14966" y="11007"/>
                </a:cubicBezTo>
                <a:cubicBezTo>
                  <a:pt x="14966" y="11007"/>
                  <a:pt x="14819" y="10921"/>
                  <a:pt x="14644" y="10818"/>
                </a:cubicBezTo>
                <a:cubicBezTo>
                  <a:pt x="14322" y="10627"/>
                  <a:pt x="14322" y="10627"/>
                  <a:pt x="14322" y="10627"/>
                </a:cubicBezTo>
                <a:cubicBezTo>
                  <a:pt x="13879" y="9382"/>
                  <a:pt x="13879" y="9382"/>
                  <a:pt x="13879" y="9382"/>
                </a:cubicBezTo>
                <a:cubicBezTo>
                  <a:pt x="13635" y="8696"/>
                  <a:pt x="13435" y="8136"/>
                  <a:pt x="13432" y="8133"/>
                </a:cubicBezTo>
                <a:cubicBezTo>
                  <a:pt x="13432" y="8131"/>
                  <a:pt x="13432" y="8131"/>
                  <a:pt x="13435" y="8131"/>
                </a:cubicBezTo>
                <a:cubicBezTo>
                  <a:pt x="13435" y="8131"/>
                  <a:pt x="13443" y="8145"/>
                  <a:pt x="13454" y="8164"/>
                </a:cubicBezTo>
                <a:close/>
                <a:moveTo>
                  <a:pt x="1201" y="8208"/>
                </a:moveTo>
                <a:lnTo>
                  <a:pt x="1201" y="8208"/>
                </a:lnTo>
                <a:cubicBezTo>
                  <a:pt x="1207" y="8214"/>
                  <a:pt x="1209" y="8217"/>
                  <a:pt x="1209" y="8219"/>
                </a:cubicBezTo>
                <a:cubicBezTo>
                  <a:pt x="1207" y="8222"/>
                  <a:pt x="1162" y="8192"/>
                  <a:pt x="1162" y="8186"/>
                </a:cubicBezTo>
                <a:cubicBezTo>
                  <a:pt x="1162" y="8186"/>
                  <a:pt x="1182" y="8197"/>
                  <a:pt x="1201" y="8208"/>
                </a:cubicBezTo>
                <a:close/>
                <a:moveTo>
                  <a:pt x="12450" y="8439"/>
                </a:moveTo>
                <a:lnTo>
                  <a:pt x="12450" y="8439"/>
                </a:lnTo>
                <a:cubicBezTo>
                  <a:pt x="12669" y="8666"/>
                  <a:pt x="12669" y="8666"/>
                  <a:pt x="12669" y="8666"/>
                </a:cubicBezTo>
                <a:cubicBezTo>
                  <a:pt x="12786" y="9287"/>
                  <a:pt x="12786" y="9287"/>
                  <a:pt x="12786" y="9287"/>
                </a:cubicBezTo>
                <a:cubicBezTo>
                  <a:pt x="12852" y="9628"/>
                  <a:pt x="12902" y="9911"/>
                  <a:pt x="12902" y="9914"/>
                </a:cubicBezTo>
                <a:cubicBezTo>
                  <a:pt x="12902" y="9914"/>
                  <a:pt x="12750" y="9537"/>
                  <a:pt x="12567" y="9068"/>
                </a:cubicBezTo>
                <a:cubicBezTo>
                  <a:pt x="12184" y="8103"/>
                  <a:pt x="12225" y="8206"/>
                  <a:pt x="12228" y="8208"/>
                </a:cubicBezTo>
                <a:cubicBezTo>
                  <a:pt x="12231" y="8208"/>
                  <a:pt x="12331" y="8314"/>
                  <a:pt x="12450" y="8439"/>
                </a:cubicBezTo>
                <a:close/>
                <a:moveTo>
                  <a:pt x="4552" y="8364"/>
                </a:moveTo>
                <a:lnTo>
                  <a:pt x="4552" y="8364"/>
                </a:lnTo>
                <a:cubicBezTo>
                  <a:pt x="4585" y="8436"/>
                  <a:pt x="4613" y="8494"/>
                  <a:pt x="4613" y="8497"/>
                </a:cubicBezTo>
                <a:cubicBezTo>
                  <a:pt x="4613" y="8502"/>
                  <a:pt x="4538" y="8733"/>
                  <a:pt x="4460" y="8966"/>
                </a:cubicBezTo>
                <a:cubicBezTo>
                  <a:pt x="4435" y="9043"/>
                  <a:pt x="4402" y="9140"/>
                  <a:pt x="4388" y="9182"/>
                </a:cubicBezTo>
                <a:cubicBezTo>
                  <a:pt x="4374" y="9223"/>
                  <a:pt x="4363" y="9259"/>
                  <a:pt x="4363" y="9257"/>
                </a:cubicBezTo>
                <a:cubicBezTo>
                  <a:pt x="4363" y="9257"/>
                  <a:pt x="4391" y="9026"/>
                  <a:pt x="4424" y="8749"/>
                </a:cubicBezTo>
                <a:cubicBezTo>
                  <a:pt x="4457" y="8469"/>
                  <a:pt x="4482" y="8236"/>
                  <a:pt x="4482" y="8233"/>
                </a:cubicBezTo>
                <a:cubicBezTo>
                  <a:pt x="4482" y="8230"/>
                  <a:pt x="4485" y="8230"/>
                  <a:pt x="4488" y="8233"/>
                </a:cubicBezTo>
                <a:cubicBezTo>
                  <a:pt x="4488" y="8233"/>
                  <a:pt x="4518" y="8294"/>
                  <a:pt x="4552" y="8364"/>
                </a:cubicBezTo>
                <a:close/>
                <a:moveTo>
                  <a:pt x="13865" y="9451"/>
                </a:moveTo>
                <a:lnTo>
                  <a:pt x="13865" y="9451"/>
                </a:lnTo>
                <a:cubicBezTo>
                  <a:pt x="14095" y="10097"/>
                  <a:pt x="14284" y="10627"/>
                  <a:pt x="14281" y="10630"/>
                </a:cubicBezTo>
                <a:cubicBezTo>
                  <a:pt x="14278" y="10632"/>
                  <a:pt x="14034" y="10727"/>
                  <a:pt x="14034" y="10724"/>
                </a:cubicBezTo>
                <a:cubicBezTo>
                  <a:pt x="14031" y="10724"/>
                  <a:pt x="13438" y="8269"/>
                  <a:pt x="13435" y="8253"/>
                </a:cubicBezTo>
                <a:cubicBezTo>
                  <a:pt x="13432" y="8247"/>
                  <a:pt x="13435" y="8250"/>
                  <a:pt x="13440" y="8258"/>
                </a:cubicBezTo>
                <a:cubicBezTo>
                  <a:pt x="13443" y="8267"/>
                  <a:pt x="13635" y="8802"/>
                  <a:pt x="13865" y="9451"/>
                </a:cubicBezTo>
                <a:close/>
                <a:moveTo>
                  <a:pt x="3487" y="8627"/>
                </a:moveTo>
                <a:lnTo>
                  <a:pt x="3487" y="8627"/>
                </a:lnTo>
                <a:cubicBezTo>
                  <a:pt x="3464" y="8818"/>
                  <a:pt x="3442" y="8982"/>
                  <a:pt x="3442" y="8990"/>
                </a:cubicBezTo>
                <a:cubicBezTo>
                  <a:pt x="3439" y="9004"/>
                  <a:pt x="3439" y="9004"/>
                  <a:pt x="3439" y="9004"/>
                </a:cubicBezTo>
                <a:cubicBezTo>
                  <a:pt x="3437" y="8999"/>
                  <a:pt x="3437" y="8999"/>
                  <a:pt x="3437" y="8999"/>
                </a:cubicBezTo>
                <a:cubicBezTo>
                  <a:pt x="3434" y="8988"/>
                  <a:pt x="3326" y="8599"/>
                  <a:pt x="3326" y="8597"/>
                </a:cubicBezTo>
                <a:cubicBezTo>
                  <a:pt x="3326" y="8588"/>
                  <a:pt x="3528" y="8267"/>
                  <a:pt x="3528" y="8272"/>
                </a:cubicBezTo>
                <a:cubicBezTo>
                  <a:pt x="3528" y="8275"/>
                  <a:pt x="3512" y="8433"/>
                  <a:pt x="3487" y="8627"/>
                </a:cubicBezTo>
                <a:close/>
                <a:moveTo>
                  <a:pt x="1376" y="8316"/>
                </a:moveTo>
                <a:lnTo>
                  <a:pt x="1376" y="8316"/>
                </a:lnTo>
                <a:cubicBezTo>
                  <a:pt x="1412" y="8339"/>
                  <a:pt x="1442" y="8358"/>
                  <a:pt x="1442" y="8361"/>
                </a:cubicBezTo>
                <a:cubicBezTo>
                  <a:pt x="1442" y="8361"/>
                  <a:pt x="1440" y="8366"/>
                  <a:pt x="1434" y="8369"/>
                </a:cubicBezTo>
                <a:cubicBezTo>
                  <a:pt x="1426" y="8375"/>
                  <a:pt x="1426" y="8375"/>
                  <a:pt x="1426" y="8375"/>
                </a:cubicBezTo>
                <a:cubicBezTo>
                  <a:pt x="1356" y="8328"/>
                  <a:pt x="1356" y="8328"/>
                  <a:pt x="1356" y="8328"/>
                </a:cubicBezTo>
                <a:cubicBezTo>
                  <a:pt x="1318" y="8300"/>
                  <a:pt x="1284" y="8278"/>
                  <a:pt x="1284" y="8275"/>
                </a:cubicBezTo>
                <a:cubicBezTo>
                  <a:pt x="1284" y="8275"/>
                  <a:pt x="1290" y="8275"/>
                  <a:pt x="1295" y="8275"/>
                </a:cubicBezTo>
                <a:cubicBezTo>
                  <a:pt x="1304" y="8275"/>
                  <a:pt x="1326" y="8286"/>
                  <a:pt x="1376" y="8316"/>
                </a:cubicBezTo>
                <a:close/>
                <a:moveTo>
                  <a:pt x="1531" y="8286"/>
                </a:moveTo>
                <a:lnTo>
                  <a:pt x="1531" y="8286"/>
                </a:lnTo>
                <a:cubicBezTo>
                  <a:pt x="1537" y="8289"/>
                  <a:pt x="1537" y="8289"/>
                  <a:pt x="1537" y="8289"/>
                </a:cubicBezTo>
                <a:cubicBezTo>
                  <a:pt x="1509" y="8311"/>
                  <a:pt x="1509" y="8311"/>
                  <a:pt x="1509" y="8311"/>
                </a:cubicBezTo>
                <a:cubicBezTo>
                  <a:pt x="1492" y="8325"/>
                  <a:pt x="1478" y="8333"/>
                  <a:pt x="1476" y="8333"/>
                </a:cubicBezTo>
                <a:cubicBezTo>
                  <a:pt x="1470" y="8333"/>
                  <a:pt x="1392" y="8286"/>
                  <a:pt x="1390" y="8280"/>
                </a:cubicBezTo>
                <a:cubicBezTo>
                  <a:pt x="1387" y="8278"/>
                  <a:pt x="1520" y="8280"/>
                  <a:pt x="1531" y="8286"/>
                </a:cubicBezTo>
                <a:close/>
                <a:moveTo>
                  <a:pt x="1667" y="8341"/>
                </a:moveTo>
                <a:lnTo>
                  <a:pt x="1667" y="8341"/>
                </a:lnTo>
                <a:cubicBezTo>
                  <a:pt x="1709" y="8369"/>
                  <a:pt x="1739" y="8391"/>
                  <a:pt x="1739" y="8391"/>
                </a:cubicBezTo>
                <a:cubicBezTo>
                  <a:pt x="1739" y="8391"/>
                  <a:pt x="1698" y="8391"/>
                  <a:pt x="1648" y="8389"/>
                </a:cubicBezTo>
                <a:cubicBezTo>
                  <a:pt x="1556" y="8386"/>
                  <a:pt x="1556" y="8386"/>
                  <a:pt x="1556" y="8386"/>
                </a:cubicBezTo>
                <a:cubicBezTo>
                  <a:pt x="1534" y="8372"/>
                  <a:pt x="1534" y="8372"/>
                  <a:pt x="1534" y="8372"/>
                </a:cubicBezTo>
                <a:cubicBezTo>
                  <a:pt x="1520" y="8364"/>
                  <a:pt x="1512" y="8358"/>
                  <a:pt x="1512" y="8355"/>
                </a:cubicBezTo>
                <a:cubicBezTo>
                  <a:pt x="1512" y="8350"/>
                  <a:pt x="1587" y="8294"/>
                  <a:pt x="1589" y="8294"/>
                </a:cubicBezTo>
                <a:cubicBezTo>
                  <a:pt x="1592" y="8294"/>
                  <a:pt x="1628" y="8314"/>
                  <a:pt x="1667" y="8341"/>
                </a:cubicBezTo>
                <a:close/>
                <a:moveTo>
                  <a:pt x="1195" y="8397"/>
                </a:moveTo>
                <a:lnTo>
                  <a:pt x="1195" y="8397"/>
                </a:lnTo>
                <a:cubicBezTo>
                  <a:pt x="1234" y="8405"/>
                  <a:pt x="1268" y="8414"/>
                  <a:pt x="1273" y="8414"/>
                </a:cubicBezTo>
                <a:cubicBezTo>
                  <a:pt x="1281" y="8419"/>
                  <a:pt x="1281" y="8419"/>
                  <a:pt x="1281" y="8419"/>
                </a:cubicBezTo>
                <a:cubicBezTo>
                  <a:pt x="1276" y="8427"/>
                  <a:pt x="1276" y="8427"/>
                  <a:pt x="1276" y="8427"/>
                </a:cubicBezTo>
                <a:cubicBezTo>
                  <a:pt x="1276" y="8436"/>
                  <a:pt x="1268" y="8450"/>
                  <a:pt x="1262" y="8461"/>
                </a:cubicBezTo>
                <a:cubicBezTo>
                  <a:pt x="1254" y="8483"/>
                  <a:pt x="1254" y="8483"/>
                  <a:pt x="1254" y="8483"/>
                </a:cubicBezTo>
                <a:cubicBezTo>
                  <a:pt x="1193" y="8436"/>
                  <a:pt x="1193" y="8436"/>
                  <a:pt x="1193" y="8436"/>
                </a:cubicBezTo>
                <a:cubicBezTo>
                  <a:pt x="1129" y="8391"/>
                  <a:pt x="1118" y="8383"/>
                  <a:pt x="1123" y="8383"/>
                </a:cubicBezTo>
                <a:cubicBezTo>
                  <a:pt x="1126" y="8383"/>
                  <a:pt x="1159" y="8389"/>
                  <a:pt x="1195" y="8397"/>
                </a:cubicBezTo>
                <a:close/>
                <a:moveTo>
                  <a:pt x="11233" y="8386"/>
                </a:moveTo>
                <a:lnTo>
                  <a:pt x="11233" y="8386"/>
                </a:lnTo>
                <a:cubicBezTo>
                  <a:pt x="11233" y="8389"/>
                  <a:pt x="8604" y="10225"/>
                  <a:pt x="8601" y="10222"/>
                </a:cubicBezTo>
                <a:cubicBezTo>
                  <a:pt x="8598" y="10219"/>
                  <a:pt x="8848" y="8694"/>
                  <a:pt x="8851" y="8688"/>
                </a:cubicBezTo>
                <a:cubicBezTo>
                  <a:pt x="8851" y="8688"/>
                  <a:pt x="11210" y="8383"/>
                  <a:pt x="11227" y="8383"/>
                </a:cubicBezTo>
                <a:cubicBezTo>
                  <a:pt x="11230" y="8383"/>
                  <a:pt x="11233" y="8383"/>
                  <a:pt x="11233" y="8386"/>
                </a:cubicBezTo>
                <a:close/>
                <a:moveTo>
                  <a:pt x="12456" y="9068"/>
                </a:moveTo>
                <a:lnTo>
                  <a:pt x="12456" y="9068"/>
                </a:lnTo>
                <a:cubicBezTo>
                  <a:pt x="12575" y="9443"/>
                  <a:pt x="12675" y="9750"/>
                  <a:pt x="12672" y="9753"/>
                </a:cubicBezTo>
                <a:cubicBezTo>
                  <a:pt x="12672" y="9753"/>
                  <a:pt x="12594" y="9576"/>
                  <a:pt x="12500" y="9357"/>
                </a:cubicBezTo>
                <a:cubicBezTo>
                  <a:pt x="12328" y="8960"/>
                  <a:pt x="12328" y="8960"/>
                  <a:pt x="12328" y="8960"/>
                </a:cubicBezTo>
                <a:cubicBezTo>
                  <a:pt x="12281" y="8674"/>
                  <a:pt x="12281" y="8674"/>
                  <a:pt x="12281" y="8674"/>
                </a:cubicBezTo>
                <a:cubicBezTo>
                  <a:pt x="12234" y="8389"/>
                  <a:pt x="12234" y="8378"/>
                  <a:pt x="12237" y="8383"/>
                </a:cubicBezTo>
                <a:cubicBezTo>
                  <a:pt x="12237" y="8383"/>
                  <a:pt x="12336" y="8691"/>
                  <a:pt x="12456" y="9068"/>
                </a:cubicBezTo>
                <a:close/>
                <a:moveTo>
                  <a:pt x="11305" y="8397"/>
                </a:moveTo>
                <a:lnTo>
                  <a:pt x="11305" y="8397"/>
                </a:lnTo>
                <a:cubicBezTo>
                  <a:pt x="11307" y="8402"/>
                  <a:pt x="11346" y="8508"/>
                  <a:pt x="11393" y="8633"/>
                </a:cubicBezTo>
                <a:cubicBezTo>
                  <a:pt x="11441" y="8757"/>
                  <a:pt x="11479" y="8860"/>
                  <a:pt x="11479" y="8863"/>
                </a:cubicBezTo>
                <a:cubicBezTo>
                  <a:pt x="11479" y="8866"/>
                  <a:pt x="11485" y="8880"/>
                  <a:pt x="11490" y="8891"/>
                </a:cubicBezTo>
                <a:cubicBezTo>
                  <a:pt x="11496" y="8902"/>
                  <a:pt x="11621" y="9235"/>
                  <a:pt x="11768" y="9626"/>
                </a:cubicBezTo>
                <a:cubicBezTo>
                  <a:pt x="12037" y="10341"/>
                  <a:pt x="12037" y="10341"/>
                  <a:pt x="12037" y="10341"/>
                </a:cubicBezTo>
                <a:cubicBezTo>
                  <a:pt x="12001" y="10341"/>
                  <a:pt x="12001" y="10341"/>
                  <a:pt x="12001" y="10341"/>
                </a:cubicBezTo>
                <a:cubicBezTo>
                  <a:pt x="11956" y="10341"/>
                  <a:pt x="8637" y="10250"/>
                  <a:pt x="8635" y="10247"/>
                </a:cubicBezTo>
                <a:cubicBezTo>
                  <a:pt x="8635" y="10247"/>
                  <a:pt x="8754" y="10161"/>
                  <a:pt x="8901" y="10058"/>
                </a:cubicBezTo>
                <a:cubicBezTo>
                  <a:pt x="9048" y="9956"/>
                  <a:pt x="9646" y="9537"/>
                  <a:pt x="10228" y="9129"/>
                </a:cubicBezTo>
                <a:cubicBezTo>
                  <a:pt x="10814" y="8721"/>
                  <a:pt x="11294" y="8386"/>
                  <a:pt x="11296" y="8386"/>
                </a:cubicBezTo>
                <a:cubicBezTo>
                  <a:pt x="11299" y="8386"/>
                  <a:pt x="11302" y="8391"/>
                  <a:pt x="11305" y="8397"/>
                </a:cubicBezTo>
                <a:close/>
                <a:moveTo>
                  <a:pt x="13418" y="9578"/>
                </a:moveTo>
                <a:lnTo>
                  <a:pt x="13418" y="9578"/>
                </a:lnTo>
                <a:cubicBezTo>
                  <a:pt x="13734" y="10216"/>
                  <a:pt x="13995" y="10741"/>
                  <a:pt x="13995" y="10741"/>
                </a:cubicBezTo>
                <a:cubicBezTo>
                  <a:pt x="13995" y="10743"/>
                  <a:pt x="13973" y="10754"/>
                  <a:pt x="13948" y="10766"/>
                </a:cubicBezTo>
                <a:cubicBezTo>
                  <a:pt x="13920" y="10777"/>
                  <a:pt x="13859" y="10804"/>
                  <a:pt x="13809" y="10829"/>
                </a:cubicBezTo>
                <a:cubicBezTo>
                  <a:pt x="13762" y="10852"/>
                  <a:pt x="13721" y="10871"/>
                  <a:pt x="13721" y="10871"/>
                </a:cubicBezTo>
                <a:cubicBezTo>
                  <a:pt x="13718" y="10868"/>
                  <a:pt x="13521" y="10319"/>
                  <a:pt x="13279" y="9651"/>
                </a:cubicBezTo>
                <a:cubicBezTo>
                  <a:pt x="13038" y="8979"/>
                  <a:pt x="12839" y="8427"/>
                  <a:pt x="12836" y="8422"/>
                </a:cubicBezTo>
                <a:cubicBezTo>
                  <a:pt x="12833" y="8416"/>
                  <a:pt x="12833" y="8414"/>
                  <a:pt x="12836" y="8416"/>
                </a:cubicBezTo>
                <a:cubicBezTo>
                  <a:pt x="12839" y="8419"/>
                  <a:pt x="13099" y="8943"/>
                  <a:pt x="13418" y="9578"/>
                </a:cubicBezTo>
                <a:close/>
                <a:moveTo>
                  <a:pt x="1700" y="8516"/>
                </a:moveTo>
                <a:lnTo>
                  <a:pt x="1700" y="8516"/>
                </a:lnTo>
                <a:cubicBezTo>
                  <a:pt x="1856" y="8611"/>
                  <a:pt x="1856" y="8611"/>
                  <a:pt x="1856" y="8611"/>
                </a:cubicBezTo>
                <a:cubicBezTo>
                  <a:pt x="1861" y="8622"/>
                  <a:pt x="1861" y="8622"/>
                  <a:pt x="1861" y="8622"/>
                </a:cubicBezTo>
                <a:cubicBezTo>
                  <a:pt x="1864" y="8627"/>
                  <a:pt x="1864" y="8633"/>
                  <a:pt x="1861" y="8633"/>
                </a:cubicBezTo>
                <a:cubicBezTo>
                  <a:pt x="1858" y="8633"/>
                  <a:pt x="1512" y="8427"/>
                  <a:pt x="1503" y="8422"/>
                </a:cubicBezTo>
                <a:cubicBezTo>
                  <a:pt x="1503" y="8419"/>
                  <a:pt x="1509" y="8419"/>
                  <a:pt x="1523" y="8419"/>
                </a:cubicBezTo>
                <a:cubicBezTo>
                  <a:pt x="1542" y="8419"/>
                  <a:pt x="1542" y="8419"/>
                  <a:pt x="1542" y="8419"/>
                </a:cubicBezTo>
                <a:cubicBezTo>
                  <a:pt x="1700" y="8516"/>
                  <a:pt x="1700" y="8516"/>
                  <a:pt x="1700" y="8516"/>
                </a:cubicBezTo>
                <a:close/>
                <a:moveTo>
                  <a:pt x="1711" y="8427"/>
                </a:moveTo>
                <a:lnTo>
                  <a:pt x="1711" y="8427"/>
                </a:lnTo>
                <a:cubicBezTo>
                  <a:pt x="1767" y="8430"/>
                  <a:pt x="1795" y="8430"/>
                  <a:pt x="1795" y="8436"/>
                </a:cubicBezTo>
                <a:cubicBezTo>
                  <a:pt x="1800" y="8441"/>
                  <a:pt x="1836" y="8552"/>
                  <a:pt x="1833" y="8555"/>
                </a:cubicBezTo>
                <a:cubicBezTo>
                  <a:pt x="1833" y="8555"/>
                  <a:pt x="1631" y="8433"/>
                  <a:pt x="1623" y="8425"/>
                </a:cubicBezTo>
                <a:cubicBezTo>
                  <a:pt x="1620" y="8422"/>
                  <a:pt x="1614" y="8422"/>
                  <a:pt x="1711" y="8427"/>
                </a:cubicBezTo>
                <a:close/>
                <a:moveTo>
                  <a:pt x="1670" y="8563"/>
                </a:moveTo>
                <a:lnTo>
                  <a:pt x="1670" y="8563"/>
                </a:lnTo>
                <a:cubicBezTo>
                  <a:pt x="1892" y="8696"/>
                  <a:pt x="1892" y="8696"/>
                  <a:pt x="1892" y="8696"/>
                </a:cubicBezTo>
                <a:cubicBezTo>
                  <a:pt x="2141" y="8818"/>
                  <a:pt x="2141" y="8818"/>
                  <a:pt x="2141" y="8818"/>
                </a:cubicBezTo>
                <a:cubicBezTo>
                  <a:pt x="2277" y="8888"/>
                  <a:pt x="2391" y="8946"/>
                  <a:pt x="2391" y="8946"/>
                </a:cubicBezTo>
                <a:cubicBezTo>
                  <a:pt x="2391" y="8949"/>
                  <a:pt x="2347" y="8974"/>
                  <a:pt x="2294" y="9002"/>
                </a:cubicBezTo>
                <a:cubicBezTo>
                  <a:pt x="2194" y="9054"/>
                  <a:pt x="2194" y="9054"/>
                  <a:pt x="2194" y="9054"/>
                </a:cubicBezTo>
                <a:cubicBezTo>
                  <a:pt x="1825" y="8746"/>
                  <a:pt x="1825" y="8746"/>
                  <a:pt x="1825" y="8746"/>
                </a:cubicBezTo>
                <a:cubicBezTo>
                  <a:pt x="1423" y="8416"/>
                  <a:pt x="1440" y="8430"/>
                  <a:pt x="1445" y="8430"/>
                </a:cubicBezTo>
                <a:cubicBezTo>
                  <a:pt x="1445" y="8430"/>
                  <a:pt x="1548" y="8488"/>
                  <a:pt x="1670" y="8563"/>
                </a:cubicBezTo>
                <a:close/>
                <a:moveTo>
                  <a:pt x="6033" y="8888"/>
                </a:moveTo>
                <a:lnTo>
                  <a:pt x="6033" y="8888"/>
                </a:lnTo>
                <a:cubicBezTo>
                  <a:pt x="6066" y="9140"/>
                  <a:pt x="6091" y="9348"/>
                  <a:pt x="6091" y="9351"/>
                </a:cubicBezTo>
                <a:cubicBezTo>
                  <a:pt x="6086" y="9354"/>
                  <a:pt x="4837" y="9559"/>
                  <a:pt x="4837" y="9556"/>
                </a:cubicBezTo>
                <a:cubicBezTo>
                  <a:pt x="4835" y="9554"/>
                  <a:pt x="5966" y="8430"/>
                  <a:pt x="5969" y="8430"/>
                </a:cubicBezTo>
                <a:cubicBezTo>
                  <a:pt x="5972" y="8430"/>
                  <a:pt x="6000" y="8635"/>
                  <a:pt x="6033" y="8888"/>
                </a:cubicBezTo>
                <a:close/>
                <a:moveTo>
                  <a:pt x="5520" y="8827"/>
                </a:moveTo>
                <a:lnTo>
                  <a:pt x="5520" y="8827"/>
                </a:lnTo>
                <a:cubicBezTo>
                  <a:pt x="5303" y="9040"/>
                  <a:pt x="5051" y="9290"/>
                  <a:pt x="4957" y="9384"/>
                </a:cubicBezTo>
                <a:cubicBezTo>
                  <a:pt x="4782" y="9554"/>
                  <a:pt x="4782" y="9554"/>
                  <a:pt x="4782" y="9554"/>
                </a:cubicBezTo>
                <a:cubicBezTo>
                  <a:pt x="4710" y="9406"/>
                  <a:pt x="4710" y="9406"/>
                  <a:pt x="4710" y="9406"/>
                </a:cubicBezTo>
                <a:cubicBezTo>
                  <a:pt x="4671" y="9323"/>
                  <a:pt x="4607" y="9196"/>
                  <a:pt x="4568" y="9118"/>
                </a:cubicBezTo>
                <a:cubicBezTo>
                  <a:pt x="4532" y="9043"/>
                  <a:pt x="4502" y="8979"/>
                  <a:pt x="4502" y="8979"/>
                </a:cubicBezTo>
                <a:cubicBezTo>
                  <a:pt x="4504" y="8977"/>
                  <a:pt x="5905" y="8439"/>
                  <a:pt x="5908" y="8439"/>
                </a:cubicBezTo>
                <a:cubicBezTo>
                  <a:pt x="5908" y="8439"/>
                  <a:pt x="5733" y="8613"/>
                  <a:pt x="5520" y="8827"/>
                </a:cubicBezTo>
                <a:close/>
                <a:moveTo>
                  <a:pt x="4363" y="8946"/>
                </a:moveTo>
                <a:lnTo>
                  <a:pt x="4363" y="8946"/>
                </a:lnTo>
                <a:cubicBezTo>
                  <a:pt x="4333" y="9210"/>
                  <a:pt x="4305" y="9426"/>
                  <a:pt x="4305" y="9429"/>
                </a:cubicBezTo>
                <a:cubicBezTo>
                  <a:pt x="4302" y="9429"/>
                  <a:pt x="4274" y="9420"/>
                  <a:pt x="4241" y="9412"/>
                </a:cubicBezTo>
                <a:cubicBezTo>
                  <a:pt x="4177" y="9393"/>
                  <a:pt x="4177" y="9393"/>
                  <a:pt x="4177" y="9393"/>
                </a:cubicBezTo>
                <a:cubicBezTo>
                  <a:pt x="4180" y="9384"/>
                  <a:pt x="4180" y="9384"/>
                  <a:pt x="4180" y="9384"/>
                </a:cubicBezTo>
                <a:cubicBezTo>
                  <a:pt x="4180" y="9382"/>
                  <a:pt x="4230" y="9187"/>
                  <a:pt x="4288" y="8954"/>
                </a:cubicBezTo>
                <a:cubicBezTo>
                  <a:pt x="4349" y="8721"/>
                  <a:pt x="4402" y="8513"/>
                  <a:pt x="4407" y="8491"/>
                </a:cubicBezTo>
                <a:cubicBezTo>
                  <a:pt x="4413" y="8469"/>
                  <a:pt x="4419" y="8455"/>
                  <a:pt x="4419" y="8461"/>
                </a:cubicBezTo>
                <a:cubicBezTo>
                  <a:pt x="4421" y="8463"/>
                  <a:pt x="4396" y="8685"/>
                  <a:pt x="4363" y="8946"/>
                </a:cubicBezTo>
                <a:close/>
                <a:moveTo>
                  <a:pt x="1334" y="8458"/>
                </a:moveTo>
                <a:lnTo>
                  <a:pt x="1334" y="8458"/>
                </a:lnTo>
                <a:cubicBezTo>
                  <a:pt x="1337" y="8463"/>
                  <a:pt x="1318" y="8513"/>
                  <a:pt x="1312" y="8519"/>
                </a:cubicBezTo>
                <a:cubicBezTo>
                  <a:pt x="1309" y="8522"/>
                  <a:pt x="1304" y="8519"/>
                  <a:pt x="1301" y="8516"/>
                </a:cubicBezTo>
                <a:cubicBezTo>
                  <a:pt x="1293" y="8511"/>
                  <a:pt x="1293" y="8511"/>
                  <a:pt x="1293" y="8511"/>
                </a:cubicBezTo>
                <a:cubicBezTo>
                  <a:pt x="1306" y="8483"/>
                  <a:pt x="1306" y="8483"/>
                  <a:pt x="1306" y="8483"/>
                </a:cubicBezTo>
                <a:cubicBezTo>
                  <a:pt x="1323" y="8458"/>
                  <a:pt x="1329" y="8450"/>
                  <a:pt x="1334" y="8458"/>
                </a:cubicBezTo>
                <a:close/>
                <a:moveTo>
                  <a:pt x="2025" y="8555"/>
                </a:moveTo>
                <a:lnTo>
                  <a:pt x="2025" y="8555"/>
                </a:lnTo>
                <a:cubicBezTo>
                  <a:pt x="2202" y="8655"/>
                  <a:pt x="2202" y="8655"/>
                  <a:pt x="2202" y="8655"/>
                </a:cubicBezTo>
                <a:cubicBezTo>
                  <a:pt x="2183" y="8658"/>
                  <a:pt x="2183" y="8658"/>
                  <a:pt x="2183" y="8658"/>
                </a:cubicBezTo>
                <a:cubicBezTo>
                  <a:pt x="2172" y="8658"/>
                  <a:pt x="2127" y="8660"/>
                  <a:pt x="2083" y="8660"/>
                </a:cubicBezTo>
                <a:cubicBezTo>
                  <a:pt x="2000" y="8660"/>
                  <a:pt x="2000" y="8660"/>
                  <a:pt x="2000" y="8660"/>
                </a:cubicBezTo>
                <a:cubicBezTo>
                  <a:pt x="1947" y="8627"/>
                  <a:pt x="1947" y="8627"/>
                  <a:pt x="1947" y="8627"/>
                </a:cubicBezTo>
                <a:cubicBezTo>
                  <a:pt x="1917" y="8608"/>
                  <a:pt x="1889" y="8591"/>
                  <a:pt x="1889" y="8588"/>
                </a:cubicBezTo>
                <a:cubicBezTo>
                  <a:pt x="1883" y="8583"/>
                  <a:pt x="1842" y="8466"/>
                  <a:pt x="1842" y="8458"/>
                </a:cubicBezTo>
                <a:lnTo>
                  <a:pt x="1845" y="8455"/>
                </a:lnTo>
                <a:cubicBezTo>
                  <a:pt x="1847" y="8455"/>
                  <a:pt x="1928" y="8500"/>
                  <a:pt x="2025" y="8555"/>
                </a:cubicBezTo>
                <a:close/>
                <a:moveTo>
                  <a:pt x="6227" y="8738"/>
                </a:moveTo>
                <a:lnTo>
                  <a:pt x="6227" y="8738"/>
                </a:lnTo>
                <a:cubicBezTo>
                  <a:pt x="6343" y="8888"/>
                  <a:pt x="6438" y="9015"/>
                  <a:pt x="6438" y="9015"/>
                </a:cubicBezTo>
                <a:cubicBezTo>
                  <a:pt x="6438" y="9021"/>
                  <a:pt x="6130" y="9326"/>
                  <a:pt x="6127" y="9323"/>
                </a:cubicBezTo>
                <a:cubicBezTo>
                  <a:pt x="6127" y="9323"/>
                  <a:pt x="6099" y="9132"/>
                  <a:pt x="6069" y="8902"/>
                </a:cubicBezTo>
                <a:cubicBezTo>
                  <a:pt x="6041" y="8671"/>
                  <a:pt x="6013" y="8477"/>
                  <a:pt x="6013" y="8472"/>
                </a:cubicBezTo>
                <a:cubicBezTo>
                  <a:pt x="6011" y="8463"/>
                  <a:pt x="6013" y="8458"/>
                  <a:pt x="6013" y="8461"/>
                </a:cubicBezTo>
                <a:cubicBezTo>
                  <a:pt x="6016" y="8461"/>
                  <a:pt x="6113" y="8585"/>
                  <a:pt x="6227" y="8738"/>
                </a:cubicBezTo>
                <a:close/>
                <a:moveTo>
                  <a:pt x="1465" y="8555"/>
                </a:moveTo>
                <a:lnTo>
                  <a:pt x="1465" y="8555"/>
                </a:lnTo>
                <a:cubicBezTo>
                  <a:pt x="1517" y="8594"/>
                  <a:pt x="1562" y="8627"/>
                  <a:pt x="1564" y="8630"/>
                </a:cubicBezTo>
                <a:cubicBezTo>
                  <a:pt x="1567" y="8633"/>
                  <a:pt x="1553" y="8633"/>
                  <a:pt x="1523" y="8633"/>
                </a:cubicBezTo>
                <a:cubicBezTo>
                  <a:pt x="1451" y="8627"/>
                  <a:pt x="1453" y="8630"/>
                  <a:pt x="1401" y="8591"/>
                </a:cubicBezTo>
                <a:cubicBezTo>
                  <a:pt x="1376" y="8572"/>
                  <a:pt x="1351" y="8552"/>
                  <a:pt x="1345" y="8549"/>
                </a:cubicBezTo>
                <a:cubicBezTo>
                  <a:pt x="1340" y="8544"/>
                  <a:pt x="1340" y="8544"/>
                  <a:pt x="1340" y="8544"/>
                </a:cubicBezTo>
                <a:cubicBezTo>
                  <a:pt x="1351" y="8516"/>
                  <a:pt x="1351" y="8516"/>
                  <a:pt x="1351" y="8516"/>
                </a:cubicBezTo>
                <a:cubicBezTo>
                  <a:pt x="1359" y="8500"/>
                  <a:pt x="1365" y="8486"/>
                  <a:pt x="1368" y="8486"/>
                </a:cubicBezTo>
                <a:cubicBezTo>
                  <a:pt x="1368" y="8486"/>
                  <a:pt x="1412" y="8516"/>
                  <a:pt x="1465" y="8555"/>
                </a:cubicBezTo>
                <a:close/>
                <a:moveTo>
                  <a:pt x="3536" y="8818"/>
                </a:moveTo>
                <a:lnTo>
                  <a:pt x="3536" y="8818"/>
                </a:lnTo>
                <a:cubicBezTo>
                  <a:pt x="3534" y="8982"/>
                  <a:pt x="3534" y="9115"/>
                  <a:pt x="3531" y="9115"/>
                </a:cubicBezTo>
                <a:cubicBezTo>
                  <a:pt x="3531" y="9118"/>
                  <a:pt x="3476" y="9096"/>
                  <a:pt x="3470" y="9093"/>
                </a:cubicBezTo>
                <a:cubicBezTo>
                  <a:pt x="3467" y="9090"/>
                  <a:pt x="3534" y="8522"/>
                  <a:pt x="3536" y="8522"/>
                </a:cubicBezTo>
                <a:cubicBezTo>
                  <a:pt x="3536" y="8522"/>
                  <a:pt x="3536" y="8655"/>
                  <a:pt x="3536" y="8818"/>
                </a:cubicBezTo>
                <a:close/>
                <a:moveTo>
                  <a:pt x="3306" y="8818"/>
                </a:moveTo>
                <a:lnTo>
                  <a:pt x="3306" y="8818"/>
                </a:lnTo>
                <a:cubicBezTo>
                  <a:pt x="3315" y="8938"/>
                  <a:pt x="3320" y="9038"/>
                  <a:pt x="3320" y="9040"/>
                </a:cubicBezTo>
                <a:cubicBezTo>
                  <a:pt x="3320" y="9040"/>
                  <a:pt x="3273" y="9029"/>
                  <a:pt x="3270" y="9026"/>
                </a:cubicBezTo>
                <a:cubicBezTo>
                  <a:pt x="3267" y="9024"/>
                  <a:pt x="3270" y="8927"/>
                  <a:pt x="3276" y="8807"/>
                </a:cubicBezTo>
                <a:cubicBezTo>
                  <a:pt x="3279" y="8688"/>
                  <a:pt x="3281" y="8577"/>
                  <a:pt x="3281" y="8561"/>
                </a:cubicBezTo>
                <a:cubicBezTo>
                  <a:pt x="3284" y="8533"/>
                  <a:pt x="3284" y="8533"/>
                  <a:pt x="3284" y="8533"/>
                </a:cubicBezTo>
                <a:cubicBezTo>
                  <a:pt x="3287" y="8566"/>
                  <a:pt x="3287" y="8566"/>
                  <a:pt x="3287" y="8566"/>
                </a:cubicBezTo>
                <a:cubicBezTo>
                  <a:pt x="3287" y="8583"/>
                  <a:pt x="3295" y="8696"/>
                  <a:pt x="3306" y="8818"/>
                </a:cubicBezTo>
                <a:close/>
                <a:moveTo>
                  <a:pt x="1919" y="8652"/>
                </a:moveTo>
                <a:lnTo>
                  <a:pt x="1919" y="8652"/>
                </a:lnTo>
                <a:cubicBezTo>
                  <a:pt x="1930" y="8660"/>
                  <a:pt x="1930" y="8660"/>
                  <a:pt x="1930" y="8660"/>
                </a:cubicBezTo>
                <a:cubicBezTo>
                  <a:pt x="1919" y="8660"/>
                  <a:pt x="1919" y="8660"/>
                  <a:pt x="1919" y="8660"/>
                </a:cubicBezTo>
                <a:cubicBezTo>
                  <a:pt x="1914" y="8660"/>
                  <a:pt x="1908" y="8658"/>
                  <a:pt x="1908" y="8658"/>
                </a:cubicBezTo>
                <a:cubicBezTo>
                  <a:pt x="1908" y="8658"/>
                  <a:pt x="1908" y="8655"/>
                  <a:pt x="1908" y="8649"/>
                </a:cubicBezTo>
                <a:cubicBezTo>
                  <a:pt x="1906" y="8641"/>
                  <a:pt x="1908" y="8644"/>
                  <a:pt x="1919" y="8652"/>
                </a:cubicBezTo>
                <a:close/>
                <a:moveTo>
                  <a:pt x="12653" y="9387"/>
                </a:moveTo>
                <a:lnTo>
                  <a:pt x="12653" y="9387"/>
                </a:lnTo>
                <a:cubicBezTo>
                  <a:pt x="12808" y="9775"/>
                  <a:pt x="12933" y="10094"/>
                  <a:pt x="12933" y="10097"/>
                </a:cubicBezTo>
                <a:cubicBezTo>
                  <a:pt x="12930" y="10097"/>
                  <a:pt x="12822" y="10092"/>
                  <a:pt x="12819" y="10089"/>
                </a:cubicBezTo>
                <a:cubicBezTo>
                  <a:pt x="12819" y="10089"/>
                  <a:pt x="12375" y="8705"/>
                  <a:pt x="12364" y="8669"/>
                </a:cubicBezTo>
                <a:cubicBezTo>
                  <a:pt x="12353" y="8630"/>
                  <a:pt x="12414" y="8780"/>
                  <a:pt x="12653" y="9387"/>
                </a:cubicBezTo>
                <a:close/>
                <a:moveTo>
                  <a:pt x="1573" y="8671"/>
                </a:moveTo>
                <a:lnTo>
                  <a:pt x="1573" y="8671"/>
                </a:lnTo>
                <a:cubicBezTo>
                  <a:pt x="1623" y="8674"/>
                  <a:pt x="1623" y="8674"/>
                  <a:pt x="1623" y="8674"/>
                </a:cubicBezTo>
                <a:cubicBezTo>
                  <a:pt x="1634" y="8683"/>
                  <a:pt x="1634" y="8683"/>
                  <a:pt x="1634" y="8683"/>
                </a:cubicBezTo>
                <a:cubicBezTo>
                  <a:pt x="1639" y="8685"/>
                  <a:pt x="1645" y="8691"/>
                  <a:pt x="1648" y="8691"/>
                </a:cubicBezTo>
                <a:cubicBezTo>
                  <a:pt x="1648" y="8691"/>
                  <a:pt x="1642" y="8705"/>
                  <a:pt x="1634" y="8719"/>
                </a:cubicBezTo>
                <a:cubicBezTo>
                  <a:pt x="1620" y="8738"/>
                  <a:pt x="1614" y="8744"/>
                  <a:pt x="1612" y="8744"/>
                </a:cubicBezTo>
                <a:cubicBezTo>
                  <a:pt x="1603" y="8741"/>
                  <a:pt x="1514" y="8674"/>
                  <a:pt x="1512" y="8669"/>
                </a:cubicBezTo>
                <a:cubicBezTo>
                  <a:pt x="1509" y="8666"/>
                  <a:pt x="1514" y="8666"/>
                  <a:pt x="1573" y="8671"/>
                </a:cubicBezTo>
                <a:close/>
                <a:moveTo>
                  <a:pt x="2014" y="8710"/>
                </a:moveTo>
                <a:lnTo>
                  <a:pt x="2014" y="8710"/>
                </a:lnTo>
                <a:cubicBezTo>
                  <a:pt x="2030" y="8719"/>
                  <a:pt x="2041" y="8727"/>
                  <a:pt x="2041" y="8727"/>
                </a:cubicBezTo>
                <a:cubicBezTo>
                  <a:pt x="2041" y="8730"/>
                  <a:pt x="2041" y="8730"/>
                  <a:pt x="2039" y="8730"/>
                </a:cubicBezTo>
                <a:cubicBezTo>
                  <a:pt x="2039" y="8727"/>
                  <a:pt x="2025" y="8721"/>
                  <a:pt x="2008" y="8713"/>
                </a:cubicBezTo>
                <a:cubicBezTo>
                  <a:pt x="1992" y="8705"/>
                  <a:pt x="1980" y="8696"/>
                  <a:pt x="1980" y="8694"/>
                </a:cubicBezTo>
                <a:cubicBezTo>
                  <a:pt x="1980" y="8691"/>
                  <a:pt x="1986" y="8691"/>
                  <a:pt x="2014" y="8710"/>
                </a:cubicBezTo>
                <a:close/>
                <a:moveTo>
                  <a:pt x="2319" y="8788"/>
                </a:moveTo>
                <a:lnTo>
                  <a:pt x="2319" y="8788"/>
                </a:lnTo>
                <a:cubicBezTo>
                  <a:pt x="2352" y="8841"/>
                  <a:pt x="2374" y="8885"/>
                  <a:pt x="2374" y="8888"/>
                </a:cubicBezTo>
                <a:cubicBezTo>
                  <a:pt x="2374" y="8888"/>
                  <a:pt x="2069" y="8702"/>
                  <a:pt x="2064" y="8696"/>
                </a:cubicBezTo>
                <a:cubicBezTo>
                  <a:pt x="2061" y="8694"/>
                  <a:pt x="2094" y="8694"/>
                  <a:pt x="2161" y="8694"/>
                </a:cubicBezTo>
                <a:cubicBezTo>
                  <a:pt x="2263" y="8694"/>
                  <a:pt x="2263" y="8694"/>
                  <a:pt x="2263" y="8694"/>
                </a:cubicBezTo>
                <a:cubicBezTo>
                  <a:pt x="2319" y="8788"/>
                  <a:pt x="2319" y="8788"/>
                  <a:pt x="2319" y="8788"/>
                </a:cubicBezTo>
                <a:close/>
                <a:moveTo>
                  <a:pt x="8809" y="8719"/>
                </a:moveTo>
                <a:lnTo>
                  <a:pt x="8809" y="8719"/>
                </a:lnTo>
                <a:cubicBezTo>
                  <a:pt x="8807" y="8727"/>
                  <a:pt x="8751" y="9071"/>
                  <a:pt x="8682" y="9484"/>
                </a:cubicBezTo>
                <a:cubicBezTo>
                  <a:pt x="8615" y="9900"/>
                  <a:pt x="8560" y="10238"/>
                  <a:pt x="8557" y="10241"/>
                </a:cubicBezTo>
                <a:cubicBezTo>
                  <a:pt x="8557" y="10241"/>
                  <a:pt x="6951" y="9717"/>
                  <a:pt x="6945" y="9714"/>
                </a:cubicBezTo>
                <a:cubicBezTo>
                  <a:pt x="6943" y="9712"/>
                  <a:pt x="7217" y="9565"/>
                  <a:pt x="7556" y="9387"/>
                </a:cubicBezTo>
                <a:cubicBezTo>
                  <a:pt x="8010" y="9146"/>
                  <a:pt x="8188" y="9051"/>
                  <a:pt x="8246" y="9015"/>
                </a:cubicBezTo>
                <a:cubicBezTo>
                  <a:pt x="8313" y="8974"/>
                  <a:pt x="8798" y="8708"/>
                  <a:pt x="8809" y="8708"/>
                </a:cubicBezTo>
                <a:cubicBezTo>
                  <a:pt x="8809" y="8708"/>
                  <a:pt x="8809" y="8713"/>
                  <a:pt x="8809" y="8719"/>
                </a:cubicBezTo>
                <a:close/>
                <a:moveTo>
                  <a:pt x="1775" y="8788"/>
                </a:moveTo>
                <a:lnTo>
                  <a:pt x="1775" y="8788"/>
                </a:lnTo>
                <a:cubicBezTo>
                  <a:pt x="1839" y="8835"/>
                  <a:pt x="1872" y="8860"/>
                  <a:pt x="1867" y="8863"/>
                </a:cubicBezTo>
                <a:cubicBezTo>
                  <a:pt x="1861" y="8863"/>
                  <a:pt x="1656" y="8774"/>
                  <a:pt x="1650" y="8766"/>
                </a:cubicBezTo>
                <a:cubicBezTo>
                  <a:pt x="1648" y="8763"/>
                  <a:pt x="1673" y="8716"/>
                  <a:pt x="1675" y="8716"/>
                </a:cubicBezTo>
                <a:cubicBezTo>
                  <a:pt x="1678" y="8716"/>
                  <a:pt x="1723" y="8746"/>
                  <a:pt x="1775" y="8788"/>
                </a:cubicBezTo>
                <a:close/>
                <a:moveTo>
                  <a:pt x="2463" y="8799"/>
                </a:moveTo>
                <a:lnTo>
                  <a:pt x="2463" y="8799"/>
                </a:lnTo>
                <a:cubicBezTo>
                  <a:pt x="2524" y="8830"/>
                  <a:pt x="2571" y="8857"/>
                  <a:pt x="2571" y="8857"/>
                </a:cubicBezTo>
                <a:cubicBezTo>
                  <a:pt x="2571" y="8860"/>
                  <a:pt x="2463" y="8913"/>
                  <a:pt x="2444" y="8921"/>
                </a:cubicBezTo>
                <a:cubicBezTo>
                  <a:pt x="2441" y="8921"/>
                  <a:pt x="2324" y="8733"/>
                  <a:pt x="2324" y="8724"/>
                </a:cubicBezTo>
                <a:cubicBezTo>
                  <a:pt x="2324" y="8721"/>
                  <a:pt x="2330" y="8724"/>
                  <a:pt x="2338" y="8730"/>
                </a:cubicBezTo>
                <a:cubicBezTo>
                  <a:pt x="2349" y="8735"/>
                  <a:pt x="2405" y="8766"/>
                  <a:pt x="2463" y="8799"/>
                </a:cubicBezTo>
                <a:close/>
                <a:moveTo>
                  <a:pt x="766" y="9567"/>
                </a:moveTo>
                <a:lnTo>
                  <a:pt x="766" y="9567"/>
                </a:lnTo>
                <a:cubicBezTo>
                  <a:pt x="804" y="10003"/>
                  <a:pt x="838" y="10363"/>
                  <a:pt x="838" y="10369"/>
                </a:cubicBezTo>
                <a:cubicBezTo>
                  <a:pt x="838" y="10380"/>
                  <a:pt x="838" y="10380"/>
                  <a:pt x="838" y="10380"/>
                </a:cubicBezTo>
                <a:cubicBezTo>
                  <a:pt x="791" y="10380"/>
                  <a:pt x="791" y="10380"/>
                  <a:pt x="791" y="10380"/>
                </a:cubicBezTo>
                <a:cubicBezTo>
                  <a:pt x="746" y="10380"/>
                  <a:pt x="746" y="10380"/>
                  <a:pt x="746" y="10380"/>
                </a:cubicBezTo>
                <a:cubicBezTo>
                  <a:pt x="743" y="10333"/>
                  <a:pt x="743" y="10333"/>
                  <a:pt x="743" y="10333"/>
                </a:cubicBezTo>
                <a:cubicBezTo>
                  <a:pt x="741" y="10308"/>
                  <a:pt x="730" y="9956"/>
                  <a:pt x="716" y="9548"/>
                </a:cubicBezTo>
                <a:cubicBezTo>
                  <a:pt x="702" y="9137"/>
                  <a:pt x="688" y="8791"/>
                  <a:pt x="688" y="8774"/>
                </a:cubicBezTo>
                <a:cubicBezTo>
                  <a:pt x="688" y="8744"/>
                  <a:pt x="688" y="8744"/>
                  <a:pt x="688" y="8744"/>
                </a:cubicBezTo>
                <a:cubicBezTo>
                  <a:pt x="691" y="8760"/>
                  <a:pt x="691" y="8760"/>
                  <a:pt x="691" y="8760"/>
                </a:cubicBezTo>
                <a:cubicBezTo>
                  <a:pt x="691" y="8769"/>
                  <a:pt x="727" y="9132"/>
                  <a:pt x="766" y="9567"/>
                </a:cubicBezTo>
                <a:close/>
                <a:moveTo>
                  <a:pt x="3381" y="8935"/>
                </a:moveTo>
                <a:lnTo>
                  <a:pt x="3381" y="8935"/>
                </a:lnTo>
                <a:cubicBezTo>
                  <a:pt x="3403" y="9010"/>
                  <a:pt x="3417" y="9071"/>
                  <a:pt x="3417" y="9071"/>
                </a:cubicBezTo>
                <a:cubicBezTo>
                  <a:pt x="3417" y="9074"/>
                  <a:pt x="3403" y="9068"/>
                  <a:pt x="3387" y="9063"/>
                </a:cubicBezTo>
                <a:cubicBezTo>
                  <a:pt x="3359" y="9054"/>
                  <a:pt x="3359" y="9054"/>
                  <a:pt x="3359" y="9054"/>
                </a:cubicBezTo>
                <a:cubicBezTo>
                  <a:pt x="3359" y="9038"/>
                  <a:pt x="3359" y="9038"/>
                  <a:pt x="3359" y="9038"/>
                </a:cubicBezTo>
                <a:cubicBezTo>
                  <a:pt x="3356" y="9029"/>
                  <a:pt x="3353" y="8977"/>
                  <a:pt x="3348" y="8918"/>
                </a:cubicBezTo>
                <a:cubicBezTo>
                  <a:pt x="3345" y="8860"/>
                  <a:pt x="3340" y="8807"/>
                  <a:pt x="3340" y="8799"/>
                </a:cubicBezTo>
                <a:cubicBezTo>
                  <a:pt x="3334" y="8769"/>
                  <a:pt x="3345" y="8807"/>
                  <a:pt x="3381" y="8935"/>
                </a:cubicBezTo>
                <a:close/>
                <a:moveTo>
                  <a:pt x="1808" y="9573"/>
                </a:moveTo>
                <a:lnTo>
                  <a:pt x="1808" y="9573"/>
                </a:lnTo>
                <a:cubicBezTo>
                  <a:pt x="1911" y="9978"/>
                  <a:pt x="1992" y="10311"/>
                  <a:pt x="1992" y="10313"/>
                </a:cubicBezTo>
                <a:cubicBezTo>
                  <a:pt x="1989" y="10313"/>
                  <a:pt x="1892" y="10308"/>
                  <a:pt x="1770" y="10300"/>
                </a:cubicBezTo>
                <a:cubicBezTo>
                  <a:pt x="1553" y="10283"/>
                  <a:pt x="1553" y="10283"/>
                  <a:pt x="1553" y="10283"/>
                </a:cubicBezTo>
                <a:cubicBezTo>
                  <a:pt x="1379" y="10297"/>
                  <a:pt x="1379" y="10297"/>
                  <a:pt x="1379" y="10297"/>
                </a:cubicBezTo>
                <a:cubicBezTo>
                  <a:pt x="1204" y="10313"/>
                  <a:pt x="1204" y="10313"/>
                  <a:pt x="1204" y="10313"/>
                </a:cubicBezTo>
                <a:cubicBezTo>
                  <a:pt x="1049" y="10344"/>
                  <a:pt x="1049" y="10344"/>
                  <a:pt x="1049" y="10344"/>
                </a:cubicBezTo>
                <a:cubicBezTo>
                  <a:pt x="965" y="10361"/>
                  <a:pt x="893" y="10372"/>
                  <a:pt x="893" y="10372"/>
                </a:cubicBezTo>
                <a:cubicBezTo>
                  <a:pt x="893" y="10369"/>
                  <a:pt x="1617" y="8832"/>
                  <a:pt x="1620" y="8835"/>
                </a:cubicBezTo>
                <a:cubicBezTo>
                  <a:pt x="1623" y="8835"/>
                  <a:pt x="1706" y="9168"/>
                  <a:pt x="1808" y="9573"/>
                </a:cubicBezTo>
                <a:close/>
                <a:moveTo>
                  <a:pt x="1870" y="8904"/>
                </a:moveTo>
                <a:lnTo>
                  <a:pt x="1870" y="8904"/>
                </a:lnTo>
                <a:cubicBezTo>
                  <a:pt x="1953" y="8943"/>
                  <a:pt x="2028" y="8977"/>
                  <a:pt x="2030" y="8979"/>
                </a:cubicBezTo>
                <a:cubicBezTo>
                  <a:pt x="2036" y="8982"/>
                  <a:pt x="2072" y="9010"/>
                  <a:pt x="2114" y="9038"/>
                </a:cubicBezTo>
                <a:cubicBezTo>
                  <a:pt x="2183" y="9093"/>
                  <a:pt x="2183" y="9093"/>
                  <a:pt x="2183" y="9093"/>
                </a:cubicBezTo>
                <a:cubicBezTo>
                  <a:pt x="2441" y="9185"/>
                  <a:pt x="2441" y="9185"/>
                  <a:pt x="2441" y="9185"/>
                </a:cubicBezTo>
                <a:cubicBezTo>
                  <a:pt x="2699" y="9276"/>
                  <a:pt x="2699" y="9276"/>
                  <a:pt x="2699" y="9276"/>
                </a:cubicBezTo>
                <a:cubicBezTo>
                  <a:pt x="3037" y="9429"/>
                  <a:pt x="3037" y="9429"/>
                  <a:pt x="3037" y="9429"/>
                </a:cubicBezTo>
                <a:cubicBezTo>
                  <a:pt x="3376" y="9578"/>
                  <a:pt x="3376" y="9578"/>
                  <a:pt x="3376" y="9578"/>
                </a:cubicBezTo>
                <a:cubicBezTo>
                  <a:pt x="3378" y="9592"/>
                  <a:pt x="3378" y="9592"/>
                  <a:pt x="3378" y="9592"/>
                </a:cubicBezTo>
                <a:cubicBezTo>
                  <a:pt x="3381" y="9606"/>
                  <a:pt x="3442" y="10585"/>
                  <a:pt x="3439" y="10594"/>
                </a:cubicBezTo>
                <a:cubicBezTo>
                  <a:pt x="3439" y="10599"/>
                  <a:pt x="3143" y="10297"/>
                  <a:pt x="2666" y="9811"/>
                </a:cubicBezTo>
                <a:cubicBezTo>
                  <a:pt x="1695" y="8821"/>
                  <a:pt x="1709" y="8838"/>
                  <a:pt x="1711" y="8838"/>
                </a:cubicBezTo>
                <a:cubicBezTo>
                  <a:pt x="1714" y="8838"/>
                  <a:pt x="1784" y="8868"/>
                  <a:pt x="1870" y="8904"/>
                </a:cubicBezTo>
                <a:close/>
                <a:moveTo>
                  <a:pt x="2566" y="9761"/>
                </a:moveTo>
                <a:lnTo>
                  <a:pt x="2566" y="9761"/>
                </a:lnTo>
                <a:cubicBezTo>
                  <a:pt x="3026" y="10230"/>
                  <a:pt x="3403" y="10613"/>
                  <a:pt x="3403" y="10616"/>
                </a:cubicBezTo>
                <a:cubicBezTo>
                  <a:pt x="3403" y="10619"/>
                  <a:pt x="3401" y="10619"/>
                  <a:pt x="3398" y="10619"/>
                </a:cubicBezTo>
                <a:cubicBezTo>
                  <a:pt x="3395" y="10616"/>
                  <a:pt x="3301" y="10596"/>
                  <a:pt x="3193" y="10571"/>
                </a:cubicBezTo>
                <a:cubicBezTo>
                  <a:pt x="3046" y="10541"/>
                  <a:pt x="2929" y="10513"/>
                  <a:pt x="2746" y="10463"/>
                </a:cubicBezTo>
                <a:cubicBezTo>
                  <a:pt x="2544" y="10410"/>
                  <a:pt x="2491" y="10397"/>
                  <a:pt x="2471" y="10397"/>
                </a:cubicBezTo>
                <a:cubicBezTo>
                  <a:pt x="2427" y="10397"/>
                  <a:pt x="2272" y="10372"/>
                  <a:pt x="2152" y="10347"/>
                </a:cubicBezTo>
                <a:cubicBezTo>
                  <a:pt x="2089" y="10330"/>
                  <a:pt x="2033" y="10319"/>
                  <a:pt x="2033" y="10319"/>
                </a:cubicBezTo>
                <a:cubicBezTo>
                  <a:pt x="2030" y="10316"/>
                  <a:pt x="1661" y="8849"/>
                  <a:pt x="1661" y="8843"/>
                </a:cubicBezTo>
                <a:cubicBezTo>
                  <a:pt x="1661" y="8841"/>
                  <a:pt x="1678" y="8855"/>
                  <a:pt x="1698" y="8874"/>
                </a:cubicBezTo>
                <a:cubicBezTo>
                  <a:pt x="1714" y="8893"/>
                  <a:pt x="2105" y="9293"/>
                  <a:pt x="2566" y="9761"/>
                </a:cubicBezTo>
                <a:close/>
                <a:moveTo>
                  <a:pt x="2602" y="8935"/>
                </a:moveTo>
                <a:lnTo>
                  <a:pt x="2602" y="8935"/>
                </a:lnTo>
                <a:cubicBezTo>
                  <a:pt x="2605" y="8960"/>
                  <a:pt x="2605" y="8982"/>
                  <a:pt x="2605" y="8982"/>
                </a:cubicBezTo>
                <a:cubicBezTo>
                  <a:pt x="2602" y="8985"/>
                  <a:pt x="2516" y="8957"/>
                  <a:pt x="2485" y="8946"/>
                </a:cubicBezTo>
                <a:cubicBezTo>
                  <a:pt x="2480" y="8943"/>
                  <a:pt x="2588" y="8888"/>
                  <a:pt x="2596" y="8891"/>
                </a:cubicBezTo>
                <a:cubicBezTo>
                  <a:pt x="2599" y="8891"/>
                  <a:pt x="2602" y="8910"/>
                  <a:pt x="2602" y="8935"/>
                </a:cubicBezTo>
                <a:close/>
                <a:moveTo>
                  <a:pt x="2752" y="8940"/>
                </a:moveTo>
                <a:lnTo>
                  <a:pt x="2752" y="8940"/>
                </a:lnTo>
                <a:cubicBezTo>
                  <a:pt x="2771" y="8952"/>
                  <a:pt x="2771" y="8952"/>
                  <a:pt x="2771" y="8952"/>
                </a:cubicBezTo>
                <a:cubicBezTo>
                  <a:pt x="2774" y="8966"/>
                  <a:pt x="2774" y="8966"/>
                  <a:pt x="2774" y="8966"/>
                </a:cubicBezTo>
                <a:cubicBezTo>
                  <a:pt x="2774" y="8977"/>
                  <a:pt x="2774" y="8990"/>
                  <a:pt x="2774" y="8999"/>
                </a:cubicBezTo>
                <a:cubicBezTo>
                  <a:pt x="2774" y="9015"/>
                  <a:pt x="2774" y="9015"/>
                  <a:pt x="2774" y="9015"/>
                </a:cubicBezTo>
                <a:cubicBezTo>
                  <a:pt x="2732" y="8968"/>
                  <a:pt x="2732" y="8968"/>
                  <a:pt x="2732" y="8968"/>
                </a:cubicBezTo>
                <a:cubicBezTo>
                  <a:pt x="2710" y="8940"/>
                  <a:pt x="2691" y="8918"/>
                  <a:pt x="2691" y="8918"/>
                </a:cubicBezTo>
                <a:cubicBezTo>
                  <a:pt x="2691" y="8916"/>
                  <a:pt x="2699" y="8918"/>
                  <a:pt x="2710" y="8924"/>
                </a:cubicBezTo>
                <a:cubicBezTo>
                  <a:pt x="2721" y="8929"/>
                  <a:pt x="2740" y="8938"/>
                  <a:pt x="2752" y="8940"/>
                </a:cubicBezTo>
                <a:close/>
                <a:moveTo>
                  <a:pt x="2691" y="8971"/>
                </a:moveTo>
                <a:lnTo>
                  <a:pt x="2691" y="8971"/>
                </a:lnTo>
                <a:cubicBezTo>
                  <a:pt x="2715" y="9002"/>
                  <a:pt x="2738" y="9026"/>
                  <a:pt x="2738" y="9029"/>
                </a:cubicBezTo>
                <a:cubicBezTo>
                  <a:pt x="2738" y="9032"/>
                  <a:pt x="2646" y="9002"/>
                  <a:pt x="2643" y="8999"/>
                </a:cubicBezTo>
                <a:cubicBezTo>
                  <a:pt x="2641" y="8996"/>
                  <a:pt x="2638" y="8918"/>
                  <a:pt x="2641" y="8918"/>
                </a:cubicBezTo>
                <a:cubicBezTo>
                  <a:pt x="2643" y="8918"/>
                  <a:pt x="2666" y="8943"/>
                  <a:pt x="2691" y="8971"/>
                </a:cubicBezTo>
                <a:close/>
                <a:moveTo>
                  <a:pt x="2532" y="9007"/>
                </a:moveTo>
                <a:lnTo>
                  <a:pt x="2532" y="9007"/>
                </a:lnTo>
                <a:cubicBezTo>
                  <a:pt x="2585" y="9029"/>
                  <a:pt x="2702" y="9076"/>
                  <a:pt x="2790" y="9115"/>
                </a:cubicBezTo>
                <a:cubicBezTo>
                  <a:pt x="2879" y="9151"/>
                  <a:pt x="2998" y="9201"/>
                  <a:pt x="3054" y="9223"/>
                </a:cubicBezTo>
                <a:cubicBezTo>
                  <a:pt x="3112" y="9246"/>
                  <a:pt x="3168" y="9268"/>
                  <a:pt x="3181" y="9271"/>
                </a:cubicBezTo>
                <a:cubicBezTo>
                  <a:pt x="3220" y="9287"/>
                  <a:pt x="4180" y="9681"/>
                  <a:pt x="4197" y="9687"/>
                </a:cubicBezTo>
                <a:cubicBezTo>
                  <a:pt x="4205" y="9692"/>
                  <a:pt x="4208" y="9692"/>
                  <a:pt x="4202" y="9692"/>
                </a:cubicBezTo>
                <a:cubicBezTo>
                  <a:pt x="4177" y="9687"/>
                  <a:pt x="2247" y="9074"/>
                  <a:pt x="2247" y="9071"/>
                </a:cubicBezTo>
                <a:cubicBezTo>
                  <a:pt x="2247" y="9068"/>
                  <a:pt x="2427" y="8968"/>
                  <a:pt x="2433" y="8966"/>
                </a:cubicBezTo>
                <a:cubicBezTo>
                  <a:pt x="2435" y="8966"/>
                  <a:pt x="2480" y="8985"/>
                  <a:pt x="2532" y="9007"/>
                </a:cubicBezTo>
                <a:close/>
                <a:moveTo>
                  <a:pt x="17498" y="9326"/>
                </a:moveTo>
                <a:lnTo>
                  <a:pt x="17498" y="9326"/>
                </a:lnTo>
                <a:cubicBezTo>
                  <a:pt x="17889" y="9512"/>
                  <a:pt x="18208" y="9667"/>
                  <a:pt x="18208" y="9667"/>
                </a:cubicBezTo>
                <a:cubicBezTo>
                  <a:pt x="18208" y="9667"/>
                  <a:pt x="18197" y="9664"/>
                  <a:pt x="18183" y="9659"/>
                </a:cubicBezTo>
                <a:cubicBezTo>
                  <a:pt x="18150" y="9645"/>
                  <a:pt x="16841" y="9093"/>
                  <a:pt x="16833" y="9088"/>
                </a:cubicBezTo>
                <a:cubicBezTo>
                  <a:pt x="16824" y="9085"/>
                  <a:pt x="16816" y="9071"/>
                  <a:pt x="16802" y="9038"/>
                </a:cubicBezTo>
                <a:cubicBezTo>
                  <a:pt x="16780" y="8988"/>
                  <a:pt x="16777" y="8979"/>
                  <a:pt x="16783" y="8982"/>
                </a:cubicBezTo>
                <a:cubicBezTo>
                  <a:pt x="16785" y="8982"/>
                  <a:pt x="17107" y="9137"/>
                  <a:pt x="17498" y="9326"/>
                </a:cubicBezTo>
                <a:close/>
                <a:moveTo>
                  <a:pt x="2890" y="9046"/>
                </a:moveTo>
                <a:lnTo>
                  <a:pt x="2890" y="9046"/>
                </a:lnTo>
                <a:cubicBezTo>
                  <a:pt x="2932" y="9079"/>
                  <a:pt x="2962" y="9107"/>
                  <a:pt x="2962" y="9107"/>
                </a:cubicBezTo>
                <a:cubicBezTo>
                  <a:pt x="2965" y="9110"/>
                  <a:pt x="2824" y="9063"/>
                  <a:pt x="2818" y="9060"/>
                </a:cubicBezTo>
                <a:cubicBezTo>
                  <a:pt x="2818" y="9057"/>
                  <a:pt x="2815" y="9040"/>
                  <a:pt x="2813" y="9021"/>
                </a:cubicBezTo>
                <a:cubicBezTo>
                  <a:pt x="2810" y="8985"/>
                  <a:pt x="2810" y="8985"/>
                  <a:pt x="2810" y="8985"/>
                </a:cubicBezTo>
                <a:cubicBezTo>
                  <a:pt x="2815" y="8985"/>
                  <a:pt x="2815" y="8985"/>
                  <a:pt x="2815" y="8985"/>
                </a:cubicBezTo>
                <a:cubicBezTo>
                  <a:pt x="2818" y="8988"/>
                  <a:pt x="2851" y="9015"/>
                  <a:pt x="2890" y="9046"/>
                </a:cubicBezTo>
                <a:close/>
                <a:moveTo>
                  <a:pt x="12508" y="9559"/>
                </a:moveTo>
                <a:lnTo>
                  <a:pt x="12508" y="9559"/>
                </a:lnTo>
                <a:cubicBezTo>
                  <a:pt x="12625" y="9861"/>
                  <a:pt x="12719" y="10114"/>
                  <a:pt x="12722" y="10119"/>
                </a:cubicBezTo>
                <a:cubicBezTo>
                  <a:pt x="12722" y="10128"/>
                  <a:pt x="12722" y="10128"/>
                  <a:pt x="12722" y="10128"/>
                </a:cubicBezTo>
                <a:cubicBezTo>
                  <a:pt x="12683" y="10153"/>
                  <a:pt x="12683" y="10153"/>
                  <a:pt x="12683" y="10153"/>
                </a:cubicBezTo>
                <a:cubicBezTo>
                  <a:pt x="12661" y="10169"/>
                  <a:pt x="12639" y="10180"/>
                  <a:pt x="12633" y="10183"/>
                </a:cubicBezTo>
                <a:cubicBezTo>
                  <a:pt x="12630" y="10186"/>
                  <a:pt x="12619" y="10191"/>
                  <a:pt x="12608" y="10197"/>
                </a:cubicBezTo>
                <a:cubicBezTo>
                  <a:pt x="12600" y="10202"/>
                  <a:pt x="12592" y="10208"/>
                  <a:pt x="12589" y="10208"/>
                </a:cubicBezTo>
                <a:cubicBezTo>
                  <a:pt x="12589" y="10208"/>
                  <a:pt x="12583" y="10202"/>
                  <a:pt x="12583" y="10194"/>
                </a:cubicBezTo>
                <a:cubicBezTo>
                  <a:pt x="12581" y="10183"/>
                  <a:pt x="12514" y="9914"/>
                  <a:pt x="12434" y="9590"/>
                </a:cubicBezTo>
                <a:cubicBezTo>
                  <a:pt x="12353" y="9265"/>
                  <a:pt x="12289" y="8999"/>
                  <a:pt x="12287" y="8993"/>
                </a:cubicBezTo>
                <a:cubicBezTo>
                  <a:pt x="12281" y="8966"/>
                  <a:pt x="12320" y="9065"/>
                  <a:pt x="12508" y="9559"/>
                </a:cubicBezTo>
                <a:close/>
                <a:moveTo>
                  <a:pt x="3007" y="9038"/>
                </a:moveTo>
                <a:lnTo>
                  <a:pt x="3007" y="9038"/>
                </a:lnTo>
                <a:cubicBezTo>
                  <a:pt x="3120" y="9079"/>
                  <a:pt x="3120" y="9079"/>
                  <a:pt x="3120" y="9079"/>
                </a:cubicBezTo>
                <a:cubicBezTo>
                  <a:pt x="3123" y="9121"/>
                  <a:pt x="3123" y="9121"/>
                  <a:pt x="3123" y="9121"/>
                </a:cubicBezTo>
                <a:cubicBezTo>
                  <a:pt x="3126" y="9143"/>
                  <a:pt x="3126" y="9162"/>
                  <a:pt x="3126" y="9165"/>
                </a:cubicBezTo>
                <a:cubicBezTo>
                  <a:pt x="3123" y="9165"/>
                  <a:pt x="3112" y="9162"/>
                  <a:pt x="3095" y="9157"/>
                </a:cubicBezTo>
                <a:cubicBezTo>
                  <a:pt x="3068" y="9146"/>
                  <a:pt x="3068" y="9146"/>
                  <a:pt x="3068" y="9146"/>
                </a:cubicBezTo>
                <a:cubicBezTo>
                  <a:pt x="2979" y="9074"/>
                  <a:pt x="2979" y="9074"/>
                  <a:pt x="2979" y="9074"/>
                </a:cubicBezTo>
                <a:cubicBezTo>
                  <a:pt x="2904" y="9013"/>
                  <a:pt x="2885" y="8996"/>
                  <a:pt x="2890" y="8996"/>
                </a:cubicBezTo>
                <a:cubicBezTo>
                  <a:pt x="2890" y="8996"/>
                  <a:pt x="2943" y="9015"/>
                  <a:pt x="3007" y="9038"/>
                </a:cubicBezTo>
                <a:close/>
                <a:moveTo>
                  <a:pt x="4613" y="9287"/>
                </a:moveTo>
                <a:lnTo>
                  <a:pt x="4613" y="9287"/>
                </a:lnTo>
                <a:cubicBezTo>
                  <a:pt x="4685" y="9431"/>
                  <a:pt x="4740" y="9554"/>
                  <a:pt x="4740" y="9554"/>
                </a:cubicBezTo>
                <a:cubicBezTo>
                  <a:pt x="4740" y="9554"/>
                  <a:pt x="4649" y="9528"/>
                  <a:pt x="4541" y="9498"/>
                </a:cubicBezTo>
                <a:cubicBezTo>
                  <a:pt x="4396" y="9456"/>
                  <a:pt x="4344" y="9440"/>
                  <a:pt x="4344" y="9437"/>
                </a:cubicBezTo>
                <a:cubicBezTo>
                  <a:pt x="4346" y="9434"/>
                  <a:pt x="4377" y="9340"/>
                  <a:pt x="4413" y="9226"/>
                </a:cubicBezTo>
                <a:cubicBezTo>
                  <a:pt x="4449" y="9112"/>
                  <a:pt x="4480" y="9021"/>
                  <a:pt x="4480" y="9021"/>
                </a:cubicBezTo>
                <a:cubicBezTo>
                  <a:pt x="4480" y="9021"/>
                  <a:pt x="4541" y="9140"/>
                  <a:pt x="4613" y="9287"/>
                </a:cubicBezTo>
                <a:close/>
                <a:moveTo>
                  <a:pt x="6552" y="9187"/>
                </a:moveTo>
                <a:lnTo>
                  <a:pt x="6552" y="9187"/>
                </a:lnTo>
                <a:cubicBezTo>
                  <a:pt x="6676" y="9365"/>
                  <a:pt x="6676" y="9365"/>
                  <a:pt x="6676" y="9365"/>
                </a:cubicBezTo>
                <a:cubicBezTo>
                  <a:pt x="6682" y="9362"/>
                  <a:pt x="6682" y="9362"/>
                  <a:pt x="6682" y="9362"/>
                </a:cubicBezTo>
                <a:cubicBezTo>
                  <a:pt x="6693" y="9362"/>
                  <a:pt x="6707" y="9359"/>
                  <a:pt x="6707" y="9359"/>
                </a:cubicBezTo>
                <a:cubicBezTo>
                  <a:pt x="6696" y="9345"/>
                  <a:pt x="6662" y="9293"/>
                  <a:pt x="6657" y="9284"/>
                </a:cubicBezTo>
                <a:cubicBezTo>
                  <a:pt x="6654" y="9276"/>
                  <a:pt x="6651" y="9271"/>
                  <a:pt x="6654" y="9271"/>
                </a:cubicBezTo>
                <a:cubicBezTo>
                  <a:pt x="6654" y="9268"/>
                  <a:pt x="6965" y="9226"/>
                  <a:pt x="7345" y="9176"/>
                </a:cubicBezTo>
                <a:cubicBezTo>
                  <a:pt x="7722" y="9124"/>
                  <a:pt x="8038" y="9082"/>
                  <a:pt x="8044" y="9082"/>
                </a:cubicBezTo>
                <a:cubicBezTo>
                  <a:pt x="8052" y="9079"/>
                  <a:pt x="8052" y="9082"/>
                  <a:pt x="8049" y="9085"/>
                </a:cubicBezTo>
                <a:cubicBezTo>
                  <a:pt x="8047" y="9088"/>
                  <a:pt x="6907" y="9692"/>
                  <a:pt x="6901" y="9692"/>
                </a:cubicBezTo>
                <a:cubicBezTo>
                  <a:pt x="6901" y="9692"/>
                  <a:pt x="6857" y="9617"/>
                  <a:pt x="6804" y="9528"/>
                </a:cubicBezTo>
                <a:cubicBezTo>
                  <a:pt x="6751" y="9437"/>
                  <a:pt x="6707" y="9359"/>
                  <a:pt x="6707" y="9359"/>
                </a:cubicBezTo>
                <a:cubicBezTo>
                  <a:pt x="6699" y="9351"/>
                  <a:pt x="6699" y="9351"/>
                  <a:pt x="6699" y="9351"/>
                </a:cubicBezTo>
                <a:cubicBezTo>
                  <a:pt x="6429" y="9351"/>
                  <a:pt x="6429" y="9351"/>
                  <a:pt x="6429" y="9351"/>
                </a:cubicBezTo>
                <a:cubicBezTo>
                  <a:pt x="6285" y="9351"/>
                  <a:pt x="6163" y="9348"/>
                  <a:pt x="6160" y="9348"/>
                </a:cubicBezTo>
                <a:cubicBezTo>
                  <a:pt x="6160" y="9348"/>
                  <a:pt x="6227" y="9279"/>
                  <a:pt x="6310" y="9198"/>
                </a:cubicBezTo>
                <a:cubicBezTo>
                  <a:pt x="6424" y="9085"/>
                  <a:pt x="6463" y="9049"/>
                  <a:pt x="6466" y="9051"/>
                </a:cubicBezTo>
                <a:cubicBezTo>
                  <a:pt x="6466" y="9054"/>
                  <a:pt x="6507" y="9115"/>
                  <a:pt x="6552" y="9187"/>
                </a:cubicBezTo>
                <a:close/>
                <a:moveTo>
                  <a:pt x="17978" y="9470"/>
                </a:moveTo>
                <a:lnTo>
                  <a:pt x="17978" y="9470"/>
                </a:lnTo>
                <a:cubicBezTo>
                  <a:pt x="18489" y="9692"/>
                  <a:pt x="18907" y="9875"/>
                  <a:pt x="18910" y="9878"/>
                </a:cubicBezTo>
                <a:cubicBezTo>
                  <a:pt x="18910" y="9881"/>
                  <a:pt x="18924" y="9967"/>
                  <a:pt x="18921" y="9967"/>
                </a:cubicBezTo>
                <a:cubicBezTo>
                  <a:pt x="18921" y="9969"/>
                  <a:pt x="17140" y="9115"/>
                  <a:pt x="17074" y="9082"/>
                </a:cubicBezTo>
                <a:cubicBezTo>
                  <a:pt x="17057" y="9074"/>
                  <a:pt x="17043" y="9065"/>
                  <a:pt x="17046" y="9065"/>
                </a:cubicBezTo>
                <a:cubicBezTo>
                  <a:pt x="17046" y="9065"/>
                  <a:pt x="17465" y="9248"/>
                  <a:pt x="17978" y="9470"/>
                </a:cubicBezTo>
                <a:close/>
                <a:moveTo>
                  <a:pt x="12986" y="9617"/>
                </a:moveTo>
                <a:lnTo>
                  <a:pt x="12986" y="9617"/>
                </a:lnTo>
                <a:cubicBezTo>
                  <a:pt x="13096" y="9914"/>
                  <a:pt x="13185" y="10155"/>
                  <a:pt x="13185" y="10155"/>
                </a:cubicBezTo>
                <a:cubicBezTo>
                  <a:pt x="13182" y="10158"/>
                  <a:pt x="13135" y="10147"/>
                  <a:pt x="13080" y="10130"/>
                </a:cubicBezTo>
                <a:cubicBezTo>
                  <a:pt x="12977" y="10103"/>
                  <a:pt x="12977" y="10103"/>
                  <a:pt x="12977" y="10103"/>
                </a:cubicBezTo>
                <a:cubicBezTo>
                  <a:pt x="12974" y="10097"/>
                  <a:pt x="12974" y="10097"/>
                  <a:pt x="12974" y="10097"/>
                </a:cubicBezTo>
                <a:cubicBezTo>
                  <a:pt x="12974" y="10092"/>
                  <a:pt x="12933" y="9864"/>
                  <a:pt x="12880" y="9590"/>
                </a:cubicBezTo>
                <a:cubicBezTo>
                  <a:pt x="12827" y="9315"/>
                  <a:pt x="12786" y="9088"/>
                  <a:pt x="12783" y="9082"/>
                </a:cubicBezTo>
                <a:cubicBezTo>
                  <a:pt x="12777" y="9054"/>
                  <a:pt x="12814" y="9149"/>
                  <a:pt x="12986" y="9617"/>
                </a:cubicBezTo>
                <a:close/>
                <a:moveTo>
                  <a:pt x="3423" y="9198"/>
                </a:moveTo>
                <a:lnTo>
                  <a:pt x="3423" y="9198"/>
                </a:lnTo>
                <a:cubicBezTo>
                  <a:pt x="3506" y="9262"/>
                  <a:pt x="3570" y="9315"/>
                  <a:pt x="3567" y="9315"/>
                </a:cubicBezTo>
                <a:cubicBezTo>
                  <a:pt x="3561" y="9318"/>
                  <a:pt x="3284" y="9221"/>
                  <a:pt x="3281" y="9218"/>
                </a:cubicBezTo>
                <a:cubicBezTo>
                  <a:pt x="3281" y="9215"/>
                  <a:pt x="3279" y="9196"/>
                  <a:pt x="3276" y="9171"/>
                </a:cubicBezTo>
                <a:cubicBezTo>
                  <a:pt x="3276" y="9149"/>
                  <a:pt x="3273" y="9118"/>
                  <a:pt x="3273" y="9104"/>
                </a:cubicBezTo>
                <a:cubicBezTo>
                  <a:pt x="3270" y="9090"/>
                  <a:pt x="3270" y="9079"/>
                  <a:pt x="3273" y="9082"/>
                </a:cubicBezTo>
                <a:cubicBezTo>
                  <a:pt x="3276" y="9082"/>
                  <a:pt x="3342" y="9135"/>
                  <a:pt x="3423" y="9198"/>
                </a:cubicBezTo>
                <a:close/>
                <a:moveTo>
                  <a:pt x="3187" y="9101"/>
                </a:moveTo>
                <a:lnTo>
                  <a:pt x="3187" y="9101"/>
                </a:lnTo>
                <a:cubicBezTo>
                  <a:pt x="3198" y="9104"/>
                  <a:pt x="3206" y="9107"/>
                  <a:pt x="3206" y="9110"/>
                </a:cubicBezTo>
                <a:cubicBezTo>
                  <a:pt x="3206" y="9110"/>
                  <a:pt x="3198" y="9126"/>
                  <a:pt x="3190" y="9143"/>
                </a:cubicBezTo>
                <a:cubicBezTo>
                  <a:pt x="3170" y="9176"/>
                  <a:pt x="3170" y="9176"/>
                  <a:pt x="3170" y="9176"/>
                </a:cubicBezTo>
                <a:cubicBezTo>
                  <a:pt x="3168" y="9162"/>
                  <a:pt x="3168" y="9162"/>
                  <a:pt x="3168" y="9162"/>
                </a:cubicBezTo>
                <a:cubicBezTo>
                  <a:pt x="3162" y="9137"/>
                  <a:pt x="3159" y="9090"/>
                  <a:pt x="3165" y="9093"/>
                </a:cubicBezTo>
                <a:cubicBezTo>
                  <a:pt x="3168" y="9093"/>
                  <a:pt x="3179" y="9096"/>
                  <a:pt x="3187" y="9101"/>
                </a:cubicBezTo>
                <a:close/>
                <a:moveTo>
                  <a:pt x="3489" y="9143"/>
                </a:moveTo>
                <a:lnTo>
                  <a:pt x="3489" y="9143"/>
                </a:lnTo>
                <a:cubicBezTo>
                  <a:pt x="3550" y="9165"/>
                  <a:pt x="3550" y="9165"/>
                  <a:pt x="3550" y="9165"/>
                </a:cubicBezTo>
                <a:cubicBezTo>
                  <a:pt x="3611" y="9254"/>
                  <a:pt x="3611" y="9254"/>
                  <a:pt x="3611" y="9254"/>
                </a:cubicBezTo>
                <a:cubicBezTo>
                  <a:pt x="3645" y="9304"/>
                  <a:pt x="3670" y="9345"/>
                  <a:pt x="3670" y="9345"/>
                </a:cubicBezTo>
                <a:cubicBezTo>
                  <a:pt x="3667" y="9345"/>
                  <a:pt x="3359" y="9104"/>
                  <a:pt x="3356" y="9099"/>
                </a:cubicBezTo>
                <a:cubicBezTo>
                  <a:pt x="3356" y="9096"/>
                  <a:pt x="3367" y="9101"/>
                  <a:pt x="3489" y="9143"/>
                </a:cubicBezTo>
                <a:close/>
                <a:moveTo>
                  <a:pt x="17892" y="9573"/>
                </a:moveTo>
                <a:lnTo>
                  <a:pt x="17892" y="9573"/>
                </a:lnTo>
                <a:cubicBezTo>
                  <a:pt x="18464" y="9814"/>
                  <a:pt x="18930" y="10014"/>
                  <a:pt x="18930" y="10014"/>
                </a:cubicBezTo>
                <a:cubicBezTo>
                  <a:pt x="18932" y="10017"/>
                  <a:pt x="18943" y="10247"/>
                  <a:pt x="18941" y="10247"/>
                </a:cubicBezTo>
                <a:cubicBezTo>
                  <a:pt x="18941" y="10250"/>
                  <a:pt x="18472" y="10006"/>
                  <a:pt x="17901" y="9709"/>
                </a:cubicBezTo>
                <a:cubicBezTo>
                  <a:pt x="16860" y="9165"/>
                  <a:pt x="16860" y="9165"/>
                  <a:pt x="16860" y="9165"/>
                </a:cubicBezTo>
                <a:cubicBezTo>
                  <a:pt x="16852" y="9151"/>
                  <a:pt x="16852" y="9151"/>
                  <a:pt x="16852" y="9151"/>
                </a:cubicBezTo>
                <a:cubicBezTo>
                  <a:pt x="16849" y="9143"/>
                  <a:pt x="16847" y="9135"/>
                  <a:pt x="16847" y="9135"/>
                </a:cubicBezTo>
                <a:cubicBezTo>
                  <a:pt x="16847" y="9132"/>
                  <a:pt x="16702" y="9071"/>
                  <a:pt x="17892" y="9573"/>
                </a:cubicBezTo>
                <a:close/>
                <a:moveTo>
                  <a:pt x="3223" y="9182"/>
                </a:moveTo>
                <a:lnTo>
                  <a:pt x="3223" y="9182"/>
                </a:lnTo>
                <a:cubicBezTo>
                  <a:pt x="3226" y="9198"/>
                  <a:pt x="3226" y="9198"/>
                  <a:pt x="3226" y="9198"/>
                </a:cubicBezTo>
                <a:cubicBezTo>
                  <a:pt x="3215" y="9198"/>
                  <a:pt x="3215" y="9198"/>
                  <a:pt x="3215" y="9198"/>
                </a:cubicBezTo>
                <a:cubicBezTo>
                  <a:pt x="3201" y="9193"/>
                  <a:pt x="3201" y="9190"/>
                  <a:pt x="3209" y="9176"/>
                </a:cubicBezTo>
                <a:cubicBezTo>
                  <a:pt x="3215" y="9168"/>
                  <a:pt x="3220" y="9162"/>
                  <a:pt x="3220" y="9162"/>
                </a:cubicBezTo>
                <a:cubicBezTo>
                  <a:pt x="3220" y="9162"/>
                  <a:pt x="3223" y="9171"/>
                  <a:pt x="3223" y="9182"/>
                </a:cubicBezTo>
                <a:close/>
                <a:moveTo>
                  <a:pt x="691" y="9811"/>
                </a:moveTo>
                <a:lnTo>
                  <a:pt x="691" y="9811"/>
                </a:lnTo>
                <a:cubicBezTo>
                  <a:pt x="699" y="10108"/>
                  <a:pt x="707" y="10352"/>
                  <a:pt x="707" y="10355"/>
                </a:cubicBezTo>
                <a:cubicBezTo>
                  <a:pt x="707" y="10358"/>
                  <a:pt x="702" y="10358"/>
                  <a:pt x="688" y="10347"/>
                </a:cubicBezTo>
                <a:cubicBezTo>
                  <a:pt x="669" y="10336"/>
                  <a:pt x="669" y="10336"/>
                  <a:pt x="669" y="10336"/>
                </a:cubicBezTo>
                <a:cubicBezTo>
                  <a:pt x="666" y="10078"/>
                  <a:pt x="666" y="10078"/>
                  <a:pt x="666" y="10078"/>
                </a:cubicBezTo>
                <a:cubicBezTo>
                  <a:pt x="663" y="9725"/>
                  <a:pt x="663" y="9173"/>
                  <a:pt x="669" y="9232"/>
                </a:cubicBezTo>
                <a:cubicBezTo>
                  <a:pt x="669" y="9254"/>
                  <a:pt x="680" y="9517"/>
                  <a:pt x="691" y="9811"/>
                </a:cubicBezTo>
                <a:close/>
                <a:moveTo>
                  <a:pt x="3678" y="9229"/>
                </a:moveTo>
                <a:lnTo>
                  <a:pt x="3678" y="9229"/>
                </a:lnTo>
                <a:cubicBezTo>
                  <a:pt x="3728" y="9257"/>
                  <a:pt x="3728" y="9257"/>
                  <a:pt x="3728" y="9257"/>
                </a:cubicBezTo>
                <a:cubicBezTo>
                  <a:pt x="3720" y="9265"/>
                  <a:pt x="3720" y="9265"/>
                  <a:pt x="3720" y="9265"/>
                </a:cubicBezTo>
                <a:cubicBezTo>
                  <a:pt x="3714" y="9268"/>
                  <a:pt x="3711" y="9276"/>
                  <a:pt x="3711" y="9279"/>
                </a:cubicBezTo>
                <a:cubicBezTo>
                  <a:pt x="3711" y="9284"/>
                  <a:pt x="3720" y="9293"/>
                  <a:pt x="3725" y="9295"/>
                </a:cubicBezTo>
                <a:cubicBezTo>
                  <a:pt x="3728" y="9295"/>
                  <a:pt x="3731" y="9312"/>
                  <a:pt x="3731" y="9334"/>
                </a:cubicBezTo>
                <a:cubicBezTo>
                  <a:pt x="3733" y="9359"/>
                  <a:pt x="3733" y="9370"/>
                  <a:pt x="3731" y="9368"/>
                </a:cubicBezTo>
                <a:cubicBezTo>
                  <a:pt x="3728" y="9365"/>
                  <a:pt x="3628" y="9221"/>
                  <a:pt x="3620" y="9207"/>
                </a:cubicBezTo>
                <a:cubicBezTo>
                  <a:pt x="3614" y="9198"/>
                  <a:pt x="3628" y="9204"/>
                  <a:pt x="3678" y="9229"/>
                </a:cubicBezTo>
                <a:close/>
                <a:moveTo>
                  <a:pt x="16960" y="9257"/>
                </a:moveTo>
                <a:lnTo>
                  <a:pt x="16960" y="9257"/>
                </a:lnTo>
                <a:cubicBezTo>
                  <a:pt x="16996" y="9276"/>
                  <a:pt x="17027" y="9293"/>
                  <a:pt x="17027" y="9293"/>
                </a:cubicBezTo>
                <a:cubicBezTo>
                  <a:pt x="17024" y="9295"/>
                  <a:pt x="16885" y="9226"/>
                  <a:pt x="16885" y="9223"/>
                </a:cubicBezTo>
                <a:cubicBezTo>
                  <a:pt x="16885" y="9221"/>
                  <a:pt x="16880" y="9218"/>
                  <a:pt x="16960" y="9257"/>
                </a:cubicBezTo>
                <a:close/>
                <a:moveTo>
                  <a:pt x="3781" y="9321"/>
                </a:moveTo>
                <a:lnTo>
                  <a:pt x="3781" y="9321"/>
                </a:lnTo>
                <a:cubicBezTo>
                  <a:pt x="3778" y="9326"/>
                  <a:pt x="3775" y="9332"/>
                  <a:pt x="3775" y="9337"/>
                </a:cubicBezTo>
                <a:cubicBezTo>
                  <a:pt x="3772" y="9343"/>
                  <a:pt x="3772" y="9343"/>
                  <a:pt x="3769" y="9340"/>
                </a:cubicBezTo>
                <a:cubicBezTo>
                  <a:pt x="3767" y="9337"/>
                  <a:pt x="3767" y="9329"/>
                  <a:pt x="3767" y="9323"/>
                </a:cubicBezTo>
                <a:cubicBezTo>
                  <a:pt x="3767" y="9315"/>
                  <a:pt x="3767" y="9315"/>
                  <a:pt x="3775" y="9315"/>
                </a:cubicBezTo>
                <a:cubicBezTo>
                  <a:pt x="3781" y="9315"/>
                  <a:pt x="3781" y="9315"/>
                  <a:pt x="3781" y="9321"/>
                </a:cubicBezTo>
                <a:close/>
                <a:moveTo>
                  <a:pt x="17859" y="9318"/>
                </a:moveTo>
                <a:lnTo>
                  <a:pt x="17859" y="9318"/>
                </a:lnTo>
                <a:cubicBezTo>
                  <a:pt x="17862" y="9321"/>
                  <a:pt x="17864" y="9321"/>
                  <a:pt x="17862" y="9321"/>
                </a:cubicBezTo>
                <a:cubicBezTo>
                  <a:pt x="17859" y="9321"/>
                  <a:pt x="17856" y="9321"/>
                  <a:pt x="17851" y="9318"/>
                </a:cubicBezTo>
                <a:cubicBezTo>
                  <a:pt x="17848" y="9315"/>
                  <a:pt x="17848" y="9315"/>
                  <a:pt x="17851" y="9315"/>
                </a:cubicBezTo>
                <a:cubicBezTo>
                  <a:pt x="17853" y="9315"/>
                  <a:pt x="17856" y="9315"/>
                  <a:pt x="17859" y="9318"/>
                </a:cubicBezTo>
                <a:close/>
                <a:moveTo>
                  <a:pt x="18328" y="9501"/>
                </a:moveTo>
                <a:lnTo>
                  <a:pt x="18328" y="9501"/>
                </a:lnTo>
                <a:cubicBezTo>
                  <a:pt x="18785" y="9678"/>
                  <a:pt x="18785" y="9678"/>
                  <a:pt x="18785" y="9678"/>
                </a:cubicBezTo>
                <a:cubicBezTo>
                  <a:pt x="18802" y="9695"/>
                  <a:pt x="18802" y="9695"/>
                  <a:pt x="18802" y="9695"/>
                </a:cubicBezTo>
                <a:cubicBezTo>
                  <a:pt x="18810" y="9703"/>
                  <a:pt x="18816" y="9712"/>
                  <a:pt x="18813" y="9712"/>
                </a:cubicBezTo>
                <a:cubicBezTo>
                  <a:pt x="18813" y="9712"/>
                  <a:pt x="17989" y="9376"/>
                  <a:pt x="17898" y="9337"/>
                </a:cubicBezTo>
                <a:cubicBezTo>
                  <a:pt x="17873" y="9326"/>
                  <a:pt x="17862" y="9321"/>
                  <a:pt x="17867" y="9321"/>
                </a:cubicBezTo>
                <a:cubicBezTo>
                  <a:pt x="17867" y="9321"/>
                  <a:pt x="18075" y="9401"/>
                  <a:pt x="18328" y="9501"/>
                </a:cubicBezTo>
                <a:close/>
                <a:moveTo>
                  <a:pt x="3894" y="9401"/>
                </a:moveTo>
                <a:lnTo>
                  <a:pt x="3894" y="9401"/>
                </a:lnTo>
                <a:cubicBezTo>
                  <a:pt x="3925" y="9426"/>
                  <a:pt x="3950" y="9448"/>
                  <a:pt x="3950" y="9448"/>
                </a:cubicBezTo>
                <a:cubicBezTo>
                  <a:pt x="3947" y="9451"/>
                  <a:pt x="3828" y="9409"/>
                  <a:pt x="3825" y="9404"/>
                </a:cubicBezTo>
                <a:cubicBezTo>
                  <a:pt x="3822" y="9404"/>
                  <a:pt x="3822" y="9387"/>
                  <a:pt x="3822" y="9373"/>
                </a:cubicBezTo>
                <a:cubicBezTo>
                  <a:pt x="3822" y="9345"/>
                  <a:pt x="3822" y="9345"/>
                  <a:pt x="3822" y="9345"/>
                </a:cubicBezTo>
                <a:cubicBezTo>
                  <a:pt x="3828" y="9351"/>
                  <a:pt x="3828" y="9351"/>
                  <a:pt x="3828" y="9351"/>
                </a:cubicBezTo>
                <a:cubicBezTo>
                  <a:pt x="3833" y="9354"/>
                  <a:pt x="3861" y="9376"/>
                  <a:pt x="3894" y="9401"/>
                </a:cubicBezTo>
                <a:close/>
                <a:moveTo>
                  <a:pt x="17046" y="9426"/>
                </a:moveTo>
                <a:lnTo>
                  <a:pt x="17046" y="9426"/>
                </a:lnTo>
                <a:cubicBezTo>
                  <a:pt x="17157" y="9490"/>
                  <a:pt x="17202" y="9517"/>
                  <a:pt x="17171" y="9501"/>
                </a:cubicBezTo>
                <a:cubicBezTo>
                  <a:pt x="17132" y="9484"/>
                  <a:pt x="16907" y="9357"/>
                  <a:pt x="16907" y="9354"/>
                </a:cubicBezTo>
                <a:cubicBezTo>
                  <a:pt x="16907" y="9351"/>
                  <a:pt x="16910" y="9351"/>
                  <a:pt x="16913" y="9351"/>
                </a:cubicBezTo>
                <a:cubicBezTo>
                  <a:pt x="16916" y="9351"/>
                  <a:pt x="16974" y="9384"/>
                  <a:pt x="17046" y="9426"/>
                </a:cubicBezTo>
                <a:close/>
                <a:moveTo>
                  <a:pt x="4039" y="9412"/>
                </a:moveTo>
                <a:lnTo>
                  <a:pt x="4039" y="9412"/>
                </a:lnTo>
                <a:cubicBezTo>
                  <a:pt x="4111" y="9437"/>
                  <a:pt x="4166" y="9459"/>
                  <a:pt x="4166" y="9459"/>
                </a:cubicBezTo>
                <a:cubicBezTo>
                  <a:pt x="4169" y="9459"/>
                  <a:pt x="4169" y="9473"/>
                  <a:pt x="4172" y="9492"/>
                </a:cubicBezTo>
                <a:cubicBezTo>
                  <a:pt x="4172" y="9517"/>
                  <a:pt x="4172" y="9526"/>
                  <a:pt x="4169" y="9526"/>
                </a:cubicBezTo>
                <a:cubicBezTo>
                  <a:pt x="4166" y="9526"/>
                  <a:pt x="4141" y="9517"/>
                  <a:pt x="4113" y="9506"/>
                </a:cubicBezTo>
                <a:cubicBezTo>
                  <a:pt x="4061" y="9490"/>
                  <a:pt x="4061" y="9490"/>
                  <a:pt x="4061" y="9490"/>
                </a:cubicBezTo>
                <a:cubicBezTo>
                  <a:pt x="3986" y="9431"/>
                  <a:pt x="3986" y="9431"/>
                  <a:pt x="3986" y="9431"/>
                </a:cubicBezTo>
                <a:cubicBezTo>
                  <a:pt x="3905" y="9368"/>
                  <a:pt x="3903" y="9365"/>
                  <a:pt x="3908" y="9365"/>
                </a:cubicBezTo>
                <a:cubicBezTo>
                  <a:pt x="3911" y="9365"/>
                  <a:pt x="3969" y="9387"/>
                  <a:pt x="4039" y="9412"/>
                </a:cubicBezTo>
                <a:close/>
                <a:moveTo>
                  <a:pt x="17634" y="9847"/>
                </a:moveTo>
                <a:lnTo>
                  <a:pt x="17634" y="9847"/>
                </a:lnTo>
                <a:cubicBezTo>
                  <a:pt x="18039" y="10094"/>
                  <a:pt x="18372" y="10300"/>
                  <a:pt x="18375" y="10302"/>
                </a:cubicBezTo>
                <a:cubicBezTo>
                  <a:pt x="18380" y="10308"/>
                  <a:pt x="18325" y="10277"/>
                  <a:pt x="17551" y="9864"/>
                </a:cubicBezTo>
                <a:cubicBezTo>
                  <a:pt x="17135" y="9645"/>
                  <a:pt x="16797" y="9462"/>
                  <a:pt x="16797" y="9459"/>
                </a:cubicBezTo>
                <a:cubicBezTo>
                  <a:pt x="16797" y="9456"/>
                  <a:pt x="16813" y="9440"/>
                  <a:pt x="16835" y="9418"/>
                </a:cubicBezTo>
                <a:cubicBezTo>
                  <a:pt x="16877" y="9382"/>
                  <a:pt x="16877" y="9382"/>
                  <a:pt x="16877" y="9382"/>
                </a:cubicBezTo>
                <a:cubicBezTo>
                  <a:pt x="16888" y="9387"/>
                  <a:pt x="16888" y="9387"/>
                  <a:pt x="16888" y="9387"/>
                </a:cubicBezTo>
                <a:cubicBezTo>
                  <a:pt x="16894" y="9393"/>
                  <a:pt x="17229" y="9598"/>
                  <a:pt x="17634" y="9847"/>
                </a:cubicBezTo>
                <a:close/>
                <a:moveTo>
                  <a:pt x="6662" y="9387"/>
                </a:moveTo>
                <a:lnTo>
                  <a:pt x="6662" y="9387"/>
                </a:lnTo>
                <a:cubicBezTo>
                  <a:pt x="6665" y="9390"/>
                  <a:pt x="6510" y="9931"/>
                  <a:pt x="6504" y="9933"/>
                </a:cubicBezTo>
                <a:cubicBezTo>
                  <a:pt x="6504" y="9933"/>
                  <a:pt x="6502" y="9931"/>
                  <a:pt x="6496" y="9925"/>
                </a:cubicBezTo>
                <a:cubicBezTo>
                  <a:pt x="6482" y="9906"/>
                  <a:pt x="6147" y="9387"/>
                  <a:pt x="6147" y="9384"/>
                </a:cubicBezTo>
                <a:cubicBezTo>
                  <a:pt x="6147" y="9382"/>
                  <a:pt x="6662" y="9384"/>
                  <a:pt x="6662" y="9387"/>
                </a:cubicBezTo>
                <a:close/>
                <a:moveTo>
                  <a:pt x="6055" y="9398"/>
                </a:moveTo>
                <a:lnTo>
                  <a:pt x="6055" y="9398"/>
                </a:lnTo>
                <a:cubicBezTo>
                  <a:pt x="6055" y="9398"/>
                  <a:pt x="5728" y="9725"/>
                  <a:pt x="5686" y="9764"/>
                </a:cubicBezTo>
                <a:cubicBezTo>
                  <a:pt x="5661" y="9786"/>
                  <a:pt x="5661" y="9786"/>
                  <a:pt x="5661" y="9786"/>
                </a:cubicBezTo>
                <a:cubicBezTo>
                  <a:pt x="5281" y="9692"/>
                  <a:pt x="5281" y="9692"/>
                  <a:pt x="5281" y="9692"/>
                </a:cubicBezTo>
                <a:cubicBezTo>
                  <a:pt x="4843" y="9584"/>
                  <a:pt x="4873" y="9592"/>
                  <a:pt x="4876" y="9590"/>
                </a:cubicBezTo>
                <a:cubicBezTo>
                  <a:pt x="4879" y="9587"/>
                  <a:pt x="6033" y="9395"/>
                  <a:pt x="6047" y="9395"/>
                </a:cubicBezTo>
                <a:cubicBezTo>
                  <a:pt x="6052" y="9395"/>
                  <a:pt x="6055" y="9395"/>
                  <a:pt x="6055" y="9398"/>
                </a:cubicBezTo>
                <a:close/>
                <a:moveTo>
                  <a:pt x="6294" y="9678"/>
                </a:moveTo>
                <a:lnTo>
                  <a:pt x="6294" y="9678"/>
                </a:lnTo>
                <a:cubicBezTo>
                  <a:pt x="6391" y="9828"/>
                  <a:pt x="6468" y="9950"/>
                  <a:pt x="6468" y="9953"/>
                </a:cubicBezTo>
                <a:cubicBezTo>
                  <a:pt x="6466" y="9953"/>
                  <a:pt x="5711" y="9798"/>
                  <a:pt x="5708" y="9795"/>
                </a:cubicBezTo>
                <a:cubicBezTo>
                  <a:pt x="5706" y="9795"/>
                  <a:pt x="5797" y="9703"/>
                  <a:pt x="5908" y="9595"/>
                </a:cubicBezTo>
                <a:cubicBezTo>
                  <a:pt x="6058" y="9445"/>
                  <a:pt x="6110" y="9398"/>
                  <a:pt x="6113" y="9401"/>
                </a:cubicBezTo>
                <a:cubicBezTo>
                  <a:pt x="6116" y="9401"/>
                  <a:pt x="6196" y="9526"/>
                  <a:pt x="6294" y="9678"/>
                </a:cubicBezTo>
                <a:close/>
                <a:moveTo>
                  <a:pt x="12151" y="9817"/>
                </a:moveTo>
                <a:lnTo>
                  <a:pt x="12151" y="9817"/>
                </a:lnTo>
                <a:cubicBezTo>
                  <a:pt x="12364" y="10044"/>
                  <a:pt x="12536" y="10230"/>
                  <a:pt x="12536" y="10230"/>
                </a:cubicBezTo>
                <a:cubicBezTo>
                  <a:pt x="12533" y="10233"/>
                  <a:pt x="12431" y="10258"/>
                  <a:pt x="12306" y="10286"/>
                </a:cubicBezTo>
                <a:cubicBezTo>
                  <a:pt x="12151" y="10324"/>
                  <a:pt x="12078" y="10338"/>
                  <a:pt x="12076" y="10336"/>
                </a:cubicBezTo>
                <a:cubicBezTo>
                  <a:pt x="12073" y="10333"/>
                  <a:pt x="12001" y="10125"/>
                  <a:pt x="11915" y="9875"/>
                </a:cubicBezTo>
                <a:cubicBezTo>
                  <a:pt x="11829" y="9623"/>
                  <a:pt x="11760" y="9412"/>
                  <a:pt x="11757" y="9409"/>
                </a:cubicBezTo>
                <a:cubicBezTo>
                  <a:pt x="11757" y="9406"/>
                  <a:pt x="11757" y="9406"/>
                  <a:pt x="11760" y="9406"/>
                </a:cubicBezTo>
                <a:cubicBezTo>
                  <a:pt x="11762" y="9406"/>
                  <a:pt x="11937" y="9592"/>
                  <a:pt x="12151" y="9817"/>
                </a:cubicBezTo>
                <a:close/>
                <a:moveTo>
                  <a:pt x="3844" y="9617"/>
                </a:moveTo>
                <a:lnTo>
                  <a:pt x="3844" y="9617"/>
                </a:lnTo>
                <a:cubicBezTo>
                  <a:pt x="4199" y="9728"/>
                  <a:pt x="4521" y="9831"/>
                  <a:pt x="4560" y="9842"/>
                </a:cubicBezTo>
                <a:cubicBezTo>
                  <a:pt x="4629" y="9864"/>
                  <a:pt x="4629" y="9864"/>
                  <a:pt x="4629" y="9864"/>
                </a:cubicBezTo>
                <a:cubicBezTo>
                  <a:pt x="4627" y="9895"/>
                  <a:pt x="4627" y="9895"/>
                  <a:pt x="4627" y="9895"/>
                </a:cubicBezTo>
                <a:cubicBezTo>
                  <a:pt x="4624" y="9909"/>
                  <a:pt x="4624" y="9922"/>
                  <a:pt x="4624" y="9922"/>
                </a:cubicBezTo>
                <a:cubicBezTo>
                  <a:pt x="4621" y="9925"/>
                  <a:pt x="3273" y="9445"/>
                  <a:pt x="3223" y="9426"/>
                </a:cubicBezTo>
                <a:cubicBezTo>
                  <a:pt x="3206" y="9418"/>
                  <a:pt x="3195" y="9415"/>
                  <a:pt x="3198" y="9415"/>
                </a:cubicBezTo>
                <a:cubicBezTo>
                  <a:pt x="3198" y="9415"/>
                  <a:pt x="3489" y="9506"/>
                  <a:pt x="3844" y="9617"/>
                </a:cubicBezTo>
                <a:close/>
                <a:moveTo>
                  <a:pt x="6785" y="9565"/>
                </a:moveTo>
                <a:lnTo>
                  <a:pt x="6785" y="9565"/>
                </a:lnTo>
                <a:cubicBezTo>
                  <a:pt x="6832" y="9645"/>
                  <a:pt x="6868" y="9712"/>
                  <a:pt x="6868" y="9712"/>
                </a:cubicBezTo>
                <a:cubicBezTo>
                  <a:pt x="6859" y="9720"/>
                  <a:pt x="6546" y="9936"/>
                  <a:pt x="6546" y="9933"/>
                </a:cubicBezTo>
                <a:cubicBezTo>
                  <a:pt x="6543" y="9931"/>
                  <a:pt x="6693" y="9420"/>
                  <a:pt x="6696" y="9420"/>
                </a:cubicBezTo>
                <a:cubicBezTo>
                  <a:pt x="6696" y="9420"/>
                  <a:pt x="6737" y="9487"/>
                  <a:pt x="6785" y="9565"/>
                </a:cubicBezTo>
                <a:close/>
                <a:moveTo>
                  <a:pt x="3317" y="9498"/>
                </a:moveTo>
                <a:lnTo>
                  <a:pt x="3317" y="9498"/>
                </a:lnTo>
                <a:cubicBezTo>
                  <a:pt x="3473" y="9551"/>
                  <a:pt x="3473" y="9551"/>
                  <a:pt x="3473" y="9551"/>
                </a:cubicBezTo>
                <a:cubicBezTo>
                  <a:pt x="3517" y="9578"/>
                  <a:pt x="3517" y="9578"/>
                  <a:pt x="3517" y="9578"/>
                </a:cubicBezTo>
                <a:cubicBezTo>
                  <a:pt x="3542" y="9592"/>
                  <a:pt x="3561" y="9603"/>
                  <a:pt x="3561" y="9603"/>
                </a:cubicBezTo>
                <a:cubicBezTo>
                  <a:pt x="3561" y="9606"/>
                  <a:pt x="3525" y="9592"/>
                  <a:pt x="3478" y="9578"/>
                </a:cubicBezTo>
                <a:cubicBezTo>
                  <a:pt x="3423" y="9559"/>
                  <a:pt x="3362" y="9534"/>
                  <a:pt x="3287" y="9501"/>
                </a:cubicBezTo>
                <a:cubicBezTo>
                  <a:pt x="3187" y="9456"/>
                  <a:pt x="3145" y="9437"/>
                  <a:pt x="3159" y="9440"/>
                </a:cubicBezTo>
                <a:cubicBezTo>
                  <a:pt x="3162" y="9443"/>
                  <a:pt x="3234" y="9468"/>
                  <a:pt x="3317" y="9498"/>
                </a:cubicBezTo>
                <a:close/>
                <a:moveTo>
                  <a:pt x="4022" y="9567"/>
                </a:moveTo>
                <a:lnTo>
                  <a:pt x="4022" y="9567"/>
                </a:lnTo>
                <a:cubicBezTo>
                  <a:pt x="4136" y="9609"/>
                  <a:pt x="4235" y="9648"/>
                  <a:pt x="4238" y="9648"/>
                </a:cubicBezTo>
                <a:cubicBezTo>
                  <a:pt x="4247" y="9651"/>
                  <a:pt x="4249" y="9648"/>
                  <a:pt x="4258" y="9639"/>
                </a:cubicBezTo>
                <a:cubicBezTo>
                  <a:pt x="4269" y="9628"/>
                  <a:pt x="4269" y="9628"/>
                  <a:pt x="4269" y="9628"/>
                </a:cubicBezTo>
                <a:cubicBezTo>
                  <a:pt x="4482" y="9689"/>
                  <a:pt x="4482" y="9689"/>
                  <a:pt x="4482" y="9689"/>
                </a:cubicBezTo>
                <a:cubicBezTo>
                  <a:pt x="4602" y="9720"/>
                  <a:pt x="4699" y="9750"/>
                  <a:pt x="4699" y="9753"/>
                </a:cubicBezTo>
                <a:cubicBezTo>
                  <a:pt x="4699" y="9753"/>
                  <a:pt x="4685" y="9773"/>
                  <a:pt x="4671" y="9795"/>
                </a:cubicBezTo>
                <a:cubicBezTo>
                  <a:pt x="4643" y="9831"/>
                  <a:pt x="4643" y="9831"/>
                  <a:pt x="4643" y="9831"/>
                </a:cubicBezTo>
                <a:cubicBezTo>
                  <a:pt x="4635" y="9828"/>
                  <a:pt x="4635" y="9828"/>
                  <a:pt x="4635" y="9828"/>
                </a:cubicBezTo>
                <a:cubicBezTo>
                  <a:pt x="4585" y="9809"/>
                  <a:pt x="3819" y="9495"/>
                  <a:pt x="3814" y="9492"/>
                </a:cubicBezTo>
                <a:cubicBezTo>
                  <a:pt x="3811" y="9490"/>
                  <a:pt x="3808" y="9487"/>
                  <a:pt x="3811" y="9487"/>
                </a:cubicBezTo>
                <a:cubicBezTo>
                  <a:pt x="3811" y="9487"/>
                  <a:pt x="3908" y="9523"/>
                  <a:pt x="4022" y="9567"/>
                </a:cubicBezTo>
                <a:close/>
                <a:moveTo>
                  <a:pt x="17742" y="10008"/>
                </a:moveTo>
                <a:lnTo>
                  <a:pt x="17742" y="10008"/>
                </a:lnTo>
                <a:cubicBezTo>
                  <a:pt x="18275" y="10291"/>
                  <a:pt x="18719" y="10530"/>
                  <a:pt x="18730" y="10535"/>
                </a:cubicBezTo>
                <a:cubicBezTo>
                  <a:pt x="18741" y="10541"/>
                  <a:pt x="18746" y="10544"/>
                  <a:pt x="18741" y="10544"/>
                </a:cubicBezTo>
                <a:cubicBezTo>
                  <a:pt x="18691" y="10530"/>
                  <a:pt x="16405" y="9839"/>
                  <a:pt x="16405" y="9836"/>
                </a:cubicBezTo>
                <a:cubicBezTo>
                  <a:pt x="16405" y="9834"/>
                  <a:pt x="16486" y="9756"/>
                  <a:pt x="16586" y="9659"/>
                </a:cubicBezTo>
                <a:cubicBezTo>
                  <a:pt x="16708" y="9540"/>
                  <a:pt x="16763" y="9487"/>
                  <a:pt x="16769" y="9490"/>
                </a:cubicBezTo>
                <a:cubicBezTo>
                  <a:pt x="16772" y="9490"/>
                  <a:pt x="17210" y="9723"/>
                  <a:pt x="17742" y="10008"/>
                </a:cubicBezTo>
                <a:close/>
                <a:moveTo>
                  <a:pt x="4288" y="9556"/>
                </a:moveTo>
                <a:lnTo>
                  <a:pt x="4288" y="9556"/>
                </a:lnTo>
                <a:cubicBezTo>
                  <a:pt x="4288" y="9562"/>
                  <a:pt x="4274" y="9562"/>
                  <a:pt x="4255" y="9556"/>
                </a:cubicBezTo>
                <a:cubicBezTo>
                  <a:pt x="4230" y="9548"/>
                  <a:pt x="4227" y="9545"/>
                  <a:pt x="4230" y="9512"/>
                </a:cubicBezTo>
                <a:cubicBezTo>
                  <a:pt x="4230" y="9490"/>
                  <a:pt x="4230" y="9490"/>
                  <a:pt x="4230" y="9490"/>
                </a:cubicBezTo>
                <a:cubicBezTo>
                  <a:pt x="4258" y="9520"/>
                  <a:pt x="4258" y="9520"/>
                  <a:pt x="4258" y="9520"/>
                </a:cubicBezTo>
                <a:cubicBezTo>
                  <a:pt x="4274" y="9537"/>
                  <a:pt x="4288" y="9554"/>
                  <a:pt x="4288" y="9556"/>
                </a:cubicBezTo>
                <a:close/>
                <a:moveTo>
                  <a:pt x="4346" y="9509"/>
                </a:moveTo>
                <a:lnTo>
                  <a:pt x="4346" y="9509"/>
                </a:lnTo>
                <a:cubicBezTo>
                  <a:pt x="4355" y="9512"/>
                  <a:pt x="4360" y="9515"/>
                  <a:pt x="4360" y="9517"/>
                </a:cubicBezTo>
                <a:cubicBezTo>
                  <a:pt x="4360" y="9517"/>
                  <a:pt x="4352" y="9523"/>
                  <a:pt x="4341" y="9528"/>
                </a:cubicBezTo>
                <a:cubicBezTo>
                  <a:pt x="4321" y="9540"/>
                  <a:pt x="4321" y="9540"/>
                  <a:pt x="4321" y="9540"/>
                </a:cubicBezTo>
                <a:cubicBezTo>
                  <a:pt x="4302" y="9517"/>
                  <a:pt x="4302" y="9517"/>
                  <a:pt x="4302" y="9517"/>
                </a:cubicBezTo>
                <a:cubicBezTo>
                  <a:pt x="4294" y="9506"/>
                  <a:pt x="4283" y="9495"/>
                  <a:pt x="4283" y="9495"/>
                </a:cubicBezTo>
                <a:cubicBezTo>
                  <a:pt x="4283" y="9492"/>
                  <a:pt x="4297" y="9495"/>
                  <a:pt x="4308" y="9498"/>
                </a:cubicBezTo>
                <a:cubicBezTo>
                  <a:pt x="4321" y="9504"/>
                  <a:pt x="4341" y="9506"/>
                  <a:pt x="4346" y="9509"/>
                </a:cubicBezTo>
                <a:close/>
                <a:moveTo>
                  <a:pt x="18943" y="10313"/>
                </a:moveTo>
                <a:lnTo>
                  <a:pt x="18943" y="10313"/>
                </a:lnTo>
                <a:cubicBezTo>
                  <a:pt x="18943" y="10347"/>
                  <a:pt x="18938" y="10402"/>
                  <a:pt x="18935" y="10402"/>
                </a:cubicBezTo>
                <a:cubicBezTo>
                  <a:pt x="18932" y="10402"/>
                  <a:pt x="17396" y="9526"/>
                  <a:pt x="17390" y="9520"/>
                </a:cubicBezTo>
                <a:cubicBezTo>
                  <a:pt x="17390" y="9517"/>
                  <a:pt x="17737" y="9692"/>
                  <a:pt x="18164" y="9903"/>
                </a:cubicBezTo>
                <a:cubicBezTo>
                  <a:pt x="18943" y="10291"/>
                  <a:pt x="18943" y="10291"/>
                  <a:pt x="18943" y="10291"/>
                </a:cubicBezTo>
                <a:cubicBezTo>
                  <a:pt x="18943" y="10313"/>
                  <a:pt x="18943" y="10313"/>
                  <a:pt x="18943" y="10313"/>
                </a:cubicBezTo>
                <a:close/>
                <a:moveTo>
                  <a:pt x="18566" y="9653"/>
                </a:moveTo>
                <a:lnTo>
                  <a:pt x="18566" y="9653"/>
                </a:lnTo>
                <a:cubicBezTo>
                  <a:pt x="18730" y="9717"/>
                  <a:pt x="18866" y="9773"/>
                  <a:pt x="18869" y="9775"/>
                </a:cubicBezTo>
                <a:cubicBezTo>
                  <a:pt x="18874" y="9778"/>
                  <a:pt x="18882" y="9789"/>
                  <a:pt x="18880" y="9792"/>
                </a:cubicBezTo>
                <a:cubicBezTo>
                  <a:pt x="18880" y="9795"/>
                  <a:pt x="18846" y="9781"/>
                  <a:pt x="18810" y="9764"/>
                </a:cubicBezTo>
                <a:cubicBezTo>
                  <a:pt x="18300" y="9548"/>
                  <a:pt x="18247" y="9526"/>
                  <a:pt x="18267" y="9528"/>
                </a:cubicBezTo>
                <a:cubicBezTo>
                  <a:pt x="18269" y="9531"/>
                  <a:pt x="18405" y="9587"/>
                  <a:pt x="18566" y="9653"/>
                </a:cubicBezTo>
                <a:close/>
                <a:moveTo>
                  <a:pt x="4513" y="9603"/>
                </a:moveTo>
                <a:lnTo>
                  <a:pt x="4513" y="9603"/>
                </a:lnTo>
                <a:cubicBezTo>
                  <a:pt x="4568" y="9642"/>
                  <a:pt x="4613" y="9676"/>
                  <a:pt x="4613" y="9676"/>
                </a:cubicBezTo>
                <a:cubicBezTo>
                  <a:pt x="4613" y="9676"/>
                  <a:pt x="4613" y="9676"/>
                  <a:pt x="4613" y="9678"/>
                </a:cubicBezTo>
                <a:cubicBezTo>
                  <a:pt x="4610" y="9678"/>
                  <a:pt x="4330" y="9584"/>
                  <a:pt x="4327" y="9578"/>
                </a:cubicBezTo>
                <a:cubicBezTo>
                  <a:pt x="4324" y="9578"/>
                  <a:pt x="4405" y="9534"/>
                  <a:pt x="4410" y="9531"/>
                </a:cubicBezTo>
                <a:cubicBezTo>
                  <a:pt x="4413" y="9531"/>
                  <a:pt x="4457" y="9565"/>
                  <a:pt x="4513" y="9603"/>
                </a:cubicBezTo>
                <a:close/>
                <a:moveTo>
                  <a:pt x="4743" y="9603"/>
                </a:moveTo>
                <a:lnTo>
                  <a:pt x="4743" y="9603"/>
                </a:lnTo>
                <a:cubicBezTo>
                  <a:pt x="4818" y="9620"/>
                  <a:pt x="4879" y="9634"/>
                  <a:pt x="4879" y="9634"/>
                </a:cubicBezTo>
                <a:cubicBezTo>
                  <a:pt x="4879" y="9637"/>
                  <a:pt x="4846" y="9656"/>
                  <a:pt x="4807" y="9678"/>
                </a:cubicBezTo>
                <a:cubicBezTo>
                  <a:pt x="4735" y="9717"/>
                  <a:pt x="4735" y="9717"/>
                  <a:pt x="4735" y="9717"/>
                </a:cubicBezTo>
                <a:cubicBezTo>
                  <a:pt x="4726" y="9714"/>
                  <a:pt x="4726" y="9714"/>
                  <a:pt x="4726" y="9714"/>
                </a:cubicBezTo>
                <a:cubicBezTo>
                  <a:pt x="4710" y="9703"/>
                  <a:pt x="4504" y="9554"/>
                  <a:pt x="4502" y="9551"/>
                </a:cubicBezTo>
                <a:cubicBezTo>
                  <a:pt x="4502" y="9548"/>
                  <a:pt x="4527" y="9554"/>
                  <a:pt x="4554" y="9559"/>
                </a:cubicBezTo>
                <a:cubicBezTo>
                  <a:pt x="4585" y="9567"/>
                  <a:pt x="4668" y="9587"/>
                  <a:pt x="4743" y="9603"/>
                </a:cubicBezTo>
                <a:close/>
                <a:moveTo>
                  <a:pt x="13235" y="9631"/>
                </a:moveTo>
                <a:lnTo>
                  <a:pt x="13235" y="9631"/>
                </a:lnTo>
                <a:cubicBezTo>
                  <a:pt x="13257" y="9692"/>
                  <a:pt x="13684" y="10874"/>
                  <a:pt x="13684" y="10882"/>
                </a:cubicBezTo>
                <a:cubicBezTo>
                  <a:pt x="13687" y="10888"/>
                  <a:pt x="13654" y="10899"/>
                  <a:pt x="13651" y="10893"/>
                </a:cubicBezTo>
                <a:cubicBezTo>
                  <a:pt x="13648" y="10893"/>
                  <a:pt x="13551" y="10599"/>
                  <a:pt x="13432" y="10244"/>
                </a:cubicBezTo>
                <a:cubicBezTo>
                  <a:pt x="13316" y="9886"/>
                  <a:pt x="13216" y="9592"/>
                  <a:pt x="13216" y="9590"/>
                </a:cubicBezTo>
                <a:cubicBezTo>
                  <a:pt x="13213" y="9584"/>
                  <a:pt x="13213" y="9581"/>
                  <a:pt x="13216" y="9584"/>
                </a:cubicBezTo>
                <a:cubicBezTo>
                  <a:pt x="13216" y="9584"/>
                  <a:pt x="13224" y="9606"/>
                  <a:pt x="13235" y="9631"/>
                </a:cubicBezTo>
                <a:close/>
                <a:moveTo>
                  <a:pt x="3769" y="9714"/>
                </a:moveTo>
                <a:lnTo>
                  <a:pt x="3769" y="9714"/>
                </a:lnTo>
                <a:cubicBezTo>
                  <a:pt x="3772" y="9717"/>
                  <a:pt x="4061" y="10594"/>
                  <a:pt x="4058" y="10596"/>
                </a:cubicBezTo>
                <a:cubicBezTo>
                  <a:pt x="4055" y="10596"/>
                  <a:pt x="3445" y="9617"/>
                  <a:pt x="3442" y="9609"/>
                </a:cubicBezTo>
                <a:cubicBezTo>
                  <a:pt x="3439" y="9601"/>
                  <a:pt x="3761" y="9706"/>
                  <a:pt x="3769" y="9714"/>
                </a:cubicBezTo>
                <a:close/>
                <a:moveTo>
                  <a:pt x="3847" y="9687"/>
                </a:moveTo>
                <a:lnTo>
                  <a:pt x="3847" y="9687"/>
                </a:lnTo>
                <a:cubicBezTo>
                  <a:pt x="3933" y="9717"/>
                  <a:pt x="4002" y="9742"/>
                  <a:pt x="4000" y="9742"/>
                </a:cubicBezTo>
                <a:cubicBezTo>
                  <a:pt x="4000" y="9745"/>
                  <a:pt x="3947" y="9728"/>
                  <a:pt x="3836" y="9695"/>
                </a:cubicBezTo>
                <a:cubicBezTo>
                  <a:pt x="3758" y="9673"/>
                  <a:pt x="3758" y="9673"/>
                  <a:pt x="3758" y="9673"/>
                </a:cubicBezTo>
                <a:cubicBezTo>
                  <a:pt x="3722" y="9651"/>
                  <a:pt x="3722" y="9651"/>
                  <a:pt x="3722" y="9651"/>
                </a:cubicBezTo>
                <a:cubicBezTo>
                  <a:pt x="3700" y="9639"/>
                  <a:pt x="3683" y="9631"/>
                  <a:pt x="3683" y="9628"/>
                </a:cubicBezTo>
                <a:cubicBezTo>
                  <a:pt x="3683" y="9628"/>
                  <a:pt x="3686" y="9628"/>
                  <a:pt x="3689" y="9628"/>
                </a:cubicBezTo>
                <a:cubicBezTo>
                  <a:pt x="3689" y="9628"/>
                  <a:pt x="3761" y="9656"/>
                  <a:pt x="3847" y="9687"/>
                </a:cubicBezTo>
                <a:close/>
                <a:moveTo>
                  <a:pt x="13343" y="10269"/>
                </a:moveTo>
                <a:lnTo>
                  <a:pt x="13343" y="10269"/>
                </a:lnTo>
                <a:cubicBezTo>
                  <a:pt x="13488" y="10605"/>
                  <a:pt x="13604" y="10882"/>
                  <a:pt x="13607" y="10888"/>
                </a:cubicBezTo>
                <a:cubicBezTo>
                  <a:pt x="13610" y="10890"/>
                  <a:pt x="13610" y="10893"/>
                  <a:pt x="13610" y="10896"/>
                </a:cubicBezTo>
                <a:cubicBezTo>
                  <a:pt x="13607" y="10896"/>
                  <a:pt x="13496" y="10882"/>
                  <a:pt x="13493" y="10879"/>
                </a:cubicBezTo>
                <a:cubicBezTo>
                  <a:pt x="13493" y="10879"/>
                  <a:pt x="13443" y="10724"/>
                  <a:pt x="13385" y="10533"/>
                </a:cubicBezTo>
                <a:cubicBezTo>
                  <a:pt x="13277" y="10189"/>
                  <a:pt x="13277" y="10189"/>
                  <a:pt x="13277" y="10189"/>
                </a:cubicBezTo>
                <a:cubicBezTo>
                  <a:pt x="13177" y="9922"/>
                  <a:pt x="13177" y="9922"/>
                  <a:pt x="13177" y="9922"/>
                </a:cubicBezTo>
                <a:cubicBezTo>
                  <a:pt x="13124" y="9775"/>
                  <a:pt x="13077" y="9653"/>
                  <a:pt x="13077" y="9648"/>
                </a:cubicBezTo>
                <a:cubicBezTo>
                  <a:pt x="13066" y="9617"/>
                  <a:pt x="13116" y="9737"/>
                  <a:pt x="13343" y="10269"/>
                </a:cubicBezTo>
                <a:close/>
                <a:moveTo>
                  <a:pt x="4973" y="9676"/>
                </a:moveTo>
                <a:lnTo>
                  <a:pt x="4973" y="9676"/>
                </a:lnTo>
                <a:cubicBezTo>
                  <a:pt x="5065" y="9734"/>
                  <a:pt x="5167" y="9806"/>
                  <a:pt x="5167" y="9809"/>
                </a:cubicBezTo>
                <a:cubicBezTo>
                  <a:pt x="5165" y="9809"/>
                  <a:pt x="4787" y="9734"/>
                  <a:pt x="4787" y="9731"/>
                </a:cubicBezTo>
                <a:cubicBezTo>
                  <a:pt x="4787" y="9728"/>
                  <a:pt x="4926" y="9651"/>
                  <a:pt x="4932" y="9651"/>
                </a:cubicBezTo>
                <a:cubicBezTo>
                  <a:pt x="4934" y="9651"/>
                  <a:pt x="4954" y="9662"/>
                  <a:pt x="4973" y="9676"/>
                </a:cubicBezTo>
                <a:close/>
                <a:moveTo>
                  <a:pt x="12691" y="9883"/>
                </a:moveTo>
                <a:lnTo>
                  <a:pt x="12691" y="9883"/>
                </a:lnTo>
                <a:cubicBezTo>
                  <a:pt x="12741" y="10000"/>
                  <a:pt x="12780" y="10094"/>
                  <a:pt x="12780" y="10097"/>
                </a:cubicBezTo>
                <a:cubicBezTo>
                  <a:pt x="12780" y="10100"/>
                  <a:pt x="12758" y="10108"/>
                  <a:pt x="12758" y="10108"/>
                </a:cubicBezTo>
                <a:cubicBezTo>
                  <a:pt x="12755" y="10105"/>
                  <a:pt x="12592" y="9667"/>
                  <a:pt x="12589" y="9656"/>
                </a:cubicBezTo>
                <a:cubicBezTo>
                  <a:pt x="12581" y="9631"/>
                  <a:pt x="12611" y="9698"/>
                  <a:pt x="12691" y="9883"/>
                </a:cubicBezTo>
                <a:close/>
                <a:moveTo>
                  <a:pt x="3756" y="10183"/>
                </a:moveTo>
                <a:lnTo>
                  <a:pt x="3756" y="10183"/>
                </a:lnTo>
                <a:cubicBezTo>
                  <a:pt x="3933" y="10466"/>
                  <a:pt x="4077" y="10699"/>
                  <a:pt x="4080" y="10702"/>
                </a:cubicBezTo>
                <a:cubicBezTo>
                  <a:pt x="4080" y="10707"/>
                  <a:pt x="4080" y="10707"/>
                  <a:pt x="4080" y="10707"/>
                </a:cubicBezTo>
                <a:cubicBezTo>
                  <a:pt x="4072" y="10704"/>
                  <a:pt x="4072" y="10704"/>
                  <a:pt x="4072" y="10704"/>
                </a:cubicBezTo>
                <a:cubicBezTo>
                  <a:pt x="4066" y="10702"/>
                  <a:pt x="4041" y="10693"/>
                  <a:pt x="4016" y="10685"/>
                </a:cubicBezTo>
                <a:cubicBezTo>
                  <a:pt x="3991" y="10674"/>
                  <a:pt x="3944" y="10657"/>
                  <a:pt x="3911" y="10646"/>
                </a:cubicBezTo>
                <a:cubicBezTo>
                  <a:pt x="3880" y="10635"/>
                  <a:pt x="3828" y="10616"/>
                  <a:pt x="3800" y="10607"/>
                </a:cubicBezTo>
                <a:cubicBezTo>
                  <a:pt x="3769" y="10596"/>
                  <a:pt x="3722" y="10580"/>
                  <a:pt x="3695" y="10569"/>
                </a:cubicBezTo>
                <a:cubicBezTo>
                  <a:pt x="3670" y="10557"/>
                  <a:pt x="3623" y="10541"/>
                  <a:pt x="3592" y="10533"/>
                </a:cubicBezTo>
                <a:cubicBezTo>
                  <a:pt x="3536" y="10513"/>
                  <a:pt x="3536" y="10513"/>
                  <a:pt x="3536" y="10513"/>
                </a:cubicBezTo>
                <a:cubicBezTo>
                  <a:pt x="3534" y="10508"/>
                  <a:pt x="3534" y="10508"/>
                  <a:pt x="3534" y="10508"/>
                </a:cubicBezTo>
                <a:cubicBezTo>
                  <a:pt x="3534" y="10497"/>
                  <a:pt x="3426" y="9664"/>
                  <a:pt x="3426" y="9659"/>
                </a:cubicBezTo>
                <a:cubicBezTo>
                  <a:pt x="3426" y="9651"/>
                  <a:pt x="3401" y="9612"/>
                  <a:pt x="3756" y="10183"/>
                </a:cubicBezTo>
                <a:close/>
                <a:moveTo>
                  <a:pt x="5392" y="9759"/>
                </a:moveTo>
                <a:lnTo>
                  <a:pt x="5392" y="9759"/>
                </a:lnTo>
                <a:cubicBezTo>
                  <a:pt x="5547" y="9795"/>
                  <a:pt x="5683" y="9828"/>
                  <a:pt x="5697" y="9831"/>
                </a:cubicBezTo>
                <a:cubicBezTo>
                  <a:pt x="5711" y="9834"/>
                  <a:pt x="5722" y="9836"/>
                  <a:pt x="5725" y="9839"/>
                </a:cubicBezTo>
                <a:cubicBezTo>
                  <a:pt x="5731" y="9842"/>
                  <a:pt x="5731" y="9842"/>
                  <a:pt x="5731" y="9842"/>
                </a:cubicBezTo>
                <a:cubicBezTo>
                  <a:pt x="5725" y="9842"/>
                  <a:pt x="5725" y="9842"/>
                  <a:pt x="5725" y="9842"/>
                </a:cubicBezTo>
                <a:cubicBezTo>
                  <a:pt x="5719" y="9842"/>
                  <a:pt x="5653" y="9847"/>
                  <a:pt x="5572" y="9850"/>
                </a:cubicBezTo>
                <a:cubicBezTo>
                  <a:pt x="5425" y="9861"/>
                  <a:pt x="5425" y="9861"/>
                  <a:pt x="5425" y="9861"/>
                </a:cubicBezTo>
                <a:cubicBezTo>
                  <a:pt x="5345" y="9845"/>
                  <a:pt x="5345" y="9845"/>
                  <a:pt x="5345" y="9845"/>
                </a:cubicBezTo>
                <a:cubicBezTo>
                  <a:pt x="5265" y="9828"/>
                  <a:pt x="5265" y="9828"/>
                  <a:pt x="5265" y="9828"/>
                </a:cubicBezTo>
                <a:cubicBezTo>
                  <a:pt x="5154" y="9753"/>
                  <a:pt x="5154" y="9753"/>
                  <a:pt x="5154" y="9753"/>
                </a:cubicBezTo>
                <a:cubicBezTo>
                  <a:pt x="5090" y="9712"/>
                  <a:pt x="5037" y="9676"/>
                  <a:pt x="5037" y="9673"/>
                </a:cubicBezTo>
                <a:cubicBezTo>
                  <a:pt x="5034" y="9667"/>
                  <a:pt x="5068" y="9676"/>
                  <a:pt x="5392" y="9759"/>
                </a:cubicBezTo>
                <a:close/>
                <a:moveTo>
                  <a:pt x="4230" y="9847"/>
                </a:moveTo>
                <a:lnTo>
                  <a:pt x="4230" y="9847"/>
                </a:lnTo>
                <a:cubicBezTo>
                  <a:pt x="4444" y="9911"/>
                  <a:pt x="4618" y="9961"/>
                  <a:pt x="4621" y="9964"/>
                </a:cubicBezTo>
                <a:cubicBezTo>
                  <a:pt x="4621" y="9964"/>
                  <a:pt x="4665" y="10857"/>
                  <a:pt x="4665" y="10882"/>
                </a:cubicBezTo>
                <a:cubicBezTo>
                  <a:pt x="4665" y="10901"/>
                  <a:pt x="4665" y="10901"/>
                  <a:pt x="4665" y="10901"/>
                </a:cubicBezTo>
                <a:cubicBezTo>
                  <a:pt x="4249" y="10319"/>
                  <a:pt x="4249" y="10319"/>
                  <a:pt x="4249" y="10319"/>
                </a:cubicBezTo>
                <a:cubicBezTo>
                  <a:pt x="4019" y="9997"/>
                  <a:pt x="3833" y="9734"/>
                  <a:pt x="3833" y="9734"/>
                </a:cubicBezTo>
                <a:cubicBezTo>
                  <a:pt x="3833" y="9731"/>
                  <a:pt x="3836" y="9731"/>
                  <a:pt x="3839" y="9734"/>
                </a:cubicBezTo>
                <a:cubicBezTo>
                  <a:pt x="3842" y="9734"/>
                  <a:pt x="4016" y="9786"/>
                  <a:pt x="4230" y="9847"/>
                </a:cubicBezTo>
                <a:close/>
                <a:moveTo>
                  <a:pt x="6970" y="9900"/>
                </a:moveTo>
                <a:lnTo>
                  <a:pt x="6970" y="9900"/>
                </a:lnTo>
                <a:cubicBezTo>
                  <a:pt x="7012" y="9981"/>
                  <a:pt x="7048" y="10050"/>
                  <a:pt x="7045" y="10050"/>
                </a:cubicBezTo>
                <a:cubicBezTo>
                  <a:pt x="7045" y="10053"/>
                  <a:pt x="6565" y="9972"/>
                  <a:pt x="6563" y="9969"/>
                </a:cubicBezTo>
                <a:cubicBezTo>
                  <a:pt x="6560" y="9967"/>
                  <a:pt x="6549" y="9978"/>
                  <a:pt x="6732" y="9850"/>
                </a:cubicBezTo>
                <a:cubicBezTo>
                  <a:pt x="6818" y="9792"/>
                  <a:pt x="6887" y="9745"/>
                  <a:pt x="6887" y="9745"/>
                </a:cubicBezTo>
                <a:cubicBezTo>
                  <a:pt x="6890" y="9748"/>
                  <a:pt x="6926" y="9817"/>
                  <a:pt x="6970" y="9900"/>
                </a:cubicBezTo>
                <a:close/>
                <a:moveTo>
                  <a:pt x="7655" y="9983"/>
                </a:moveTo>
                <a:lnTo>
                  <a:pt x="7655" y="9983"/>
                </a:lnTo>
                <a:cubicBezTo>
                  <a:pt x="8047" y="10111"/>
                  <a:pt x="8371" y="10219"/>
                  <a:pt x="8371" y="10222"/>
                </a:cubicBezTo>
                <a:cubicBezTo>
                  <a:pt x="8374" y="10222"/>
                  <a:pt x="8371" y="10222"/>
                  <a:pt x="8363" y="10222"/>
                </a:cubicBezTo>
                <a:cubicBezTo>
                  <a:pt x="8357" y="10222"/>
                  <a:pt x="8069" y="10183"/>
                  <a:pt x="7722" y="10139"/>
                </a:cubicBezTo>
                <a:cubicBezTo>
                  <a:pt x="7342" y="10092"/>
                  <a:pt x="7095" y="10058"/>
                  <a:pt x="7092" y="10055"/>
                </a:cubicBezTo>
                <a:cubicBezTo>
                  <a:pt x="7090" y="10053"/>
                  <a:pt x="7056" y="9992"/>
                  <a:pt x="7018" y="9917"/>
                </a:cubicBezTo>
                <a:cubicBezTo>
                  <a:pt x="6926" y="9739"/>
                  <a:pt x="6932" y="9750"/>
                  <a:pt x="6937" y="9750"/>
                </a:cubicBezTo>
                <a:cubicBezTo>
                  <a:pt x="6940" y="9750"/>
                  <a:pt x="7262" y="9856"/>
                  <a:pt x="7655" y="9983"/>
                </a:cubicBezTo>
                <a:close/>
                <a:moveTo>
                  <a:pt x="5431" y="9992"/>
                </a:moveTo>
                <a:lnTo>
                  <a:pt x="5431" y="9992"/>
                </a:lnTo>
                <a:cubicBezTo>
                  <a:pt x="5814" y="10119"/>
                  <a:pt x="6122" y="10222"/>
                  <a:pt x="6119" y="10222"/>
                </a:cubicBezTo>
                <a:cubicBezTo>
                  <a:pt x="6113" y="10222"/>
                  <a:pt x="4690" y="9847"/>
                  <a:pt x="4685" y="9842"/>
                </a:cubicBezTo>
                <a:cubicBezTo>
                  <a:pt x="4682" y="9842"/>
                  <a:pt x="4690" y="9828"/>
                  <a:pt x="4710" y="9800"/>
                </a:cubicBezTo>
                <a:cubicBezTo>
                  <a:pt x="4724" y="9778"/>
                  <a:pt x="4737" y="9761"/>
                  <a:pt x="4737" y="9761"/>
                </a:cubicBezTo>
                <a:cubicBezTo>
                  <a:pt x="4740" y="9761"/>
                  <a:pt x="5051" y="9864"/>
                  <a:pt x="5431" y="9992"/>
                </a:cubicBezTo>
                <a:close/>
                <a:moveTo>
                  <a:pt x="4244" y="10372"/>
                </a:moveTo>
                <a:lnTo>
                  <a:pt x="4244" y="10372"/>
                </a:lnTo>
                <a:cubicBezTo>
                  <a:pt x="4457" y="10674"/>
                  <a:pt x="4635" y="10921"/>
                  <a:pt x="4635" y="10921"/>
                </a:cubicBezTo>
                <a:cubicBezTo>
                  <a:pt x="4632" y="10921"/>
                  <a:pt x="4144" y="10729"/>
                  <a:pt x="4141" y="10729"/>
                </a:cubicBezTo>
                <a:cubicBezTo>
                  <a:pt x="4141" y="10727"/>
                  <a:pt x="4077" y="10535"/>
                  <a:pt x="4000" y="10302"/>
                </a:cubicBezTo>
                <a:cubicBezTo>
                  <a:pt x="3925" y="10069"/>
                  <a:pt x="3858" y="9861"/>
                  <a:pt x="3850" y="9845"/>
                </a:cubicBezTo>
                <a:cubicBezTo>
                  <a:pt x="3844" y="9823"/>
                  <a:pt x="3842" y="9814"/>
                  <a:pt x="3844" y="9817"/>
                </a:cubicBezTo>
                <a:cubicBezTo>
                  <a:pt x="3847" y="9820"/>
                  <a:pt x="4027" y="10069"/>
                  <a:pt x="4244" y="10372"/>
                </a:cubicBezTo>
                <a:close/>
                <a:moveTo>
                  <a:pt x="18308" y="10178"/>
                </a:moveTo>
                <a:lnTo>
                  <a:pt x="18308" y="10178"/>
                </a:lnTo>
                <a:cubicBezTo>
                  <a:pt x="18924" y="10521"/>
                  <a:pt x="18924" y="10521"/>
                  <a:pt x="18924" y="10521"/>
                </a:cubicBezTo>
                <a:cubicBezTo>
                  <a:pt x="18921" y="10538"/>
                  <a:pt x="18921" y="10538"/>
                  <a:pt x="18921" y="10538"/>
                </a:cubicBezTo>
                <a:cubicBezTo>
                  <a:pt x="18921" y="10546"/>
                  <a:pt x="18918" y="10563"/>
                  <a:pt x="18916" y="10571"/>
                </a:cubicBezTo>
                <a:cubicBezTo>
                  <a:pt x="18913" y="10591"/>
                  <a:pt x="18913" y="10591"/>
                  <a:pt x="18913" y="10591"/>
                </a:cubicBezTo>
                <a:cubicBezTo>
                  <a:pt x="18905" y="10585"/>
                  <a:pt x="18905" y="10585"/>
                  <a:pt x="18905" y="10585"/>
                </a:cubicBezTo>
                <a:cubicBezTo>
                  <a:pt x="18899" y="10582"/>
                  <a:pt x="18630" y="10416"/>
                  <a:pt x="18305" y="10216"/>
                </a:cubicBezTo>
                <a:cubicBezTo>
                  <a:pt x="17704" y="9847"/>
                  <a:pt x="17668" y="9825"/>
                  <a:pt x="17668" y="9823"/>
                </a:cubicBezTo>
                <a:cubicBezTo>
                  <a:pt x="17668" y="9820"/>
                  <a:pt x="17648" y="9809"/>
                  <a:pt x="18308" y="10178"/>
                </a:cubicBezTo>
                <a:close/>
                <a:moveTo>
                  <a:pt x="5936" y="9922"/>
                </a:moveTo>
                <a:lnTo>
                  <a:pt x="5936" y="9922"/>
                </a:lnTo>
                <a:cubicBezTo>
                  <a:pt x="5977" y="9950"/>
                  <a:pt x="6008" y="9975"/>
                  <a:pt x="6005" y="9975"/>
                </a:cubicBezTo>
                <a:cubicBezTo>
                  <a:pt x="6002" y="9975"/>
                  <a:pt x="5578" y="9892"/>
                  <a:pt x="5575" y="9889"/>
                </a:cubicBezTo>
                <a:cubicBezTo>
                  <a:pt x="5575" y="9889"/>
                  <a:pt x="5578" y="9886"/>
                  <a:pt x="5581" y="9886"/>
                </a:cubicBezTo>
                <a:cubicBezTo>
                  <a:pt x="5589" y="9886"/>
                  <a:pt x="5847" y="9870"/>
                  <a:pt x="5855" y="9870"/>
                </a:cubicBezTo>
                <a:cubicBezTo>
                  <a:pt x="5858" y="9870"/>
                  <a:pt x="5894" y="9892"/>
                  <a:pt x="5936" y="9922"/>
                </a:cubicBezTo>
                <a:close/>
                <a:moveTo>
                  <a:pt x="17396" y="10441"/>
                </a:moveTo>
                <a:lnTo>
                  <a:pt x="17396" y="10441"/>
                </a:lnTo>
                <a:cubicBezTo>
                  <a:pt x="17953" y="10754"/>
                  <a:pt x="18411" y="11010"/>
                  <a:pt x="18408" y="11010"/>
                </a:cubicBezTo>
                <a:cubicBezTo>
                  <a:pt x="18405" y="11012"/>
                  <a:pt x="16192" y="10064"/>
                  <a:pt x="16192" y="10058"/>
                </a:cubicBezTo>
                <a:cubicBezTo>
                  <a:pt x="16195" y="10050"/>
                  <a:pt x="16367" y="9872"/>
                  <a:pt x="16372" y="9872"/>
                </a:cubicBezTo>
                <a:cubicBezTo>
                  <a:pt x="16378" y="9872"/>
                  <a:pt x="16835" y="10130"/>
                  <a:pt x="17396" y="10441"/>
                </a:cubicBezTo>
                <a:close/>
                <a:moveTo>
                  <a:pt x="5259" y="10033"/>
                </a:moveTo>
                <a:lnTo>
                  <a:pt x="5259" y="10033"/>
                </a:lnTo>
                <a:cubicBezTo>
                  <a:pt x="5578" y="10116"/>
                  <a:pt x="5847" y="10189"/>
                  <a:pt x="5855" y="10191"/>
                </a:cubicBezTo>
                <a:cubicBezTo>
                  <a:pt x="5872" y="10197"/>
                  <a:pt x="5872" y="10197"/>
                  <a:pt x="5872" y="10197"/>
                </a:cubicBezTo>
                <a:cubicBezTo>
                  <a:pt x="5858" y="10194"/>
                  <a:pt x="5858" y="10194"/>
                  <a:pt x="5858" y="10194"/>
                </a:cubicBezTo>
                <a:cubicBezTo>
                  <a:pt x="5847" y="10194"/>
                  <a:pt x="4704" y="9945"/>
                  <a:pt x="4665" y="9936"/>
                </a:cubicBezTo>
                <a:cubicBezTo>
                  <a:pt x="4657" y="9933"/>
                  <a:pt x="4657" y="9933"/>
                  <a:pt x="4657" y="9933"/>
                </a:cubicBezTo>
                <a:cubicBezTo>
                  <a:pt x="4660" y="9914"/>
                  <a:pt x="4660" y="9914"/>
                  <a:pt x="4660" y="9914"/>
                </a:cubicBezTo>
                <a:cubicBezTo>
                  <a:pt x="4663" y="9881"/>
                  <a:pt x="4665" y="9875"/>
                  <a:pt x="4671" y="9878"/>
                </a:cubicBezTo>
                <a:cubicBezTo>
                  <a:pt x="4674" y="9878"/>
                  <a:pt x="4940" y="9947"/>
                  <a:pt x="5259" y="10033"/>
                </a:cubicBezTo>
                <a:close/>
                <a:moveTo>
                  <a:pt x="5259" y="9889"/>
                </a:moveTo>
                <a:lnTo>
                  <a:pt x="5259" y="9889"/>
                </a:lnTo>
                <a:cubicBezTo>
                  <a:pt x="5287" y="9895"/>
                  <a:pt x="5506" y="9945"/>
                  <a:pt x="5747" y="9994"/>
                </a:cubicBezTo>
                <a:cubicBezTo>
                  <a:pt x="6241" y="10103"/>
                  <a:pt x="6499" y="10153"/>
                  <a:pt x="6685" y="10180"/>
                </a:cubicBezTo>
                <a:cubicBezTo>
                  <a:pt x="6751" y="10189"/>
                  <a:pt x="7411" y="10294"/>
                  <a:pt x="7411" y="10294"/>
                </a:cubicBezTo>
                <a:cubicBezTo>
                  <a:pt x="7414" y="10297"/>
                  <a:pt x="7406" y="10297"/>
                  <a:pt x="7051" y="10341"/>
                </a:cubicBezTo>
                <a:cubicBezTo>
                  <a:pt x="6715" y="10383"/>
                  <a:pt x="6715" y="10383"/>
                  <a:pt x="6715" y="10383"/>
                </a:cubicBezTo>
                <a:cubicBezTo>
                  <a:pt x="5961" y="10130"/>
                  <a:pt x="5961" y="10130"/>
                  <a:pt x="5961" y="10130"/>
                </a:cubicBezTo>
                <a:cubicBezTo>
                  <a:pt x="5547" y="9992"/>
                  <a:pt x="5206" y="9878"/>
                  <a:pt x="5206" y="9878"/>
                </a:cubicBezTo>
                <a:cubicBezTo>
                  <a:pt x="5203" y="9875"/>
                  <a:pt x="5209" y="9875"/>
                  <a:pt x="5259" y="9889"/>
                </a:cubicBezTo>
                <a:close/>
                <a:moveTo>
                  <a:pt x="6196" y="9936"/>
                </a:moveTo>
                <a:lnTo>
                  <a:pt x="6196" y="9936"/>
                </a:lnTo>
                <a:cubicBezTo>
                  <a:pt x="6321" y="9961"/>
                  <a:pt x="6424" y="9981"/>
                  <a:pt x="6424" y="9981"/>
                </a:cubicBezTo>
                <a:cubicBezTo>
                  <a:pt x="6429" y="9983"/>
                  <a:pt x="6421" y="9986"/>
                  <a:pt x="6346" y="10008"/>
                </a:cubicBezTo>
                <a:cubicBezTo>
                  <a:pt x="6269" y="10028"/>
                  <a:pt x="6269" y="10028"/>
                  <a:pt x="6269" y="10028"/>
                </a:cubicBezTo>
                <a:cubicBezTo>
                  <a:pt x="6188" y="10014"/>
                  <a:pt x="6188" y="10014"/>
                  <a:pt x="6188" y="10014"/>
                </a:cubicBezTo>
                <a:cubicBezTo>
                  <a:pt x="6105" y="9997"/>
                  <a:pt x="6105" y="9997"/>
                  <a:pt x="6105" y="9997"/>
                </a:cubicBezTo>
                <a:cubicBezTo>
                  <a:pt x="6036" y="9947"/>
                  <a:pt x="6036" y="9947"/>
                  <a:pt x="6036" y="9947"/>
                </a:cubicBezTo>
                <a:cubicBezTo>
                  <a:pt x="5997" y="9920"/>
                  <a:pt x="5961" y="9895"/>
                  <a:pt x="5958" y="9892"/>
                </a:cubicBezTo>
                <a:cubicBezTo>
                  <a:pt x="5950" y="9886"/>
                  <a:pt x="5950" y="9886"/>
                  <a:pt x="5950" y="9886"/>
                </a:cubicBezTo>
                <a:cubicBezTo>
                  <a:pt x="5958" y="9889"/>
                  <a:pt x="5958" y="9889"/>
                  <a:pt x="5958" y="9889"/>
                </a:cubicBezTo>
                <a:cubicBezTo>
                  <a:pt x="5964" y="9889"/>
                  <a:pt x="6072" y="9911"/>
                  <a:pt x="6196" y="9936"/>
                </a:cubicBezTo>
                <a:close/>
                <a:moveTo>
                  <a:pt x="13135" y="9909"/>
                </a:moveTo>
                <a:lnTo>
                  <a:pt x="13135" y="9909"/>
                </a:lnTo>
                <a:cubicBezTo>
                  <a:pt x="13135" y="9914"/>
                  <a:pt x="13135" y="9917"/>
                  <a:pt x="13133" y="9914"/>
                </a:cubicBezTo>
                <a:cubicBezTo>
                  <a:pt x="13133" y="9909"/>
                  <a:pt x="13130" y="9903"/>
                  <a:pt x="13127" y="9897"/>
                </a:cubicBezTo>
                <a:cubicBezTo>
                  <a:pt x="13127" y="9892"/>
                  <a:pt x="13127" y="9889"/>
                  <a:pt x="13130" y="9895"/>
                </a:cubicBezTo>
                <a:cubicBezTo>
                  <a:pt x="13130" y="9897"/>
                  <a:pt x="13133" y="9903"/>
                  <a:pt x="13135" y="9909"/>
                </a:cubicBezTo>
                <a:close/>
                <a:moveTo>
                  <a:pt x="17720" y="10275"/>
                </a:moveTo>
                <a:lnTo>
                  <a:pt x="17720" y="10275"/>
                </a:lnTo>
                <a:cubicBezTo>
                  <a:pt x="18367" y="10469"/>
                  <a:pt x="18899" y="10630"/>
                  <a:pt x="18899" y="10630"/>
                </a:cubicBezTo>
                <a:cubicBezTo>
                  <a:pt x="18902" y="10632"/>
                  <a:pt x="18735" y="11134"/>
                  <a:pt x="18730" y="11143"/>
                </a:cubicBezTo>
                <a:cubicBezTo>
                  <a:pt x="18727" y="11143"/>
                  <a:pt x="16577" y="9947"/>
                  <a:pt x="16541" y="9922"/>
                </a:cubicBezTo>
                <a:cubicBezTo>
                  <a:pt x="16533" y="9917"/>
                  <a:pt x="16533" y="9917"/>
                  <a:pt x="16536" y="9917"/>
                </a:cubicBezTo>
                <a:cubicBezTo>
                  <a:pt x="16541" y="9920"/>
                  <a:pt x="17074" y="10078"/>
                  <a:pt x="17720" y="10275"/>
                </a:cubicBezTo>
                <a:close/>
                <a:moveTo>
                  <a:pt x="13146" y="9939"/>
                </a:moveTo>
                <a:lnTo>
                  <a:pt x="13146" y="9939"/>
                </a:lnTo>
                <a:cubicBezTo>
                  <a:pt x="13146" y="9945"/>
                  <a:pt x="13146" y="9947"/>
                  <a:pt x="13144" y="9942"/>
                </a:cubicBezTo>
                <a:cubicBezTo>
                  <a:pt x="13144" y="9939"/>
                  <a:pt x="13141" y="9933"/>
                  <a:pt x="13138" y="9928"/>
                </a:cubicBezTo>
                <a:cubicBezTo>
                  <a:pt x="13138" y="9922"/>
                  <a:pt x="13138" y="9920"/>
                  <a:pt x="13141" y="9925"/>
                </a:cubicBezTo>
                <a:cubicBezTo>
                  <a:pt x="13141" y="9928"/>
                  <a:pt x="13144" y="9933"/>
                  <a:pt x="13146" y="9939"/>
                </a:cubicBezTo>
                <a:close/>
                <a:moveTo>
                  <a:pt x="13191" y="10061"/>
                </a:moveTo>
                <a:lnTo>
                  <a:pt x="13191" y="10061"/>
                </a:lnTo>
                <a:cubicBezTo>
                  <a:pt x="13213" y="10119"/>
                  <a:pt x="13232" y="10169"/>
                  <a:pt x="13232" y="10172"/>
                </a:cubicBezTo>
                <a:cubicBezTo>
                  <a:pt x="13230" y="10172"/>
                  <a:pt x="13227" y="10169"/>
                  <a:pt x="13227" y="10164"/>
                </a:cubicBezTo>
                <a:cubicBezTo>
                  <a:pt x="13196" y="10080"/>
                  <a:pt x="13146" y="9953"/>
                  <a:pt x="13146" y="9950"/>
                </a:cubicBezTo>
                <a:cubicBezTo>
                  <a:pt x="13146" y="9945"/>
                  <a:pt x="13155" y="9958"/>
                  <a:pt x="13191" y="10061"/>
                </a:cubicBezTo>
                <a:close/>
                <a:moveTo>
                  <a:pt x="5561" y="10175"/>
                </a:moveTo>
                <a:lnTo>
                  <a:pt x="5561" y="10175"/>
                </a:lnTo>
                <a:cubicBezTo>
                  <a:pt x="6033" y="10277"/>
                  <a:pt x="6416" y="10366"/>
                  <a:pt x="6418" y="10366"/>
                </a:cubicBezTo>
                <a:cubicBezTo>
                  <a:pt x="6418" y="10366"/>
                  <a:pt x="6429" y="11733"/>
                  <a:pt x="6427" y="11733"/>
                </a:cubicBezTo>
                <a:cubicBezTo>
                  <a:pt x="6427" y="11736"/>
                  <a:pt x="4701" y="9989"/>
                  <a:pt x="4699" y="9983"/>
                </a:cubicBezTo>
                <a:cubicBezTo>
                  <a:pt x="4699" y="9981"/>
                  <a:pt x="4699" y="9981"/>
                  <a:pt x="4701" y="9981"/>
                </a:cubicBezTo>
                <a:cubicBezTo>
                  <a:pt x="4704" y="9981"/>
                  <a:pt x="5093" y="10069"/>
                  <a:pt x="5561" y="10175"/>
                </a:cubicBezTo>
                <a:close/>
                <a:moveTo>
                  <a:pt x="5506" y="10854"/>
                </a:moveTo>
                <a:lnTo>
                  <a:pt x="5506" y="10854"/>
                </a:lnTo>
                <a:cubicBezTo>
                  <a:pt x="5972" y="11326"/>
                  <a:pt x="6352" y="11711"/>
                  <a:pt x="6349" y="11711"/>
                </a:cubicBezTo>
                <a:cubicBezTo>
                  <a:pt x="6349" y="11714"/>
                  <a:pt x="6246" y="11661"/>
                  <a:pt x="6122" y="11598"/>
                </a:cubicBezTo>
                <a:cubicBezTo>
                  <a:pt x="5772" y="11423"/>
                  <a:pt x="5614" y="11348"/>
                  <a:pt x="5206" y="11168"/>
                </a:cubicBezTo>
                <a:cubicBezTo>
                  <a:pt x="5032" y="11090"/>
                  <a:pt x="4979" y="11068"/>
                  <a:pt x="4973" y="11071"/>
                </a:cubicBezTo>
                <a:cubicBezTo>
                  <a:pt x="4968" y="11073"/>
                  <a:pt x="4937" y="11059"/>
                  <a:pt x="4837" y="11012"/>
                </a:cubicBezTo>
                <a:cubicBezTo>
                  <a:pt x="4707" y="10954"/>
                  <a:pt x="4707" y="10954"/>
                  <a:pt x="4707" y="10954"/>
                </a:cubicBezTo>
                <a:cubicBezTo>
                  <a:pt x="4704" y="10932"/>
                  <a:pt x="4704" y="10932"/>
                  <a:pt x="4704" y="10932"/>
                </a:cubicBezTo>
                <a:cubicBezTo>
                  <a:pt x="4704" y="10921"/>
                  <a:pt x="4693" y="10721"/>
                  <a:pt x="4682" y="10488"/>
                </a:cubicBezTo>
                <a:cubicBezTo>
                  <a:pt x="4671" y="10252"/>
                  <a:pt x="4660" y="10047"/>
                  <a:pt x="4660" y="10031"/>
                </a:cubicBezTo>
                <a:cubicBezTo>
                  <a:pt x="4657" y="10011"/>
                  <a:pt x="4657" y="9997"/>
                  <a:pt x="4660" y="9997"/>
                </a:cubicBezTo>
                <a:cubicBezTo>
                  <a:pt x="4660" y="9997"/>
                  <a:pt x="5043" y="10383"/>
                  <a:pt x="5506" y="10854"/>
                </a:cubicBezTo>
                <a:close/>
                <a:moveTo>
                  <a:pt x="6477" y="10036"/>
                </a:moveTo>
                <a:lnTo>
                  <a:pt x="6477" y="10036"/>
                </a:lnTo>
                <a:cubicBezTo>
                  <a:pt x="6474" y="10053"/>
                  <a:pt x="6468" y="10067"/>
                  <a:pt x="6468" y="10067"/>
                </a:cubicBezTo>
                <a:cubicBezTo>
                  <a:pt x="6466" y="10069"/>
                  <a:pt x="6355" y="10047"/>
                  <a:pt x="6352" y="10044"/>
                </a:cubicBezTo>
                <a:cubicBezTo>
                  <a:pt x="6352" y="10044"/>
                  <a:pt x="6357" y="10042"/>
                  <a:pt x="6366" y="10039"/>
                </a:cubicBezTo>
                <a:cubicBezTo>
                  <a:pt x="6371" y="10036"/>
                  <a:pt x="6402" y="10028"/>
                  <a:pt x="6429" y="10019"/>
                </a:cubicBezTo>
                <a:cubicBezTo>
                  <a:pt x="6460" y="10014"/>
                  <a:pt x="6482" y="10006"/>
                  <a:pt x="6485" y="10008"/>
                </a:cubicBezTo>
                <a:cubicBezTo>
                  <a:pt x="6485" y="10008"/>
                  <a:pt x="6482" y="10022"/>
                  <a:pt x="6477" y="10036"/>
                </a:cubicBezTo>
                <a:close/>
                <a:moveTo>
                  <a:pt x="6621" y="10025"/>
                </a:moveTo>
                <a:lnTo>
                  <a:pt x="6621" y="10025"/>
                </a:lnTo>
                <a:cubicBezTo>
                  <a:pt x="6649" y="10033"/>
                  <a:pt x="6671" y="10039"/>
                  <a:pt x="6671" y="10039"/>
                </a:cubicBezTo>
                <a:cubicBezTo>
                  <a:pt x="6674" y="10042"/>
                  <a:pt x="6635" y="10100"/>
                  <a:pt x="6632" y="10103"/>
                </a:cubicBezTo>
                <a:cubicBezTo>
                  <a:pt x="6629" y="10103"/>
                  <a:pt x="6563" y="10017"/>
                  <a:pt x="6563" y="10014"/>
                </a:cubicBezTo>
                <a:cubicBezTo>
                  <a:pt x="6563" y="10011"/>
                  <a:pt x="6571" y="10014"/>
                  <a:pt x="6621" y="10025"/>
                </a:cubicBezTo>
                <a:close/>
                <a:moveTo>
                  <a:pt x="6552" y="10058"/>
                </a:moveTo>
                <a:lnTo>
                  <a:pt x="6552" y="10058"/>
                </a:lnTo>
                <a:cubicBezTo>
                  <a:pt x="6563" y="10075"/>
                  <a:pt x="6574" y="10089"/>
                  <a:pt x="6571" y="10089"/>
                </a:cubicBezTo>
                <a:cubicBezTo>
                  <a:pt x="6571" y="10089"/>
                  <a:pt x="6507" y="10078"/>
                  <a:pt x="6504" y="10075"/>
                </a:cubicBezTo>
                <a:cubicBezTo>
                  <a:pt x="6504" y="10075"/>
                  <a:pt x="6507" y="10061"/>
                  <a:pt x="6513" y="10047"/>
                </a:cubicBezTo>
                <a:cubicBezTo>
                  <a:pt x="6518" y="10019"/>
                  <a:pt x="6518" y="10019"/>
                  <a:pt x="6518" y="10019"/>
                </a:cubicBezTo>
                <a:cubicBezTo>
                  <a:pt x="6524" y="10025"/>
                  <a:pt x="6524" y="10025"/>
                  <a:pt x="6524" y="10025"/>
                </a:cubicBezTo>
                <a:cubicBezTo>
                  <a:pt x="6527" y="10028"/>
                  <a:pt x="6538" y="10042"/>
                  <a:pt x="6552" y="10058"/>
                </a:cubicBezTo>
                <a:close/>
                <a:moveTo>
                  <a:pt x="6851" y="10069"/>
                </a:moveTo>
                <a:lnTo>
                  <a:pt x="6851" y="10069"/>
                </a:lnTo>
                <a:cubicBezTo>
                  <a:pt x="6918" y="10080"/>
                  <a:pt x="6973" y="10092"/>
                  <a:pt x="6976" y="10092"/>
                </a:cubicBezTo>
                <a:cubicBezTo>
                  <a:pt x="6976" y="10094"/>
                  <a:pt x="6976" y="10094"/>
                  <a:pt x="6973" y="10097"/>
                </a:cubicBezTo>
                <a:cubicBezTo>
                  <a:pt x="6970" y="10097"/>
                  <a:pt x="6937" y="10108"/>
                  <a:pt x="6901" y="10119"/>
                </a:cubicBezTo>
                <a:cubicBezTo>
                  <a:pt x="6834" y="10141"/>
                  <a:pt x="6834" y="10141"/>
                  <a:pt x="6834" y="10141"/>
                </a:cubicBezTo>
                <a:cubicBezTo>
                  <a:pt x="6787" y="10133"/>
                  <a:pt x="6787" y="10133"/>
                  <a:pt x="6787" y="10133"/>
                </a:cubicBezTo>
                <a:cubicBezTo>
                  <a:pt x="6760" y="10128"/>
                  <a:pt x="6735" y="10122"/>
                  <a:pt x="6729" y="10119"/>
                </a:cubicBezTo>
                <a:cubicBezTo>
                  <a:pt x="6721" y="10116"/>
                  <a:pt x="6721" y="10116"/>
                  <a:pt x="6721" y="10116"/>
                </a:cubicBezTo>
                <a:cubicBezTo>
                  <a:pt x="6721" y="10083"/>
                  <a:pt x="6721" y="10083"/>
                  <a:pt x="6721" y="10083"/>
                </a:cubicBezTo>
                <a:cubicBezTo>
                  <a:pt x="6721" y="10064"/>
                  <a:pt x="6723" y="10050"/>
                  <a:pt x="6723" y="10050"/>
                </a:cubicBezTo>
                <a:cubicBezTo>
                  <a:pt x="6726" y="10050"/>
                  <a:pt x="6782" y="10058"/>
                  <a:pt x="6851" y="10069"/>
                </a:cubicBezTo>
                <a:close/>
                <a:moveTo>
                  <a:pt x="17210" y="10749"/>
                </a:moveTo>
                <a:lnTo>
                  <a:pt x="17210" y="10749"/>
                </a:lnTo>
                <a:cubicBezTo>
                  <a:pt x="18411" y="11500"/>
                  <a:pt x="18322" y="11445"/>
                  <a:pt x="18311" y="11442"/>
                </a:cubicBezTo>
                <a:cubicBezTo>
                  <a:pt x="18297" y="11437"/>
                  <a:pt x="15862" y="10433"/>
                  <a:pt x="15859" y="10430"/>
                </a:cubicBezTo>
                <a:cubicBezTo>
                  <a:pt x="15853" y="10427"/>
                  <a:pt x="16159" y="10092"/>
                  <a:pt x="16164" y="10094"/>
                </a:cubicBezTo>
                <a:cubicBezTo>
                  <a:pt x="16167" y="10094"/>
                  <a:pt x="16636" y="10388"/>
                  <a:pt x="17210" y="10749"/>
                </a:cubicBezTo>
                <a:close/>
                <a:moveTo>
                  <a:pt x="7040" y="10147"/>
                </a:moveTo>
                <a:lnTo>
                  <a:pt x="7040" y="10147"/>
                </a:lnTo>
                <a:cubicBezTo>
                  <a:pt x="7040" y="10183"/>
                  <a:pt x="7040" y="10183"/>
                  <a:pt x="7040" y="10183"/>
                </a:cubicBezTo>
                <a:cubicBezTo>
                  <a:pt x="7029" y="10180"/>
                  <a:pt x="7029" y="10180"/>
                  <a:pt x="7029" y="10180"/>
                </a:cubicBezTo>
                <a:cubicBezTo>
                  <a:pt x="7023" y="10180"/>
                  <a:pt x="6995" y="10175"/>
                  <a:pt x="6968" y="10169"/>
                </a:cubicBezTo>
                <a:cubicBezTo>
                  <a:pt x="6937" y="10164"/>
                  <a:pt x="6912" y="10158"/>
                  <a:pt x="6912" y="10155"/>
                </a:cubicBezTo>
                <a:cubicBezTo>
                  <a:pt x="6909" y="10153"/>
                  <a:pt x="7023" y="10114"/>
                  <a:pt x="7031" y="10114"/>
                </a:cubicBezTo>
                <a:cubicBezTo>
                  <a:pt x="7040" y="10114"/>
                  <a:pt x="7040" y="10114"/>
                  <a:pt x="7040" y="10114"/>
                </a:cubicBezTo>
                <a:cubicBezTo>
                  <a:pt x="7040" y="10147"/>
                  <a:pt x="7040" y="10147"/>
                  <a:pt x="7040" y="10147"/>
                </a:cubicBezTo>
                <a:close/>
                <a:moveTo>
                  <a:pt x="7317" y="10147"/>
                </a:moveTo>
                <a:lnTo>
                  <a:pt x="7317" y="10147"/>
                </a:lnTo>
                <a:cubicBezTo>
                  <a:pt x="7420" y="10164"/>
                  <a:pt x="7503" y="10178"/>
                  <a:pt x="7506" y="10178"/>
                </a:cubicBezTo>
                <a:cubicBezTo>
                  <a:pt x="7508" y="10180"/>
                  <a:pt x="7506" y="10180"/>
                  <a:pt x="7445" y="10211"/>
                </a:cubicBezTo>
                <a:cubicBezTo>
                  <a:pt x="7389" y="10238"/>
                  <a:pt x="7389" y="10238"/>
                  <a:pt x="7389" y="10238"/>
                </a:cubicBezTo>
                <a:cubicBezTo>
                  <a:pt x="7309" y="10227"/>
                  <a:pt x="7309" y="10227"/>
                  <a:pt x="7309" y="10227"/>
                </a:cubicBezTo>
                <a:cubicBezTo>
                  <a:pt x="7231" y="10214"/>
                  <a:pt x="7231" y="10214"/>
                  <a:pt x="7231" y="10214"/>
                </a:cubicBezTo>
                <a:cubicBezTo>
                  <a:pt x="7217" y="10205"/>
                  <a:pt x="7217" y="10205"/>
                  <a:pt x="7217" y="10205"/>
                </a:cubicBezTo>
                <a:cubicBezTo>
                  <a:pt x="7201" y="10191"/>
                  <a:pt x="7117" y="10116"/>
                  <a:pt x="7117" y="10114"/>
                </a:cubicBezTo>
                <a:cubicBezTo>
                  <a:pt x="7117" y="10114"/>
                  <a:pt x="7120" y="10114"/>
                  <a:pt x="7126" y="10114"/>
                </a:cubicBezTo>
                <a:cubicBezTo>
                  <a:pt x="7128" y="10116"/>
                  <a:pt x="7217" y="10130"/>
                  <a:pt x="7317" y="10147"/>
                </a:cubicBezTo>
                <a:close/>
                <a:moveTo>
                  <a:pt x="7120" y="10164"/>
                </a:moveTo>
                <a:lnTo>
                  <a:pt x="7120" y="10164"/>
                </a:lnTo>
                <a:cubicBezTo>
                  <a:pt x="7140" y="10183"/>
                  <a:pt x="7156" y="10200"/>
                  <a:pt x="7156" y="10200"/>
                </a:cubicBezTo>
                <a:cubicBezTo>
                  <a:pt x="7156" y="10200"/>
                  <a:pt x="7137" y="10200"/>
                  <a:pt x="7115" y="10194"/>
                </a:cubicBezTo>
                <a:cubicBezTo>
                  <a:pt x="7076" y="10189"/>
                  <a:pt x="7076" y="10189"/>
                  <a:pt x="7076" y="10189"/>
                </a:cubicBezTo>
                <a:cubicBezTo>
                  <a:pt x="7076" y="10161"/>
                  <a:pt x="7076" y="10161"/>
                  <a:pt x="7076" y="10161"/>
                </a:cubicBezTo>
                <a:cubicBezTo>
                  <a:pt x="7076" y="10144"/>
                  <a:pt x="7076" y="10130"/>
                  <a:pt x="7078" y="10130"/>
                </a:cubicBezTo>
                <a:cubicBezTo>
                  <a:pt x="7078" y="10130"/>
                  <a:pt x="7098" y="10147"/>
                  <a:pt x="7120" y="10164"/>
                </a:cubicBezTo>
                <a:close/>
                <a:moveTo>
                  <a:pt x="3478" y="10338"/>
                </a:moveTo>
                <a:lnTo>
                  <a:pt x="3478" y="10338"/>
                </a:lnTo>
                <a:cubicBezTo>
                  <a:pt x="3489" y="10433"/>
                  <a:pt x="3500" y="10516"/>
                  <a:pt x="3500" y="10519"/>
                </a:cubicBezTo>
                <a:cubicBezTo>
                  <a:pt x="3500" y="10530"/>
                  <a:pt x="3481" y="10571"/>
                  <a:pt x="3478" y="10571"/>
                </a:cubicBezTo>
                <a:cubicBezTo>
                  <a:pt x="3476" y="10571"/>
                  <a:pt x="3470" y="10483"/>
                  <a:pt x="3464" y="10372"/>
                </a:cubicBezTo>
                <a:cubicBezTo>
                  <a:pt x="3456" y="10264"/>
                  <a:pt x="3450" y="10166"/>
                  <a:pt x="3450" y="10158"/>
                </a:cubicBezTo>
                <a:cubicBezTo>
                  <a:pt x="3448" y="10141"/>
                  <a:pt x="3448" y="10141"/>
                  <a:pt x="3448" y="10141"/>
                </a:cubicBezTo>
                <a:cubicBezTo>
                  <a:pt x="3453" y="10153"/>
                  <a:pt x="3453" y="10153"/>
                  <a:pt x="3453" y="10153"/>
                </a:cubicBezTo>
                <a:cubicBezTo>
                  <a:pt x="3453" y="10161"/>
                  <a:pt x="3464" y="10244"/>
                  <a:pt x="3478" y="10338"/>
                </a:cubicBezTo>
                <a:close/>
                <a:moveTo>
                  <a:pt x="12986" y="10178"/>
                </a:moveTo>
                <a:lnTo>
                  <a:pt x="12986" y="10178"/>
                </a:lnTo>
                <a:cubicBezTo>
                  <a:pt x="12986" y="10194"/>
                  <a:pt x="12986" y="10194"/>
                  <a:pt x="12986" y="10194"/>
                </a:cubicBezTo>
                <a:cubicBezTo>
                  <a:pt x="12974" y="10191"/>
                  <a:pt x="12974" y="10191"/>
                  <a:pt x="12974" y="10191"/>
                </a:cubicBezTo>
                <a:cubicBezTo>
                  <a:pt x="12972" y="10191"/>
                  <a:pt x="12952" y="10186"/>
                  <a:pt x="12933" y="10178"/>
                </a:cubicBezTo>
                <a:cubicBezTo>
                  <a:pt x="12902" y="10166"/>
                  <a:pt x="12902" y="10166"/>
                  <a:pt x="12902" y="10166"/>
                </a:cubicBezTo>
                <a:cubicBezTo>
                  <a:pt x="12930" y="10164"/>
                  <a:pt x="12930" y="10164"/>
                  <a:pt x="12930" y="10164"/>
                </a:cubicBezTo>
                <a:cubicBezTo>
                  <a:pt x="12947" y="10164"/>
                  <a:pt x="12966" y="10161"/>
                  <a:pt x="12972" y="10161"/>
                </a:cubicBezTo>
                <a:cubicBezTo>
                  <a:pt x="12986" y="10161"/>
                  <a:pt x="12986" y="10161"/>
                  <a:pt x="12986" y="10161"/>
                </a:cubicBezTo>
                <a:cubicBezTo>
                  <a:pt x="12986" y="10178"/>
                  <a:pt x="12986" y="10178"/>
                  <a:pt x="12986" y="10178"/>
                </a:cubicBezTo>
                <a:close/>
                <a:moveTo>
                  <a:pt x="13096" y="10180"/>
                </a:moveTo>
                <a:lnTo>
                  <a:pt x="13096" y="10180"/>
                </a:lnTo>
                <a:cubicBezTo>
                  <a:pt x="13113" y="10186"/>
                  <a:pt x="13130" y="10189"/>
                  <a:pt x="13133" y="10189"/>
                </a:cubicBezTo>
                <a:cubicBezTo>
                  <a:pt x="13138" y="10191"/>
                  <a:pt x="13058" y="10202"/>
                  <a:pt x="13033" y="10202"/>
                </a:cubicBezTo>
                <a:cubicBezTo>
                  <a:pt x="13022" y="10202"/>
                  <a:pt x="13022" y="10202"/>
                  <a:pt x="13022" y="10202"/>
                </a:cubicBezTo>
                <a:cubicBezTo>
                  <a:pt x="13022" y="10183"/>
                  <a:pt x="13022" y="10183"/>
                  <a:pt x="13022" y="10183"/>
                </a:cubicBezTo>
                <a:cubicBezTo>
                  <a:pt x="13022" y="10164"/>
                  <a:pt x="13022" y="10164"/>
                  <a:pt x="13022" y="10164"/>
                </a:cubicBezTo>
                <a:cubicBezTo>
                  <a:pt x="13044" y="10169"/>
                  <a:pt x="13044" y="10169"/>
                  <a:pt x="13044" y="10169"/>
                </a:cubicBezTo>
                <a:cubicBezTo>
                  <a:pt x="13055" y="10172"/>
                  <a:pt x="13080" y="10178"/>
                  <a:pt x="13096" y="10180"/>
                </a:cubicBezTo>
                <a:close/>
                <a:moveTo>
                  <a:pt x="12783" y="10197"/>
                </a:moveTo>
                <a:lnTo>
                  <a:pt x="12783" y="10197"/>
                </a:lnTo>
                <a:cubicBezTo>
                  <a:pt x="12783" y="10205"/>
                  <a:pt x="12780" y="10225"/>
                  <a:pt x="12777" y="10238"/>
                </a:cubicBezTo>
                <a:cubicBezTo>
                  <a:pt x="12775" y="10261"/>
                  <a:pt x="12775" y="10261"/>
                  <a:pt x="12775" y="10261"/>
                </a:cubicBezTo>
                <a:cubicBezTo>
                  <a:pt x="12592" y="10283"/>
                  <a:pt x="12592" y="10283"/>
                  <a:pt x="12592" y="10283"/>
                </a:cubicBezTo>
                <a:cubicBezTo>
                  <a:pt x="12492" y="10294"/>
                  <a:pt x="12406" y="10305"/>
                  <a:pt x="12397" y="10305"/>
                </a:cubicBezTo>
                <a:cubicBezTo>
                  <a:pt x="12392" y="10302"/>
                  <a:pt x="12431" y="10294"/>
                  <a:pt x="12484" y="10280"/>
                </a:cubicBezTo>
                <a:cubicBezTo>
                  <a:pt x="12581" y="10258"/>
                  <a:pt x="12581" y="10258"/>
                  <a:pt x="12581" y="10258"/>
                </a:cubicBezTo>
                <a:cubicBezTo>
                  <a:pt x="12614" y="10236"/>
                  <a:pt x="12614" y="10236"/>
                  <a:pt x="12614" y="10236"/>
                </a:cubicBezTo>
                <a:cubicBezTo>
                  <a:pt x="12650" y="10214"/>
                  <a:pt x="12650" y="10214"/>
                  <a:pt x="12650" y="10214"/>
                </a:cubicBezTo>
                <a:cubicBezTo>
                  <a:pt x="12711" y="10197"/>
                  <a:pt x="12711" y="10197"/>
                  <a:pt x="12711" y="10197"/>
                </a:cubicBezTo>
                <a:cubicBezTo>
                  <a:pt x="12744" y="10189"/>
                  <a:pt x="12775" y="10180"/>
                  <a:pt x="12780" y="10180"/>
                </a:cubicBezTo>
                <a:cubicBezTo>
                  <a:pt x="12786" y="10180"/>
                  <a:pt x="12786" y="10180"/>
                  <a:pt x="12786" y="10180"/>
                </a:cubicBezTo>
                <a:cubicBezTo>
                  <a:pt x="12783" y="10197"/>
                  <a:pt x="12783" y="10197"/>
                  <a:pt x="12783" y="10197"/>
                </a:cubicBezTo>
                <a:close/>
                <a:moveTo>
                  <a:pt x="12883" y="10197"/>
                </a:moveTo>
                <a:lnTo>
                  <a:pt x="12883" y="10197"/>
                </a:lnTo>
                <a:cubicBezTo>
                  <a:pt x="12916" y="10208"/>
                  <a:pt x="12938" y="10219"/>
                  <a:pt x="12938" y="10219"/>
                </a:cubicBezTo>
                <a:cubicBezTo>
                  <a:pt x="12936" y="10222"/>
                  <a:pt x="12814" y="10255"/>
                  <a:pt x="12814" y="10252"/>
                </a:cubicBezTo>
                <a:cubicBezTo>
                  <a:pt x="12811" y="10250"/>
                  <a:pt x="12819" y="10191"/>
                  <a:pt x="12819" y="10183"/>
                </a:cubicBezTo>
                <a:cubicBezTo>
                  <a:pt x="12822" y="10180"/>
                  <a:pt x="12822" y="10180"/>
                  <a:pt x="12825" y="10180"/>
                </a:cubicBezTo>
                <a:cubicBezTo>
                  <a:pt x="12827" y="10180"/>
                  <a:pt x="12852" y="10189"/>
                  <a:pt x="12883" y="10197"/>
                </a:cubicBezTo>
                <a:close/>
                <a:moveTo>
                  <a:pt x="17548" y="10682"/>
                </a:moveTo>
                <a:lnTo>
                  <a:pt x="17548" y="10682"/>
                </a:lnTo>
                <a:cubicBezTo>
                  <a:pt x="18186" y="10954"/>
                  <a:pt x="18710" y="11181"/>
                  <a:pt x="18710" y="11181"/>
                </a:cubicBezTo>
                <a:cubicBezTo>
                  <a:pt x="18710" y="11187"/>
                  <a:pt x="18525" y="11503"/>
                  <a:pt x="18516" y="11514"/>
                </a:cubicBezTo>
                <a:cubicBezTo>
                  <a:pt x="18511" y="11523"/>
                  <a:pt x="18511" y="11523"/>
                  <a:pt x="18511" y="11523"/>
                </a:cubicBezTo>
                <a:cubicBezTo>
                  <a:pt x="17451" y="10857"/>
                  <a:pt x="17451" y="10857"/>
                  <a:pt x="17451" y="10857"/>
                </a:cubicBezTo>
                <a:cubicBezTo>
                  <a:pt x="16866" y="10491"/>
                  <a:pt x="16386" y="10191"/>
                  <a:pt x="16383" y="10189"/>
                </a:cubicBezTo>
                <a:cubicBezTo>
                  <a:pt x="16381" y="10183"/>
                  <a:pt x="16381" y="10183"/>
                  <a:pt x="16383" y="10183"/>
                </a:cubicBezTo>
                <a:cubicBezTo>
                  <a:pt x="16383" y="10183"/>
                  <a:pt x="16910" y="10408"/>
                  <a:pt x="17548" y="10682"/>
                </a:cubicBezTo>
                <a:close/>
                <a:moveTo>
                  <a:pt x="7991" y="10227"/>
                </a:moveTo>
                <a:lnTo>
                  <a:pt x="7991" y="10227"/>
                </a:lnTo>
                <a:cubicBezTo>
                  <a:pt x="8332" y="10261"/>
                  <a:pt x="8365" y="10264"/>
                  <a:pt x="8363" y="10266"/>
                </a:cubicBezTo>
                <a:cubicBezTo>
                  <a:pt x="8363" y="10266"/>
                  <a:pt x="8232" y="10277"/>
                  <a:pt x="8074" y="10291"/>
                </a:cubicBezTo>
                <a:cubicBezTo>
                  <a:pt x="7789" y="10316"/>
                  <a:pt x="7789" y="10316"/>
                  <a:pt x="7789" y="10316"/>
                </a:cubicBezTo>
                <a:cubicBezTo>
                  <a:pt x="7711" y="10258"/>
                  <a:pt x="7711" y="10258"/>
                  <a:pt x="7711" y="10258"/>
                </a:cubicBezTo>
                <a:cubicBezTo>
                  <a:pt x="7669" y="10225"/>
                  <a:pt x="7636" y="10197"/>
                  <a:pt x="7636" y="10197"/>
                </a:cubicBezTo>
                <a:cubicBezTo>
                  <a:pt x="7633" y="10194"/>
                  <a:pt x="7636" y="10194"/>
                  <a:pt x="7639" y="10194"/>
                </a:cubicBezTo>
                <a:cubicBezTo>
                  <a:pt x="7642" y="10194"/>
                  <a:pt x="7800" y="10208"/>
                  <a:pt x="7991" y="10227"/>
                </a:cubicBezTo>
                <a:close/>
                <a:moveTo>
                  <a:pt x="5883" y="10200"/>
                </a:moveTo>
                <a:lnTo>
                  <a:pt x="5883" y="10200"/>
                </a:lnTo>
                <a:cubicBezTo>
                  <a:pt x="5883" y="10200"/>
                  <a:pt x="5880" y="10200"/>
                  <a:pt x="5877" y="10200"/>
                </a:cubicBezTo>
                <a:cubicBezTo>
                  <a:pt x="5875" y="10200"/>
                  <a:pt x="5875" y="10197"/>
                  <a:pt x="5880" y="10197"/>
                </a:cubicBezTo>
                <a:cubicBezTo>
                  <a:pt x="5883" y="10197"/>
                  <a:pt x="5886" y="10200"/>
                  <a:pt x="5883" y="10200"/>
                </a:cubicBezTo>
                <a:close/>
                <a:moveTo>
                  <a:pt x="7642" y="10247"/>
                </a:moveTo>
                <a:lnTo>
                  <a:pt x="7642" y="10247"/>
                </a:lnTo>
                <a:cubicBezTo>
                  <a:pt x="7675" y="10275"/>
                  <a:pt x="7705" y="10300"/>
                  <a:pt x="7705" y="10300"/>
                </a:cubicBezTo>
                <a:cubicBezTo>
                  <a:pt x="7703" y="10302"/>
                  <a:pt x="7539" y="10266"/>
                  <a:pt x="7536" y="10264"/>
                </a:cubicBezTo>
                <a:cubicBezTo>
                  <a:pt x="7533" y="10261"/>
                  <a:pt x="7570" y="10197"/>
                  <a:pt x="7575" y="10197"/>
                </a:cubicBezTo>
                <a:cubicBezTo>
                  <a:pt x="7575" y="10197"/>
                  <a:pt x="7606" y="10219"/>
                  <a:pt x="7642" y="10247"/>
                </a:cubicBezTo>
                <a:close/>
                <a:moveTo>
                  <a:pt x="7508" y="10236"/>
                </a:moveTo>
                <a:lnTo>
                  <a:pt x="7508" y="10236"/>
                </a:lnTo>
                <a:cubicBezTo>
                  <a:pt x="7495" y="10258"/>
                  <a:pt x="7495" y="10258"/>
                  <a:pt x="7495" y="10258"/>
                </a:cubicBezTo>
                <a:cubicBezTo>
                  <a:pt x="7478" y="10255"/>
                  <a:pt x="7478" y="10255"/>
                  <a:pt x="7478" y="10255"/>
                </a:cubicBezTo>
                <a:cubicBezTo>
                  <a:pt x="7445" y="10250"/>
                  <a:pt x="7445" y="10250"/>
                  <a:pt x="7483" y="10230"/>
                </a:cubicBezTo>
                <a:cubicBezTo>
                  <a:pt x="7503" y="10222"/>
                  <a:pt x="7520" y="10214"/>
                  <a:pt x="7520" y="10214"/>
                </a:cubicBezTo>
                <a:cubicBezTo>
                  <a:pt x="7520" y="10216"/>
                  <a:pt x="7514" y="10225"/>
                  <a:pt x="7508" y="10236"/>
                </a:cubicBezTo>
                <a:close/>
                <a:moveTo>
                  <a:pt x="13152" y="10233"/>
                </a:moveTo>
                <a:lnTo>
                  <a:pt x="13152" y="10233"/>
                </a:lnTo>
                <a:cubicBezTo>
                  <a:pt x="13146" y="10238"/>
                  <a:pt x="13138" y="10238"/>
                  <a:pt x="13124" y="10236"/>
                </a:cubicBezTo>
                <a:cubicBezTo>
                  <a:pt x="13116" y="10233"/>
                  <a:pt x="13116" y="10233"/>
                  <a:pt x="13116" y="10233"/>
                </a:cubicBezTo>
                <a:cubicBezTo>
                  <a:pt x="13124" y="10230"/>
                  <a:pt x="13124" y="10230"/>
                  <a:pt x="13124" y="10230"/>
                </a:cubicBezTo>
                <a:cubicBezTo>
                  <a:pt x="13127" y="10227"/>
                  <a:pt x="13138" y="10227"/>
                  <a:pt x="13146" y="10227"/>
                </a:cubicBezTo>
                <a:cubicBezTo>
                  <a:pt x="13160" y="10227"/>
                  <a:pt x="13160" y="10227"/>
                  <a:pt x="13160" y="10227"/>
                </a:cubicBezTo>
                <a:cubicBezTo>
                  <a:pt x="13152" y="10233"/>
                  <a:pt x="13152" y="10233"/>
                  <a:pt x="13152" y="10233"/>
                </a:cubicBezTo>
                <a:close/>
                <a:moveTo>
                  <a:pt x="13219" y="10560"/>
                </a:moveTo>
                <a:lnTo>
                  <a:pt x="13219" y="10560"/>
                </a:lnTo>
                <a:cubicBezTo>
                  <a:pt x="13191" y="10907"/>
                  <a:pt x="13191" y="10904"/>
                  <a:pt x="13188" y="10896"/>
                </a:cubicBezTo>
                <a:cubicBezTo>
                  <a:pt x="13185" y="10888"/>
                  <a:pt x="13088" y="10361"/>
                  <a:pt x="13088" y="10358"/>
                </a:cubicBezTo>
                <a:cubicBezTo>
                  <a:pt x="13091" y="10352"/>
                  <a:pt x="13235" y="10241"/>
                  <a:pt x="13238" y="10241"/>
                </a:cubicBezTo>
                <a:cubicBezTo>
                  <a:pt x="13241" y="10241"/>
                  <a:pt x="13232" y="10355"/>
                  <a:pt x="13219" y="10560"/>
                </a:cubicBezTo>
                <a:close/>
                <a:moveTo>
                  <a:pt x="12999" y="10266"/>
                </a:moveTo>
                <a:lnTo>
                  <a:pt x="12999" y="10266"/>
                </a:lnTo>
                <a:cubicBezTo>
                  <a:pt x="13002" y="10277"/>
                  <a:pt x="13002" y="10288"/>
                  <a:pt x="13002" y="10288"/>
                </a:cubicBezTo>
                <a:cubicBezTo>
                  <a:pt x="12999" y="10291"/>
                  <a:pt x="12980" y="10288"/>
                  <a:pt x="12955" y="10286"/>
                </a:cubicBezTo>
                <a:cubicBezTo>
                  <a:pt x="12897" y="10277"/>
                  <a:pt x="12888" y="10275"/>
                  <a:pt x="12891" y="10272"/>
                </a:cubicBezTo>
                <a:cubicBezTo>
                  <a:pt x="12894" y="10269"/>
                  <a:pt x="12980" y="10247"/>
                  <a:pt x="12986" y="10247"/>
                </a:cubicBezTo>
                <a:cubicBezTo>
                  <a:pt x="12991" y="10247"/>
                  <a:pt x="12994" y="10252"/>
                  <a:pt x="12999" y="10266"/>
                </a:cubicBezTo>
                <a:close/>
                <a:moveTo>
                  <a:pt x="13066" y="10255"/>
                </a:moveTo>
                <a:lnTo>
                  <a:pt x="13066" y="10255"/>
                </a:lnTo>
                <a:cubicBezTo>
                  <a:pt x="13091" y="10264"/>
                  <a:pt x="13091" y="10264"/>
                  <a:pt x="13091" y="10264"/>
                </a:cubicBezTo>
                <a:cubicBezTo>
                  <a:pt x="13066" y="10275"/>
                  <a:pt x="13066" y="10275"/>
                  <a:pt x="13066" y="10275"/>
                </a:cubicBezTo>
                <a:cubicBezTo>
                  <a:pt x="13055" y="10283"/>
                  <a:pt x="13041" y="10286"/>
                  <a:pt x="13041" y="10283"/>
                </a:cubicBezTo>
                <a:cubicBezTo>
                  <a:pt x="13038" y="10283"/>
                  <a:pt x="13035" y="10275"/>
                  <a:pt x="13033" y="10266"/>
                </a:cubicBezTo>
                <a:cubicBezTo>
                  <a:pt x="13030" y="10250"/>
                  <a:pt x="13030" y="10250"/>
                  <a:pt x="13030" y="10250"/>
                </a:cubicBezTo>
                <a:cubicBezTo>
                  <a:pt x="13035" y="10250"/>
                  <a:pt x="13035" y="10250"/>
                  <a:pt x="13035" y="10250"/>
                </a:cubicBezTo>
                <a:cubicBezTo>
                  <a:pt x="13038" y="10250"/>
                  <a:pt x="13052" y="10252"/>
                  <a:pt x="13066" y="10255"/>
                </a:cubicBezTo>
                <a:close/>
                <a:moveTo>
                  <a:pt x="8759" y="10319"/>
                </a:moveTo>
                <a:lnTo>
                  <a:pt x="8759" y="10319"/>
                </a:lnTo>
                <a:cubicBezTo>
                  <a:pt x="8956" y="10352"/>
                  <a:pt x="8956" y="10352"/>
                  <a:pt x="8954" y="10355"/>
                </a:cubicBezTo>
                <a:cubicBezTo>
                  <a:pt x="8954" y="10355"/>
                  <a:pt x="8793" y="10349"/>
                  <a:pt x="8598" y="10338"/>
                </a:cubicBezTo>
                <a:cubicBezTo>
                  <a:pt x="8407" y="10327"/>
                  <a:pt x="8241" y="10319"/>
                  <a:pt x="8235" y="10319"/>
                </a:cubicBezTo>
                <a:cubicBezTo>
                  <a:pt x="8227" y="10319"/>
                  <a:pt x="8224" y="10319"/>
                  <a:pt x="8224" y="10316"/>
                </a:cubicBezTo>
                <a:cubicBezTo>
                  <a:pt x="8227" y="10313"/>
                  <a:pt x="8565" y="10283"/>
                  <a:pt x="8576" y="10286"/>
                </a:cubicBezTo>
                <a:cubicBezTo>
                  <a:pt x="8579" y="10286"/>
                  <a:pt x="8662" y="10300"/>
                  <a:pt x="8759" y="10319"/>
                </a:cubicBezTo>
                <a:close/>
                <a:moveTo>
                  <a:pt x="12780" y="10313"/>
                </a:moveTo>
                <a:lnTo>
                  <a:pt x="12780" y="10313"/>
                </a:lnTo>
                <a:cubicBezTo>
                  <a:pt x="12789" y="10366"/>
                  <a:pt x="12794" y="10410"/>
                  <a:pt x="12791" y="10410"/>
                </a:cubicBezTo>
                <a:cubicBezTo>
                  <a:pt x="12789" y="10413"/>
                  <a:pt x="12248" y="10477"/>
                  <a:pt x="12165" y="10485"/>
                </a:cubicBezTo>
                <a:cubicBezTo>
                  <a:pt x="12151" y="10485"/>
                  <a:pt x="12151" y="10485"/>
                  <a:pt x="12151" y="10485"/>
                </a:cubicBezTo>
                <a:cubicBezTo>
                  <a:pt x="12162" y="10483"/>
                  <a:pt x="12162" y="10483"/>
                  <a:pt x="12162" y="10483"/>
                </a:cubicBezTo>
                <a:cubicBezTo>
                  <a:pt x="12173" y="10477"/>
                  <a:pt x="12769" y="10302"/>
                  <a:pt x="12775" y="10302"/>
                </a:cubicBezTo>
                <a:cubicBezTo>
                  <a:pt x="12777" y="10302"/>
                  <a:pt x="12777" y="10308"/>
                  <a:pt x="12780" y="10313"/>
                </a:cubicBezTo>
                <a:close/>
                <a:moveTo>
                  <a:pt x="12897" y="10311"/>
                </a:moveTo>
                <a:lnTo>
                  <a:pt x="12897" y="10311"/>
                </a:lnTo>
                <a:cubicBezTo>
                  <a:pt x="12933" y="10316"/>
                  <a:pt x="12963" y="10322"/>
                  <a:pt x="12963" y="10324"/>
                </a:cubicBezTo>
                <a:cubicBezTo>
                  <a:pt x="12963" y="10330"/>
                  <a:pt x="12833" y="10402"/>
                  <a:pt x="12830" y="10397"/>
                </a:cubicBezTo>
                <a:cubicBezTo>
                  <a:pt x="12827" y="10397"/>
                  <a:pt x="12814" y="10316"/>
                  <a:pt x="12814" y="10305"/>
                </a:cubicBezTo>
                <a:cubicBezTo>
                  <a:pt x="12814" y="10300"/>
                  <a:pt x="12822" y="10300"/>
                  <a:pt x="12897" y="10311"/>
                </a:cubicBezTo>
                <a:close/>
                <a:moveTo>
                  <a:pt x="10686" y="10341"/>
                </a:moveTo>
                <a:lnTo>
                  <a:pt x="10686" y="10341"/>
                </a:lnTo>
                <a:cubicBezTo>
                  <a:pt x="11421" y="10361"/>
                  <a:pt x="12026" y="10380"/>
                  <a:pt x="12026" y="10380"/>
                </a:cubicBezTo>
                <a:cubicBezTo>
                  <a:pt x="12026" y="10380"/>
                  <a:pt x="12004" y="10410"/>
                  <a:pt x="11976" y="10447"/>
                </a:cubicBezTo>
                <a:cubicBezTo>
                  <a:pt x="11926" y="10510"/>
                  <a:pt x="11926" y="10510"/>
                  <a:pt x="11926" y="10510"/>
                </a:cubicBezTo>
                <a:cubicBezTo>
                  <a:pt x="11907" y="10510"/>
                  <a:pt x="11907" y="10510"/>
                  <a:pt x="11907" y="10510"/>
                </a:cubicBezTo>
                <a:cubicBezTo>
                  <a:pt x="11870" y="10508"/>
                  <a:pt x="9336" y="10308"/>
                  <a:pt x="9331" y="10308"/>
                </a:cubicBezTo>
                <a:cubicBezTo>
                  <a:pt x="9328" y="10305"/>
                  <a:pt x="9331" y="10305"/>
                  <a:pt x="9336" y="10305"/>
                </a:cubicBezTo>
                <a:cubicBezTo>
                  <a:pt x="9345" y="10305"/>
                  <a:pt x="9951" y="10322"/>
                  <a:pt x="10686" y="10341"/>
                </a:cubicBezTo>
                <a:close/>
                <a:moveTo>
                  <a:pt x="13083" y="10313"/>
                </a:moveTo>
                <a:lnTo>
                  <a:pt x="13083" y="10313"/>
                </a:lnTo>
                <a:cubicBezTo>
                  <a:pt x="13072" y="10322"/>
                  <a:pt x="13063" y="10324"/>
                  <a:pt x="13063" y="10319"/>
                </a:cubicBezTo>
                <a:cubicBezTo>
                  <a:pt x="13063" y="10316"/>
                  <a:pt x="13085" y="10305"/>
                  <a:pt x="13091" y="10305"/>
                </a:cubicBezTo>
                <a:cubicBezTo>
                  <a:pt x="13094" y="10305"/>
                  <a:pt x="13088" y="10308"/>
                  <a:pt x="13083" y="10313"/>
                </a:cubicBezTo>
                <a:close/>
                <a:moveTo>
                  <a:pt x="9710" y="10374"/>
                </a:moveTo>
                <a:lnTo>
                  <a:pt x="9710" y="10374"/>
                </a:lnTo>
                <a:cubicBezTo>
                  <a:pt x="10115" y="10405"/>
                  <a:pt x="10448" y="10430"/>
                  <a:pt x="10453" y="10430"/>
                </a:cubicBezTo>
                <a:cubicBezTo>
                  <a:pt x="10459" y="10430"/>
                  <a:pt x="10464" y="10433"/>
                  <a:pt x="10461" y="10433"/>
                </a:cubicBezTo>
                <a:cubicBezTo>
                  <a:pt x="10459" y="10435"/>
                  <a:pt x="10461" y="10435"/>
                  <a:pt x="9774" y="10399"/>
                </a:cubicBezTo>
                <a:cubicBezTo>
                  <a:pt x="9253" y="10372"/>
                  <a:pt x="9253" y="10372"/>
                  <a:pt x="9253" y="10372"/>
                </a:cubicBezTo>
                <a:cubicBezTo>
                  <a:pt x="9109" y="10347"/>
                  <a:pt x="9109" y="10347"/>
                  <a:pt x="9109" y="10347"/>
                </a:cubicBezTo>
                <a:cubicBezTo>
                  <a:pt x="9028" y="10330"/>
                  <a:pt x="8962" y="10319"/>
                  <a:pt x="8956" y="10316"/>
                </a:cubicBezTo>
                <a:cubicBezTo>
                  <a:pt x="8951" y="10313"/>
                  <a:pt x="8954" y="10313"/>
                  <a:pt x="8965" y="10313"/>
                </a:cubicBezTo>
                <a:cubicBezTo>
                  <a:pt x="8973" y="10316"/>
                  <a:pt x="9309" y="10341"/>
                  <a:pt x="9710" y="10374"/>
                </a:cubicBezTo>
                <a:close/>
                <a:moveTo>
                  <a:pt x="8360" y="10497"/>
                </a:moveTo>
                <a:lnTo>
                  <a:pt x="8360" y="10497"/>
                </a:lnTo>
                <a:cubicBezTo>
                  <a:pt x="8812" y="10594"/>
                  <a:pt x="9187" y="10677"/>
                  <a:pt x="9192" y="10677"/>
                </a:cubicBezTo>
                <a:cubicBezTo>
                  <a:pt x="9198" y="10680"/>
                  <a:pt x="9203" y="10680"/>
                  <a:pt x="9200" y="10680"/>
                </a:cubicBezTo>
                <a:cubicBezTo>
                  <a:pt x="9200" y="10682"/>
                  <a:pt x="6887" y="10405"/>
                  <a:pt x="6879" y="10402"/>
                </a:cubicBezTo>
                <a:cubicBezTo>
                  <a:pt x="6873" y="10399"/>
                  <a:pt x="7492" y="10322"/>
                  <a:pt x="7522" y="10319"/>
                </a:cubicBezTo>
                <a:cubicBezTo>
                  <a:pt x="7531" y="10319"/>
                  <a:pt x="7908" y="10399"/>
                  <a:pt x="8360" y="10497"/>
                </a:cubicBezTo>
                <a:close/>
                <a:moveTo>
                  <a:pt x="12569" y="10322"/>
                </a:moveTo>
                <a:lnTo>
                  <a:pt x="12569" y="10322"/>
                </a:lnTo>
                <a:cubicBezTo>
                  <a:pt x="12567" y="10324"/>
                  <a:pt x="12542" y="10333"/>
                  <a:pt x="12514" y="10341"/>
                </a:cubicBezTo>
                <a:cubicBezTo>
                  <a:pt x="12486" y="10349"/>
                  <a:pt x="12356" y="10388"/>
                  <a:pt x="12228" y="10424"/>
                </a:cubicBezTo>
                <a:cubicBezTo>
                  <a:pt x="12098" y="10463"/>
                  <a:pt x="11990" y="10494"/>
                  <a:pt x="11987" y="10494"/>
                </a:cubicBezTo>
                <a:cubicBezTo>
                  <a:pt x="11984" y="10494"/>
                  <a:pt x="12070" y="10383"/>
                  <a:pt x="12076" y="10380"/>
                </a:cubicBezTo>
                <a:cubicBezTo>
                  <a:pt x="12078" y="10377"/>
                  <a:pt x="12189" y="10363"/>
                  <a:pt x="12325" y="10349"/>
                </a:cubicBezTo>
                <a:cubicBezTo>
                  <a:pt x="12458" y="10333"/>
                  <a:pt x="12569" y="10319"/>
                  <a:pt x="12569" y="10319"/>
                </a:cubicBezTo>
                <a:cubicBezTo>
                  <a:pt x="12572" y="10319"/>
                  <a:pt x="12569" y="10322"/>
                  <a:pt x="12569" y="10322"/>
                </a:cubicBezTo>
                <a:close/>
                <a:moveTo>
                  <a:pt x="13027" y="10341"/>
                </a:moveTo>
                <a:lnTo>
                  <a:pt x="13027" y="10341"/>
                </a:lnTo>
                <a:cubicBezTo>
                  <a:pt x="13024" y="10344"/>
                  <a:pt x="13019" y="10347"/>
                  <a:pt x="13013" y="10347"/>
                </a:cubicBezTo>
                <a:cubicBezTo>
                  <a:pt x="13002" y="10349"/>
                  <a:pt x="13002" y="10349"/>
                  <a:pt x="13002" y="10349"/>
                </a:cubicBezTo>
                <a:cubicBezTo>
                  <a:pt x="13013" y="10341"/>
                  <a:pt x="13013" y="10341"/>
                  <a:pt x="13013" y="10341"/>
                </a:cubicBezTo>
                <a:cubicBezTo>
                  <a:pt x="13024" y="10336"/>
                  <a:pt x="13033" y="10336"/>
                  <a:pt x="13027" y="10341"/>
                </a:cubicBezTo>
                <a:close/>
                <a:moveTo>
                  <a:pt x="8770" y="10383"/>
                </a:moveTo>
                <a:lnTo>
                  <a:pt x="8770" y="10383"/>
                </a:lnTo>
                <a:cubicBezTo>
                  <a:pt x="9259" y="10408"/>
                  <a:pt x="9259" y="10408"/>
                  <a:pt x="9259" y="10408"/>
                </a:cubicBezTo>
                <a:cubicBezTo>
                  <a:pt x="9475" y="10447"/>
                  <a:pt x="9475" y="10447"/>
                  <a:pt x="9475" y="10447"/>
                </a:cubicBezTo>
                <a:cubicBezTo>
                  <a:pt x="9591" y="10469"/>
                  <a:pt x="9688" y="10485"/>
                  <a:pt x="9690" y="10485"/>
                </a:cubicBezTo>
                <a:cubicBezTo>
                  <a:pt x="9693" y="10485"/>
                  <a:pt x="9693" y="10488"/>
                  <a:pt x="9690" y="10488"/>
                </a:cubicBezTo>
                <a:cubicBezTo>
                  <a:pt x="9688" y="10491"/>
                  <a:pt x="8266" y="10361"/>
                  <a:pt x="8232" y="10358"/>
                </a:cubicBezTo>
                <a:cubicBezTo>
                  <a:pt x="8210" y="10352"/>
                  <a:pt x="8210" y="10352"/>
                  <a:pt x="8210" y="10352"/>
                </a:cubicBezTo>
                <a:cubicBezTo>
                  <a:pt x="8243" y="10355"/>
                  <a:pt x="8243" y="10355"/>
                  <a:pt x="8243" y="10355"/>
                </a:cubicBezTo>
                <a:cubicBezTo>
                  <a:pt x="8263" y="10355"/>
                  <a:pt x="8501" y="10369"/>
                  <a:pt x="8770" y="10383"/>
                </a:cubicBezTo>
                <a:close/>
                <a:moveTo>
                  <a:pt x="9028" y="10466"/>
                </a:moveTo>
                <a:lnTo>
                  <a:pt x="9028" y="10466"/>
                </a:lnTo>
                <a:cubicBezTo>
                  <a:pt x="10112" y="10563"/>
                  <a:pt x="10112" y="10563"/>
                  <a:pt x="10112" y="10563"/>
                </a:cubicBezTo>
                <a:cubicBezTo>
                  <a:pt x="10334" y="10563"/>
                  <a:pt x="10334" y="10563"/>
                  <a:pt x="10334" y="10563"/>
                </a:cubicBezTo>
                <a:cubicBezTo>
                  <a:pt x="10556" y="10560"/>
                  <a:pt x="10556" y="10560"/>
                  <a:pt x="10556" y="10560"/>
                </a:cubicBezTo>
                <a:cubicBezTo>
                  <a:pt x="11055" y="10599"/>
                  <a:pt x="11055" y="10599"/>
                  <a:pt x="11055" y="10599"/>
                </a:cubicBezTo>
                <a:cubicBezTo>
                  <a:pt x="11332" y="10621"/>
                  <a:pt x="11557" y="10638"/>
                  <a:pt x="11560" y="10641"/>
                </a:cubicBezTo>
                <a:cubicBezTo>
                  <a:pt x="11563" y="10641"/>
                  <a:pt x="11565" y="10641"/>
                  <a:pt x="11565" y="10643"/>
                </a:cubicBezTo>
                <a:cubicBezTo>
                  <a:pt x="11563" y="10643"/>
                  <a:pt x="11124" y="10663"/>
                  <a:pt x="10586" y="10688"/>
                </a:cubicBezTo>
                <a:cubicBezTo>
                  <a:pt x="9610" y="10732"/>
                  <a:pt x="9610" y="10732"/>
                  <a:pt x="9610" y="10732"/>
                </a:cubicBezTo>
                <a:cubicBezTo>
                  <a:pt x="8787" y="10552"/>
                  <a:pt x="8787" y="10552"/>
                  <a:pt x="8787" y="10552"/>
                </a:cubicBezTo>
                <a:cubicBezTo>
                  <a:pt x="8024" y="10388"/>
                  <a:pt x="7936" y="10369"/>
                  <a:pt x="7941" y="10369"/>
                </a:cubicBezTo>
                <a:cubicBezTo>
                  <a:pt x="7944" y="10369"/>
                  <a:pt x="8432" y="10410"/>
                  <a:pt x="9028" y="10466"/>
                </a:cubicBezTo>
                <a:close/>
                <a:moveTo>
                  <a:pt x="6629" y="10402"/>
                </a:moveTo>
                <a:lnTo>
                  <a:pt x="6629" y="10402"/>
                </a:lnTo>
                <a:cubicBezTo>
                  <a:pt x="6715" y="10419"/>
                  <a:pt x="6715" y="10419"/>
                  <a:pt x="6715" y="10419"/>
                </a:cubicBezTo>
                <a:cubicBezTo>
                  <a:pt x="8163" y="10594"/>
                  <a:pt x="8163" y="10594"/>
                  <a:pt x="8163" y="10594"/>
                </a:cubicBezTo>
                <a:cubicBezTo>
                  <a:pt x="9607" y="10768"/>
                  <a:pt x="9607" y="10768"/>
                  <a:pt x="9607" y="10768"/>
                </a:cubicBezTo>
                <a:cubicBezTo>
                  <a:pt x="9671" y="10768"/>
                  <a:pt x="9671" y="10768"/>
                  <a:pt x="9671" y="10768"/>
                </a:cubicBezTo>
                <a:cubicBezTo>
                  <a:pt x="9729" y="10768"/>
                  <a:pt x="9810" y="10774"/>
                  <a:pt x="9815" y="10779"/>
                </a:cubicBezTo>
                <a:cubicBezTo>
                  <a:pt x="9815" y="10779"/>
                  <a:pt x="9696" y="11093"/>
                  <a:pt x="9546" y="11473"/>
                </a:cubicBezTo>
                <a:cubicBezTo>
                  <a:pt x="9364" y="11941"/>
                  <a:pt x="9275" y="12163"/>
                  <a:pt x="9273" y="12163"/>
                </a:cubicBezTo>
                <a:cubicBezTo>
                  <a:pt x="9264" y="12163"/>
                  <a:pt x="6518" y="10386"/>
                  <a:pt x="6518" y="10380"/>
                </a:cubicBezTo>
                <a:cubicBezTo>
                  <a:pt x="6518" y="10377"/>
                  <a:pt x="6527" y="10377"/>
                  <a:pt x="6629" y="10402"/>
                </a:cubicBezTo>
                <a:close/>
                <a:moveTo>
                  <a:pt x="13058" y="10388"/>
                </a:moveTo>
                <a:lnTo>
                  <a:pt x="13058" y="10388"/>
                </a:lnTo>
                <a:cubicBezTo>
                  <a:pt x="13058" y="10391"/>
                  <a:pt x="13080" y="10513"/>
                  <a:pt x="13108" y="10657"/>
                </a:cubicBezTo>
                <a:cubicBezTo>
                  <a:pt x="13133" y="10802"/>
                  <a:pt x="13155" y="10924"/>
                  <a:pt x="13157" y="10929"/>
                </a:cubicBezTo>
                <a:cubicBezTo>
                  <a:pt x="13160" y="10940"/>
                  <a:pt x="13160" y="10940"/>
                  <a:pt x="13160" y="10940"/>
                </a:cubicBezTo>
                <a:cubicBezTo>
                  <a:pt x="13155" y="10935"/>
                  <a:pt x="13155" y="10935"/>
                  <a:pt x="13155" y="10935"/>
                </a:cubicBezTo>
                <a:cubicBezTo>
                  <a:pt x="13144" y="10924"/>
                  <a:pt x="12900" y="10474"/>
                  <a:pt x="12902" y="10471"/>
                </a:cubicBezTo>
                <a:cubicBezTo>
                  <a:pt x="12905" y="10469"/>
                  <a:pt x="13049" y="10380"/>
                  <a:pt x="13052" y="10380"/>
                </a:cubicBezTo>
                <a:cubicBezTo>
                  <a:pt x="13055" y="10380"/>
                  <a:pt x="13055" y="10383"/>
                  <a:pt x="13058" y="10388"/>
                </a:cubicBezTo>
                <a:close/>
                <a:moveTo>
                  <a:pt x="2053" y="10391"/>
                </a:moveTo>
                <a:lnTo>
                  <a:pt x="2053" y="10391"/>
                </a:lnTo>
                <a:cubicBezTo>
                  <a:pt x="2086" y="10394"/>
                  <a:pt x="2103" y="10399"/>
                  <a:pt x="2075" y="10399"/>
                </a:cubicBezTo>
                <a:cubicBezTo>
                  <a:pt x="2058" y="10399"/>
                  <a:pt x="2014" y="10391"/>
                  <a:pt x="2011" y="10388"/>
                </a:cubicBezTo>
                <a:cubicBezTo>
                  <a:pt x="2008" y="10386"/>
                  <a:pt x="2011" y="10386"/>
                  <a:pt x="2014" y="10388"/>
                </a:cubicBezTo>
                <a:cubicBezTo>
                  <a:pt x="2019" y="10388"/>
                  <a:pt x="2036" y="10391"/>
                  <a:pt x="2053" y="10391"/>
                </a:cubicBezTo>
                <a:close/>
                <a:moveTo>
                  <a:pt x="13379" y="10638"/>
                </a:moveTo>
                <a:lnTo>
                  <a:pt x="13379" y="10638"/>
                </a:lnTo>
                <a:cubicBezTo>
                  <a:pt x="13421" y="10774"/>
                  <a:pt x="13454" y="10885"/>
                  <a:pt x="13454" y="10888"/>
                </a:cubicBezTo>
                <a:cubicBezTo>
                  <a:pt x="13452" y="10890"/>
                  <a:pt x="13352" y="10943"/>
                  <a:pt x="13349" y="10940"/>
                </a:cubicBezTo>
                <a:cubicBezTo>
                  <a:pt x="13349" y="10937"/>
                  <a:pt x="13299" y="10399"/>
                  <a:pt x="13299" y="10391"/>
                </a:cubicBezTo>
                <a:cubicBezTo>
                  <a:pt x="13299" y="10386"/>
                  <a:pt x="13299" y="10386"/>
                  <a:pt x="13299" y="10386"/>
                </a:cubicBezTo>
                <a:cubicBezTo>
                  <a:pt x="13302" y="10391"/>
                  <a:pt x="13302" y="10391"/>
                  <a:pt x="13302" y="10391"/>
                </a:cubicBezTo>
                <a:cubicBezTo>
                  <a:pt x="13305" y="10394"/>
                  <a:pt x="13341" y="10505"/>
                  <a:pt x="13379" y="10638"/>
                </a:cubicBezTo>
                <a:close/>
                <a:moveTo>
                  <a:pt x="18855" y="10399"/>
                </a:moveTo>
                <a:lnTo>
                  <a:pt x="18855" y="10399"/>
                </a:lnTo>
                <a:cubicBezTo>
                  <a:pt x="18855" y="10399"/>
                  <a:pt x="18852" y="10399"/>
                  <a:pt x="18846" y="10397"/>
                </a:cubicBezTo>
                <a:cubicBezTo>
                  <a:pt x="18844" y="10394"/>
                  <a:pt x="18838" y="10391"/>
                  <a:pt x="18838" y="10391"/>
                </a:cubicBezTo>
                <a:cubicBezTo>
                  <a:pt x="18838" y="10391"/>
                  <a:pt x="18844" y="10391"/>
                  <a:pt x="18846" y="10394"/>
                </a:cubicBezTo>
                <a:cubicBezTo>
                  <a:pt x="18852" y="10397"/>
                  <a:pt x="18855" y="10399"/>
                  <a:pt x="18855" y="10399"/>
                </a:cubicBezTo>
                <a:close/>
                <a:moveTo>
                  <a:pt x="18927" y="10438"/>
                </a:moveTo>
                <a:lnTo>
                  <a:pt x="18927" y="10438"/>
                </a:lnTo>
                <a:cubicBezTo>
                  <a:pt x="18932" y="10441"/>
                  <a:pt x="18935" y="10447"/>
                  <a:pt x="18932" y="10447"/>
                </a:cubicBezTo>
                <a:cubicBezTo>
                  <a:pt x="18927" y="10447"/>
                  <a:pt x="18857" y="10405"/>
                  <a:pt x="18857" y="10402"/>
                </a:cubicBezTo>
                <a:cubicBezTo>
                  <a:pt x="18857" y="10399"/>
                  <a:pt x="18905" y="10424"/>
                  <a:pt x="18927" y="10438"/>
                </a:cubicBezTo>
                <a:close/>
                <a:moveTo>
                  <a:pt x="7852" y="11290"/>
                </a:moveTo>
                <a:lnTo>
                  <a:pt x="7852" y="11290"/>
                </a:lnTo>
                <a:cubicBezTo>
                  <a:pt x="8601" y="11772"/>
                  <a:pt x="9214" y="12172"/>
                  <a:pt x="9217" y="12174"/>
                </a:cubicBezTo>
                <a:cubicBezTo>
                  <a:pt x="9223" y="12177"/>
                  <a:pt x="9223" y="12177"/>
                  <a:pt x="9223" y="12177"/>
                </a:cubicBezTo>
                <a:cubicBezTo>
                  <a:pt x="9187" y="12180"/>
                  <a:pt x="9187" y="12180"/>
                  <a:pt x="9187" y="12180"/>
                </a:cubicBezTo>
                <a:cubicBezTo>
                  <a:pt x="9087" y="12186"/>
                  <a:pt x="7392" y="12252"/>
                  <a:pt x="7384" y="12249"/>
                </a:cubicBezTo>
                <a:cubicBezTo>
                  <a:pt x="7373" y="12247"/>
                  <a:pt x="7373" y="12247"/>
                  <a:pt x="7373" y="12247"/>
                </a:cubicBezTo>
                <a:cubicBezTo>
                  <a:pt x="6929" y="11331"/>
                  <a:pt x="6929" y="11331"/>
                  <a:pt x="6929" y="11331"/>
                </a:cubicBezTo>
                <a:cubicBezTo>
                  <a:pt x="6685" y="10826"/>
                  <a:pt x="6485" y="10413"/>
                  <a:pt x="6485" y="10410"/>
                </a:cubicBezTo>
                <a:cubicBezTo>
                  <a:pt x="6485" y="10405"/>
                  <a:pt x="6485" y="10405"/>
                  <a:pt x="6488" y="10408"/>
                </a:cubicBezTo>
                <a:cubicBezTo>
                  <a:pt x="6490" y="10408"/>
                  <a:pt x="7106" y="10804"/>
                  <a:pt x="7852" y="11290"/>
                </a:cubicBezTo>
                <a:close/>
                <a:moveTo>
                  <a:pt x="2322" y="10419"/>
                </a:moveTo>
                <a:lnTo>
                  <a:pt x="2322" y="10419"/>
                </a:lnTo>
                <a:cubicBezTo>
                  <a:pt x="2430" y="10430"/>
                  <a:pt x="2430" y="10430"/>
                  <a:pt x="2430" y="10430"/>
                </a:cubicBezTo>
                <a:cubicBezTo>
                  <a:pt x="2655" y="10485"/>
                  <a:pt x="2655" y="10485"/>
                  <a:pt x="2655" y="10485"/>
                </a:cubicBezTo>
                <a:cubicBezTo>
                  <a:pt x="2777" y="10516"/>
                  <a:pt x="2876" y="10541"/>
                  <a:pt x="2874" y="10541"/>
                </a:cubicBezTo>
                <a:cubicBezTo>
                  <a:pt x="2871" y="10541"/>
                  <a:pt x="2208" y="10427"/>
                  <a:pt x="2208" y="10424"/>
                </a:cubicBezTo>
                <a:cubicBezTo>
                  <a:pt x="2205" y="10424"/>
                  <a:pt x="2205" y="10422"/>
                  <a:pt x="2202" y="10416"/>
                </a:cubicBezTo>
                <a:cubicBezTo>
                  <a:pt x="2200" y="10405"/>
                  <a:pt x="2191" y="10405"/>
                  <a:pt x="2322" y="10419"/>
                </a:cubicBezTo>
                <a:close/>
                <a:moveTo>
                  <a:pt x="12922" y="10416"/>
                </a:moveTo>
                <a:lnTo>
                  <a:pt x="12922" y="10416"/>
                </a:lnTo>
                <a:cubicBezTo>
                  <a:pt x="12919" y="10416"/>
                  <a:pt x="12908" y="10424"/>
                  <a:pt x="12897" y="10433"/>
                </a:cubicBezTo>
                <a:cubicBezTo>
                  <a:pt x="12875" y="10447"/>
                  <a:pt x="12875" y="10447"/>
                  <a:pt x="12875" y="10447"/>
                </a:cubicBezTo>
                <a:cubicBezTo>
                  <a:pt x="12866" y="10441"/>
                  <a:pt x="12866" y="10441"/>
                  <a:pt x="12866" y="10441"/>
                </a:cubicBezTo>
                <a:cubicBezTo>
                  <a:pt x="12861" y="10435"/>
                  <a:pt x="12858" y="10435"/>
                  <a:pt x="12863" y="10433"/>
                </a:cubicBezTo>
                <a:cubicBezTo>
                  <a:pt x="12869" y="10430"/>
                  <a:pt x="12919" y="10413"/>
                  <a:pt x="12922" y="10413"/>
                </a:cubicBezTo>
                <a:cubicBezTo>
                  <a:pt x="12922" y="10413"/>
                  <a:pt x="12922" y="10413"/>
                  <a:pt x="12922" y="10416"/>
                </a:cubicBezTo>
                <a:close/>
                <a:moveTo>
                  <a:pt x="10439" y="10469"/>
                </a:moveTo>
                <a:lnTo>
                  <a:pt x="10439" y="10469"/>
                </a:lnTo>
                <a:cubicBezTo>
                  <a:pt x="10889" y="10494"/>
                  <a:pt x="11266" y="10513"/>
                  <a:pt x="11277" y="10513"/>
                </a:cubicBezTo>
                <a:cubicBezTo>
                  <a:pt x="11288" y="10513"/>
                  <a:pt x="11294" y="10513"/>
                  <a:pt x="11294" y="10516"/>
                </a:cubicBezTo>
                <a:cubicBezTo>
                  <a:pt x="11291" y="10516"/>
                  <a:pt x="11030" y="10521"/>
                  <a:pt x="10705" y="10524"/>
                </a:cubicBezTo>
                <a:cubicBezTo>
                  <a:pt x="10123" y="10530"/>
                  <a:pt x="10123" y="10530"/>
                  <a:pt x="10123" y="10530"/>
                </a:cubicBezTo>
                <a:cubicBezTo>
                  <a:pt x="9843" y="10477"/>
                  <a:pt x="9843" y="10477"/>
                  <a:pt x="9843" y="10477"/>
                </a:cubicBezTo>
                <a:cubicBezTo>
                  <a:pt x="9688" y="10449"/>
                  <a:pt x="9557" y="10427"/>
                  <a:pt x="9557" y="10424"/>
                </a:cubicBezTo>
                <a:cubicBezTo>
                  <a:pt x="9554" y="10424"/>
                  <a:pt x="9568" y="10424"/>
                  <a:pt x="9588" y="10424"/>
                </a:cubicBezTo>
                <a:cubicBezTo>
                  <a:pt x="9607" y="10427"/>
                  <a:pt x="9990" y="10447"/>
                  <a:pt x="10439" y="10469"/>
                </a:cubicBezTo>
                <a:close/>
                <a:moveTo>
                  <a:pt x="13291" y="10691"/>
                </a:moveTo>
                <a:lnTo>
                  <a:pt x="13291" y="10691"/>
                </a:lnTo>
                <a:cubicBezTo>
                  <a:pt x="13305" y="10832"/>
                  <a:pt x="13313" y="10954"/>
                  <a:pt x="13313" y="10957"/>
                </a:cubicBezTo>
                <a:cubicBezTo>
                  <a:pt x="13313" y="10960"/>
                  <a:pt x="13299" y="10971"/>
                  <a:pt x="13266" y="10990"/>
                </a:cubicBezTo>
                <a:cubicBezTo>
                  <a:pt x="13241" y="11007"/>
                  <a:pt x="13219" y="11018"/>
                  <a:pt x="13219" y="11015"/>
                </a:cubicBezTo>
                <a:cubicBezTo>
                  <a:pt x="13219" y="11015"/>
                  <a:pt x="13227" y="10885"/>
                  <a:pt x="13241" y="10727"/>
                </a:cubicBezTo>
                <a:cubicBezTo>
                  <a:pt x="13252" y="10569"/>
                  <a:pt x="13263" y="10438"/>
                  <a:pt x="13263" y="10433"/>
                </a:cubicBezTo>
                <a:cubicBezTo>
                  <a:pt x="13263" y="10430"/>
                  <a:pt x="13263" y="10427"/>
                  <a:pt x="13266" y="10427"/>
                </a:cubicBezTo>
                <a:cubicBezTo>
                  <a:pt x="13266" y="10430"/>
                  <a:pt x="13277" y="10546"/>
                  <a:pt x="13291" y="10691"/>
                </a:cubicBezTo>
                <a:close/>
                <a:moveTo>
                  <a:pt x="6893" y="11334"/>
                </a:moveTo>
                <a:lnTo>
                  <a:pt x="6893" y="11334"/>
                </a:lnTo>
                <a:cubicBezTo>
                  <a:pt x="7128" y="11822"/>
                  <a:pt x="7323" y="12222"/>
                  <a:pt x="7320" y="12224"/>
                </a:cubicBezTo>
                <a:cubicBezTo>
                  <a:pt x="7317" y="12224"/>
                  <a:pt x="6474" y="11778"/>
                  <a:pt x="6468" y="11772"/>
                </a:cubicBezTo>
                <a:cubicBezTo>
                  <a:pt x="6466" y="11769"/>
                  <a:pt x="6463" y="11567"/>
                  <a:pt x="6460" y="11212"/>
                </a:cubicBezTo>
                <a:cubicBezTo>
                  <a:pt x="6454" y="10513"/>
                  <a:pt x="6454" y="10435"/>
                  <a:pt x="6460" y="10441"/>
                </a:cubicBezTo>
                <a:cubicBezTo>
                  <a:pt x="6460" y="10444"/>
                  <a:pt x="6657" y="10846"/>
                  <a:pt x="6893" y="11334"/>
                </a:cubicBezTo>
                <a:close/>
                <a:moveTo>
                  <a:pt x="12822" y="10455"/>
                </a:moveTo>
                <a:lnTo>
                  <a:pt x="12822" y="10455"/>
                </a:lnTo>
                <a:cubicBezTo>
                  <a:pt x="12827" y="10458"/>
                  <a:pt x="12830" y="10460"/>
                  <a:pt x="12827" y="10460"/>
                </a:cubicBezTo>
                <a:cubicBezTo>
                  <a:pt x="12822" y="10466"/>
                  <a:pt x="12719" y="10494"/>
                  <a:pt x="12716" y="10494"/>
                </a:cubicBezTo>
                <a:cubicBezTo>
                  <a:pt x="12716" y="10491"/>
                  <a:pt x="12805" y="10449"/>
                  <a:pt x="12811" y="10449"/>
                </a:cubicBezTo>
                <a:cubicBezTo>
                  <a:pt x="12811" y="10449"/>
                  <a:pt x="12816" y="10452"/>
                  <a:pt x="12822" y="10455"/>
                </a:cubicBezTo>
                <a:close/>
                <a:moveTo>
                  <a:pt x="12686" y="10463"/>
                </a:moveTo>
                <a:lnTo>
                  <a:pt x="12686" y="10463"/>
                </a:lnTo>
                <a:cubicBezTo>
                  <a:pt x="12683" y="10469"/>
                  <a:pt x="12295" y="10635"/>
                  <a:pt x="12289" y="10635"/>
                </a:cubicBezTo>
                <a:cubicBezTo>
                  <a:pt x="12287" y="10635"/>
                  <a:pt x="12084" y="10566"/>
                  <a:pt x="12023" y="10544"/>
                </a:cubicBezTo>
                <a:cubicBezTo>
                  <a:pt x="12020" y="10541"/>
                  <a:pt x="12020" y="10541"/>
                  <a:pt x="12020" y="10538"/>
                </a:cubicBezTo>
                <a:cubicBezTo>
                  <a:pt x="12023" y="10538"/>
                  <a:pt x="12642" y="10463"/>
                  <a:pt x="12686" y="10460"/>
                </a:cubicBezTo>
                <a:cubicBezTo>
                  <a:pt x="12689" y="10460"/>
                  <a:pt x="12689" y="10460"/>
                  <a:pt x="12686" y="10463"/>
                </a:cubicBezTo>
                <a:close/>
                <a:moveTo>
                  <a:pt x="16650" y="11414"/>
                </a:moveTo>
                <a:lnTo>
                  <a:pt x="16650" y="11414"/>
                </a:lnTo>
                <a:cubicBezTo>
                  <a:pt x="17102" y="11933"/>
                  <a:pt x="17471" y="12360"/>
                  <a:pt x="17468" y="12360"/>
                </a:cubicBezTo>
                <a:cubicBezTo>
                  <a:pt x="17468" y="12363"/>
                  <a:pt x="15501" y="10860"/>
                  <a:pt x="15498" y="10854"/>
                </a:cubicBezTo>
                <a:cubicBezTo>
                  <a:pt x="15496" y="10852"/>
                  <a:pt x="15543" y="10793"/>
                  <a:pt x="15657" y="10657"/>
                </a:cubicBezTo>
                <a:cubicBezTo>
                  <a:pt x="15745" y="10555"/>
                  <a:pt x="15820" y="10469"/>
                  <a:pt x="15823" y="10469"/>
                </a:cubicBezTo>
                <a:cubicBezTo>
                  <a:pt x="15826" y="10469"/>
                  <a:pt x="16197" y="10896"/>
                  <a:pt x="16650" y="11414"/>
                </a:cubicBezTo>
                <a:close/>
                <a:moveTo>
                  <a:pt x="12861" y="10505"/>
                </a:moveTo>
                <a:lnTo>
                  <a:pt x="12861" y="10505"/>
                </a:lnTo>
                <a:cubicBezTo>
                  <a:pt x="12866" y="10535"/>
                  <a:pt x="12933" y="11154"/>
                  <a:pt x="12930" y="11154"/>
                </a:cubicBezTo>
                <a:cubicBezTo>
                  <a:pt x="12930" y="11157"/>
                  <a:pt x="12927" y="11154"/>
                  <a:pt x="12924" y="11154"/>
                </a:cubicBezTo>
                <a:cubicBezTo>
                  <a:pt x="12922" y="11151"/>
                  <a:pt x="12786" y="11048"/>
                  <a:pt x="12622" y="10924"/>
                </a:cubicBezTo>
                <a:cubicBezTo>
                  <a:pt x="12458" y="10802"/>
                  <a:pt x="12323" y="10699"/>
                  <a:pt x="12325" y="10699"/>
                </a:cubicBezTo>
                <a:cubicBezTo>
                  <a:pt x="12328" y="10696"/>
                  <a:pt x="12850" y="10494"/>
                  <a:pt x="12855" y="10494"/>
                </a:cubicBezTo>
                <a:cubicBezTo>
                  <a:pt x="12858" y="10494"/>
                  <a:pt x="12861" y="10499"/>
                  <a:pt x="12861" y="10505"/>
                </a:cubicBezTo>
                <a:close/>
                <a:moveTo>
                  <a:pt x="16012" y="10533"/>
                </a:moveTo>
                <a:lnTo>
                  <a:pt x="16012" y="10533"/>
                </a:lnTo>
                <a:cubicBezTo>
                  <a:pt x="16039" y="10546"/>
                  <a:pt x="16608" y="10779"/>
                  <a:pt x="17274" y="11054"/>
                </a:cubicBezTo>
                <a:cubicBezTo>
                  <a:pt x="17939" y="11329"/>
                  <a:pt x="18483" y="11553"/>
                  <a:pt x="18486" y="11553"/>
                </a:cubicBezTo>
                <a:cubicBezTo>
                  <a:pt x="18489" y="11559"/>
                  <a:pt x="18039" y="12088"/>
                  <a:pt x="18034" y="12088"/>
                </a:cubicBezTo>
                <a:cubicBezTo>
                  <a:pt x="18028" y="12086"/>
                  <a:pt x="15967" y="10527"/>
                  <a:pt x="15959" y="10516"/>
                </a:cubicBezTo>
                <a:cubicBezTo>
                  <a:pt x="15951" y="10508"/>
                  <a:pt x="15956" y="10510"/>
                  <a:pt x="16012" y="10533"/>
                </a:cubicBezTo>
                <a:close/>
                <a:moveTo>
                  <a:pt x="11901" y="10552"/>
                </a:moveTo>
                <a:lnTo>
                  <a:pt x="11901" y="10552"/>
                </a:lnTo>
                <a:cubicBezTo>
                  <a:pt x="11901" y="10555"/>
                  <a:pt x="11893" y="10571"/>
                  <a:pt x="11884" y="10591"/>
                </a:cubicBezTo>
                <a:cubicBezTo>
                  <a:pt x="11870" y="10630"/>
                  <a:pt x="11870" y="10630"/>
                  <a:pt x="11870" y="10630"/>
                </a:cubicBezTo>
                <a:cubicBezTo>
                  <a:pt x="11857" y="10627"/>
                  <a:pt x="11857" y="10627"/>
                  <a:pt x="11857" y="10627"/>
                </a:cubicBezTo>
                <a:cubicBezTo>
                  <a:pt x="11740" y="10619"/>
                  <a:pt x="11000" y="10560"/>
                  <a:pt x="11000" y="10557"/>
                </a:cubicBezTo>
                <a:cubicBezTo>
                  <a:pt x="11000" y="10557"/>
                  <a:pt x="11024" y="10555"/>
                  <a:pt x="11058" y="10555"/>
                </a:cubicBezTo>
                <a:cubicBezTo>
                  <a:pt x="11088" y="10555"/>
                  <a:pt x="11216" y="10555"/>
                  <a:pt x="11338" y="10552"/>
                </a:cubicBezTo>
                <a:cubicBezTo>
                  <a:pt x="11693" y="10549"/>
                  <a:pt x="11901" y="10549"/>
                  <a:pt x="11901" y="10552"/>
                </a:cubicBezTo>
                <a:close/>
                <a:moveTo>
                  <a:pt x="3564" y="10569"/>
                </a:moveTo>
                <a:lnTo>
                  <a:pt x="3564" y="10569"/>
                </a:lnTo>
                <a:cubicBezTo>
                  <a:pt x="3584" y="10577"/>
                  <a:pt x="3600" y="10585"/>
                  <a:pt x="3600" y="10585"/>
                </a:cubicBezTo>
                <a:cubicBezTo>
                  <a:pt x="3600" y="10588"/>
                  <a:pt x="3506" y="10619"/>
                  <a:pt x="3498" y="10619"/>
                </a:cubicBezTo>
                <a:cubicBezTo>
                  <a:pt x="3495" y="10619"/>
                  <a:pt x="3525" y="10552"/>
                  <a:pt x="3528" y="10552"/>
                </a:cubicBezTo>
                <a:cubicBezTo>
                  <a:pt x="3531" y="10552"/>
                  <a:pt x="3548" y="10560"/>
                  <a:pt x="3564" y="10569"/>
                </a:cubicBezTo>
                <a:close/>
                <a:moveTo>
                  <a:pt x="12084" y="10602"/>
                </a:moveTo>
                <a:lnTo>
                  <a:pt x="12084" y="10602"/>
                </a:lnTo>
                <a:cubicBezTo>
                  <a:pt x="12156" y="10627"/>
                  <a:pt x="12214" y="10649"/>
                  <a:pt x="12214" y="10649"/>
                </a:cubicBezTo>
                <a:cubicBezTo>
                  <a:pt x="12214" y="10649"/>
                  <a:pt x="12148" y="10663"/>
                  <a:pt x="12062" y="10680"/>
                </a:cubicBezTo>
                <a:cubicBezTo>
                  <a:pt x="11979" y="10696"/>
                  <a:pt x="11907" y="10710"/>
                  <a:pt x="11901" y="10710"/>
                </a:cubicBezTo>
                <a:cubicBezTo>
                  <a:pt x="11898" y="10713"/>
                  <a:pt x="11893" y="10710"/>
                  <a:pt x="11893" y="10707"/>
                </a:cubicBezTo>
                <a:cubicBezTo>
                  <a:pt x="11893" y="10696"/>
                  <a:pt x="11943" y="10552"/>
                  <a:pt x="11948" y="10555"/>
                </a:cubicBezTo>
                <a:cubicBezTo>
                  <a:pt x="11948" y="10555"/>
                  <a:pt x="12012" y="10577"/>
                  <a:pt x="12084" y="10602"/>
                </a:cubicBezTo>
                <a:close/>
                <a:moveTo>
                  <a:pt x="13041" y="10807"/>
                </a:moveTo>
                <a:lnTo>
                  <a:pt x="13041" y="10807"/>
                </a:lnTo>
                <a:cubicBezTo>
                  <a:pt x="13113" y="10935"/>
                  <a:pt x="13171" y="11043"/>
                  <a:pt x="13171" y="11046"/>
                </a:cubicBezTo>
                <a:cubicBezTo>
                  <a:pt x="13169" y="11051"/>
                  <a:pt x="12974" y="11168"/>
                  <a:pt x="12972" y="11165"/>
                </a:cubicBezTo>
                <a:cubicBezTo>
                  <a:pt x="12969" y="11162"/>
                  <a:pt x="12902" y="10574"/>
                  <a:pt x="12905" y="10563"/>
                </a:cubicBezTo>
                <a:cubicBezTo>
                  <a:pt x="12905" y="10557"/>
                  <a:pt x="12905" y="10557"/>
                  <a:pt x="12905" y="10557"/>
                </a:cubicBezTo>
                <a:cubicBezTo>
                  <a:pt x="12908" y="10563"/>
                  <a:pt x="12908" y="10563"/>
                  <a:pt x="12908" y="10563"/>
                </a:cubicBezTo>
                <a:cubicBezTo>
                  <a:pt x="12911" y="10566"/>
                  <a:pt x="12969" y="10677"/>
                  <a:pt x="13041" y="10807"/>
                </a:cubicBezTo>
                <a:close/>
                <a:moveTo>
                  <a:pt x="16985" y="11342"/>
                </a:moveTo>
                <a:lnTo>
                  <a:pt x="16985" y="11342"/>
                </a:lnTo>
                <a:cubicBezTo>
                  <a:pt x="17545" y="11767"/>
                  <a:pt x="18006" y="12116"/>
                  <a:pt x="18006" y="12116"/>
                </a:cubicBezTo>
                <a:cubicBezTo>
                  <a:pt x="18006" y="12119"/>
                  <a:pt x="17615" y="12466"/>
                  <a:pt x="17612" y="12466"/>
                </a:cubicBezTo>
                <a:cubicBezTo>
                  <a:pt x="17609" y="12466"/>
                  <a:pt x="15987" y="10599"/>
                  <a:pt x="15964" y="10571"/>
                </a:cubicBezTo>
                <a:cubicBezTo>
                  <a:pt x="15959" y="10566"/>
                  <a:pt x="15959" y="10563"/>
                  <a:pt x="15962" y="10566"/>
                </a:cubicBezTo>
                <a:cubicBezTo>
                  <a:pt x="15964" y="10569"/>
                  <a:pt x="16425" y="10915"/>
                  <a:pt x="16985" y="11342"/>
                </a:cubicBezTo>
                <a:close/>
                <a:moveTo>
                  <a:pt x="3661" y="10660"/>
                </a:moveTo>
                <a:lnTo>
                  <a:pt x="3661" y="10660"/>
                </a:lnTo>
                <a:cubicBezTo>
                  <a:pt x="3670" y="10682"/>
                  <a:pt x="3678" y="10702"/>
                  <a:pt x="3675" y="10702"/>
                </a:cubicBezTo>
                <a:cubicBezTo>
                  <a:pt x="3675" y="10704"/>
                  <a:pt x="3536" y="10660"/>
                  <a:pt x="3525" y="10652"/>
                </a:cubicBezTo>
                <a:cubicBezTo>
                  <a:pt x="3523" y="10649"/>
                  <a:pt x="3525" y="10649"/>
                  <a:pt x="3536" y="10646"/>
                </a:cubicBezTo>
                <a:cubicBezTo>
                  <a:pt x="3542" y="10643"/>
                  <a:pt x="3570" y="10635"/>
                  <a:pt x="3595" y="10627"/>
                </a:cubicBezTo>
                <a:cubicBezTo>
                  <a:pt x="3620" y="10619"/>
                  <a:pt x="3639" y="10613"/>
                  <a:pt x="3642" y="10616"/>
                </a:cubicBezTo>
                <a:cubicBezTo>
                  <a:pt x="3642" y="10616"/>
                  <a:pt x="3650" y="10635"/>
                  <a:pt x="3661" y="10660"/>
                </a:cubicBezTo>
                <a:close/>
                <a:moveTo>
                  <a:pt x="3842" y="10685"/>
                </a:moveTo>
                <a:lnTo>
                  <a:pt x="3842" y="10685"/>
                </a:lnTo>
                <a:cubicBezTo>
                  <a:pt x="3941" y="10727"/>
                  <a:pt x="3969" y="10741"/>
                  <a:pt x="3961" y="10741"/>
                </a:cubicBezTo>
                <a:cubicBezTo>
                  <a:pt x="3955" y="10741"/>
                  <a:pt x="3900" y="10738"/>
                  <a:pt x="3836" y="10732"/>
                </a:cubicBezTo>
                <a:cubicBezTo>
                  <a:pt x="3725" y="10721"/>
                  <a:pt x="3725" y="10721"/>
                  <a:pt x="3725" y="10721"/>
                </a:cubicBezTo>
                <a:cubicBezTo>
                  <a:pt x="3706" y="10674"/>
                  <a:pt x="3706" y="10674"/>
                  <a:pt x="3706" y="10674"/>
                </a:cubicBezTo>
                <a:cubicBezTo>
                  <a:pt x="3695" y="10646"/>
                  <a:pt x="3683" y="10624"/>
                  <a:pt x="3683" y="10624"/>
                </a:cubicBezTo>
                <a:cubicBezTo>
                  <a:pt x="3683" y="10624"/>
                  <a:pt x="3689" y="10624"/>
                  <a:pt x="3697" y="10627"/>
                </a:cubicBezTo>
                <a:cubicBezTo>
                  <a:pt x="3703" y="10630"/>
                  <a:pt x="3769" y="10657"/>
                  <a:pt x="3842" y="10685"/>
                </a:cubicBezTo>
                <a:close/>
                <a:moveTo>
                  <a:pt x="15601" y="11670"/>
                </a:moveTo>
                <a:lnTo>
                  <a:pt x="15601" y="11670"/>
                </a:lnTo>
                <a:cubicBezTo>
                  <a:pt x="16752" y="12568"/>
                  <a:pt x="16921" y="12701"/>
                  <a:pt x="16907" y="12693"/>
                </a:cubicBezTo>
                <a:cubicBezTo>
                  <a:pt x="16896" y="12688"/>
                  <a:pt x="13757" y="10901"/>
                  <a:pt x="13754" y="10901"/>
                </a:cubicBezTo>
                <a:lnTo>
                  <a:pt x="13754" y="10899"/>
                </a:lnTo>
                <a:cubicBezTo>
                  <a:pt x="13757" y="10896"/>
                  <a:pt x="14297" y="10660"/>
                  <a:pt x="14303" y="10660"/>
                </a:cubicBezTo>
                <a:cubicBezTo>
                  <a:pt x="14303" y="10660"/>
                  <a:pt x="14888" y="11115"/>
                  <a:pt x="15601" y="11670"/>
                </a:cubicBezTo>
                <a:close/>
                <a:moveTo>
                  <a:pt x="11857" y="10677"/>
                </a:moveTo>
                <a:lnTo>
                  <a:pt x="11857" y="10677"/>
                </a:lnTo>
                <a:cubicBezTo>
                  <a:pt x="11857" y="10682"/>
                  <a:pt x="11854" y="10696"/>
                  <a:pt x="11854" y="10707"/>
                </a:cubicBezTo>
                <a:cubicBezTo>
                  <a:pt x="11851" y="10718"/>
                  <a:pt x="11848" y="10732"/>
                  <a:pt x="11848" y="10738"/>
                </a:cubicBezTo>
                <a:cubicBezTo>
                  <a:pt x="11848" y="10746"/>
                  <a:pt x="11848" y="10746"/>
                  <a:pt x="11848" y="10746"/>
                </a:cubicBezTo>
                <a:cubicBezTo>
                  <a:pt x="11504" y="10743"/>
                  <a:pt x="11504" y="10743"/>
                  <a:pt x="11504" y="10743"/>
                </a:cubicBezTo>
                <a:cubicBezTo>
                  <a:pt x="11316" y="10743"/>
                  <a:pt x="10983" y="10741"/>
                  <a:pt x="10767" y="10738"/>
                </a:cubicBezTo>
                <a:cubicBezTo>
                  <a:pt x="10550" y="10738"/>
                  <a:pt x="10378" y="10735"/>
                  <a:pt x="10387" y="10732"/>
                </a:cubicBezTo>
                <a:cubicBezTo>
                  <a:pt x="10400" y="10729"/>
                  <a:pt x="11760" y="10668"/>
                  <a:pt x="11826" y="10668"/>
                </a:cubicBezTo>
                <a:cubicBezTo>
                  <a:pt x="11857" y="10668"/>
                  <a:pt x="11857" y="10668"/>
                  <a:pt x="11857" y="10668"/>
                </a:cubicBezTo>
                <a:cubicBezTo>
                  <a:pt x="11857" y="10677"/>
                  <a:pt x="11857" y="10677"/>
                  <a:pt x="11857" y="10677"/>
                </a:cubicBezTo>
                <a:close/>
                <a:moveTo>
                  <a:pt x="12267" y="10724"/>
                </a:moveTo>
                <a:lnTo>
                  <a:pt x="12267" y="10724"/>
                </a:lnTo>
                <a:cubicBezTo>
                  <a:pt x="12267" y="10729"/>
                  <a:pt x="12275" y="10899"/>
                  <a:pt x="12281" y="11104"/>
                </a:cubicBezTo>
                <a:cubicBezTo>
                  <a:pt x="12289" y="11309"/>
                  <a:pt x="12295" y="11476"/>
                  <a:pt x="12295" y="11476"/>
                </a:cubicBezTo>
                <a:cubicBezTo>
                  <a:pt x="12295" y="11478"/>
                  <a:pt x="12292" y="11478"/>
                  <a:pt x="12292" y="11476"/>
                </a:cubicBezTo>
                <a:cubicBezTo>
                  <a:pt x="12287" y="11470"/>
                  <a:pt x="11893" y="10777"/>
                  <a:pt x="11895" y="10777"/>
                </a:cubicBezTo>
                <a:cubicBezTo>
                  <a:pt x="11895" y="10774"/>
                  <a:pt x="12248" y="10716"/>
                  <a:pt x="12259" y="10716"/>
                </a:cubicBezTo>
                <a:cubicBezTo>
                  <a:pt x="12264" y="10716"/>
                  <a:pt x="12267" y="10718"/>
                  <a:pt x="12267" y="10724"/>
                </a:cubicBezTo>
                <a:close/>
                <a:moveTo>
                  <a:pt x="12617" y="10965"/>
                </a:moveTo>
                <a:lnTo>
                  <a:pt x="12617" y="10965"/>
                </a:lnTo>
                <a:cubicBezTo>
                  <a:pt x="12783" y="11090"/>
                  <a:pt x="12922" y="11195"/>
                  <a:pt x="12922" y="11195"/>
                </a:cubicBezTo>
                <a:cubicBezTo>
                  <a:pt x="12922" y="11198"/>
                  <a:pt x="12336" y="11525"/>
                  <a:pt x="12334" y="11523"/>
                </a:cubicBezTo>
                <a:cubicBezTo>
                  <a:pt x="12334" y="11523"/>
                  <a:pt x="12306" y="10790"/>
                  <a:pt x="12303" y="10752"/>
                </a:cubicBezTo>
                <a:cubicBezTo>
                  <a:pt x="12303" y="10741"/>
                  <a:pt x="12306" y="10732"/>
                  <a:pt x="12309" y="10735"/>
                </a:cubicBezTo>
                <a:cubicBezTo>
                  <a:pt x="12309" y="10735"/>
                  <a:pt x="12447" y="10838"/>
                  <a:pt x="12617" y="10965"/>
                </a:cubicBezTo>
                <a:close/>
                <a:moveTo>
                  <a:pt x="3972" y="10777"/>
                </a:moveTo>
                <a:lnTo>
                  <a:pt x="3972" y="10777"/>
                </a:lnTo>
                <a:cubicBezTo>
                  <a:pt x="4066" y="10785"/>
                  <a:pt x="4094" y="10790"/>
                  <a:pt x="4102" y="10796"/>
                </a:cubicBezTo>
                <a:cubicBezTo>
                  <a:pt x="4127" y="10813"/>
                  <a:pt x="4430" y="11015"/>
                  <a:pt x="4432" y="11018"/>
                </a:cubicBezTo>
                <a:cubicBezTo>
                  <a:pt x="4438" y="11023"/>
                  <a:pt x="4424" y="11018"/>
                  <a:pt x="4374" y="10996"/>
                </a:cubicBezTo>
                <a:cubicBezTo>
                  <a:pt x="4349" y="10982"/>
                  <a:pt x="4222" y="10929"/>
                  <a:pt x="4088" y="10874"/>
                </a:cubicBezTo>
                <a:cubicBezTo>
                  <a:pt x="3955" y="10818"/>
                  <a:pt x="3844" y="10771"/>
                  <a:pt x="3839" y="10771"/>
                </a:cubicBezTo>
                <a:cubicBezTo>
                  <a:pt x="3831" y="10766"/>
                  <a:pt x="3842" y="10766"/>
                  <a:pt x="3972" y="10777"/>
                </a:cubicBezTo>
                <a:close/>
                <a:moveTo>
                  <a:pt x="11790" y="10785"/>
                </a:moveTo>
                <a:lnTo>
                  <a:pt x="11790" y="10785"/>
                </a:lnTo>
                <a:cubicBezTo>
                  <a:pt x="11785" y="10788"/>
                  <a:pt x="9322" y="12152"/>
                  <a:pt x="9322" y="12152"/>
                </a:cubicBezTo>
                <a:cubicBezTo>
                  <a:pt x="9320" y="12150"/>
                  <a:pt x="9439" y="11842"/>
                  <a:pt x="9588" y="11467"/>
                </a:cubicBezTo>
                <a:cubicBezTo>
                  <a:pt x="9854" y="10782"/>
                  <a:pt x="9854" y="10782"/>
                  <a:pt x="9854" y="10782"/>
                </a:cubicBezTo>
                <a:cubicBezTo>
                  <a:pt x="10822" y="10782"/>
                  <a:pt x="10822" y="10782"/>
                  <a:pt x="10822" y="10782"/>
                </a:cubicBezTo>
                <a:cubicBezTo>
                  <a:pt x="11355" y="10782"/>
                  <a:pt x="11790" y="10782"/>
                  <a:pt x="11790" y="10785"/>
                </a:cubicBezTo>
                <a:close/>
                <a:moveTo>
                  <a:pt x="11848" y="11259"/>
                </a:moveTo>
                <a:lnTo>
                  <a:pt x="11848" y="11259"/>
                </a:lnTo>
                <a:cubicBezTo>
                  <a:pt x="11848" y="11514"/>
                  <a:pt x="11848" y="11722"/>
                  <a:pt x="11848" y="11722"/>
                </a:cubicBezTo>
                <a:cubicBezTo>
                  <a:pt x="11846" y="11725"/>
                  <a:pt x="9397" y="12158"/>
                  <a:pt x="9395" y="12158"/>
                </a:cubicBezTo>
                <a:cubicBezTo>
                  <a:pt x="9392" y="12155"/>
                  <a:pt x="11837" y="10796"/>
                  <a:pt x="11843" y="10796"/>
                </a:cubicBezTo>
                <a:cubicBezTo>
                  <a:pt x="11843" y="10796"/>
                  <a:pt x="11846" y="11004"/>
                  <a:pt x="11848" y="11259"/>
                </a:cubicBezTo>
                <a:close/>
                <a:moveTo>
                  <a:pt x="14788" y="10946"/>
                </a:moveTo>
                <a:lnTo>
                  <a:pt x="14788" y="10946"/>
                </a:lnTo>
                <a:cubicBezTo>
                  <a:pt x="15005" y="11073"/>
                  <a:pt x="15005" y="11073"/>
                  <a:pt x="15005" y="11073"/>
                </a:cubicBezTo>
                <a:cubicBezTo>
                  <a:pt x="15659" y="11625"/>
                  <a:pt x="15659" y="11625"/>
                  <a:pt x="15659" y="11625"/>
                </a:cubicBezTo>
                <a:cubicBezTo>
                  <a:pt x="16020" y="11928"/>
                  <a:pt x="16319" y="12180"/>
                  <a:pt x="16325" y="12186"/>
                </a:cubicBezTo>
                <a:cubicBezTo>
                  <a:pt x="16333" y="12197"/>
                  <a:pt x="16333" y="12197"/>
                  <a:pt x="16333" y="12197"/>
                </a:cubicBezTo>
                <a:cubicBezTo>
                  <a:pt x="16319" y="12186"/>
                  <a:pt x="16319" y="12186"/>
                  <a:pt x="16319" y="12186"/>
                </a:cubicBezTo>
                <a:cubicBezTo>
                  <a:pt x="16272" y="12150"/>
                  <a:pt x="14569" y="10821"/>
                  <a:pt x="14561" y="10815"/>
                </a:cubicBezTo>
                <a:cubicBezTo>
                  <a:pt x="14555" y="10807"/>
                  <a:pt x="14555" y="10807"/>
                  <a:pt x="14555" y="10807"/>
                </a:cubicBezTo>
                <a:cubicBezTo>
                  <a:pt x="14564" y="10813"/>
                  <a:pt x="14564" y="10813"/>
                  <a:pt x="14564" y="10813"/>
                </a:cubicBezTo>
                <a:cubicBezTo>
                  <a:pt x="14569" y="10815"/>
                  <a:pt x="14672" y="10874"/>
                  <a:pt x="14788" y="10946"/>
                </a:cubicBezTo>
                <a:close/>
                <a:moveTo>
                  <a:pt x="12090" y="11193"/>
                </a:moveTo>
                <a:lnTo>
                  <a:pt x="12090" y="11193"/>
                </a:lnTo>
                <a:cubicBezTo>
                  <a:pt x="12245" y="11467"/>
                  <a:pt x="12289" y="11545"/>
                  <a:pt x="12287" y="11548"/>
                </a:cubicBezTo>
                <a:cubicBezTo>
                  <a:pt x="12275" y="11556"/>
                  <a:pt x="11887" y="11714"/>
                  <a:pt x="11887" y="11711"/>
                </a:cubicBezTo>
                <a:cubicBezTo>
                  <a:pt x="11884" y="11711"/>
                  <a:pt x="11882" y="11514"/>
                  <a:pt x="11882" y="11273"/>
                </a:cubicBezTo>
                <a:cubicBezTo>
                  <a:pt x="11882" y="11015"/>
                  <a:pt x="11884" y="10838"/>
                  <a:pt x="11887" y="10840"/>
                </a:cubicBezTo>
                <a:cubicBezTo>
                  <a:pt x="11887" y="10840"/>
                  <a:pt x="11979" y="11001"/>
                  <a:pt x="12090" y="11193"/>
                </a:cubicBezTo>
                <a:close/>
                <a:moveTo>
                  <a:pt x="16303" y="11609"/>
                </a:moveTo>
                <a:lnTo>
                  <a:pt x="16303" y="11609"/>
                </a:lnTo>
                <a:cubicBezTo>
                  <a:pt x="16761" y="12008"/>
                  <a:pt x="17135" y="12338"/>
                  <a:pt x="17138" y="12341"/>
                </a:cubicBezTo>
                <a:cubicBezTo>
                  <a:pt x="17138" y="12341"/>
                  <a:pt x="17132" y="12338"/>
                  <a:pt x="17121" y="12330"/>
                </a:cubicBezTo>
                <a:cubicBezTo>
                  <a:pt x="17110" y="12324"/>
                  <a:pt x="16708" y="12030"/>
                  <a:pt x="16222" y="11681"/>
                </a:cubicBezTo>
                <a:cubicBezTo>
                  <a:pt x="15740" y="11331"/>
                  <a:pt x="15343" y="11040"/>
                  <a:pt x="15343" y="11037"/>
                </a:cubicBezTo>
                <a:cubicBezTo>
                  <a:pt x="15343" y="11032"/>
                  <a:pt x="15468" y="10882"/>
                  <a:pt x="15471" y="10882"/>
                </a:cubicBezTo>
                <a:cubicBezTo>
                  <a:pt x="15471" y="10882"/>
                  <a:pt x="15848" y="11209"/>
                  <a:pt x="16303" y="11609"/>
                </a:cubicBezTo>
                <a:close/>
                <a:moveTo>
                  <a:pt x="4457" y="10954"/>
                </a:moveTo>
                <a:lnTo>
                  <a:pt x="4457" y="10954"/>
                </a:lnTo>
                <a:cubicBezTo>
                  <a:pt x="4541" y="10993"/>
                  <a:pt x="4610" y="11023"/>
                  <a:pt x="4613" y="11026"/>
                </a:cubicBezTo>
                <a:cubicBezTo>
                  <a:pt x="4615" y="11032"/>
                  <a:pt x="4615" y="11043"/>
                  <a:pt x="4615" y="11065"/>
                </a:cubicBezTo>
                <a:cubicBezTo>
                  <a:pt x="4615" y="11098"/>
                  <a:pt x="4615" y="11098"/>
                  <a:pt x="4615" y="11098"/>
                </a:cubicBezTo>
                <a:cubicBezTo>
                  <a:pt x="4477" y="11004"/>
                  <a:pt x="4477" y="11004"/>
                  <a:pt x="4477" y="11004"/>
                </a:cubicBezTo>
                <a:cubicBezTo>
                  <a:pt x="4310" y="10893"/>
                  <a:pt x="4299" y="10885"/>
                  <a:pt x="4305" y="10885"/>
                </a:cubicBezTo>
                <a:cubicBezTo>
                  <a:pt x="4305" y="10885"/>
                  <a:pt x="4374" y="10915"/>
                  <a:pt x="4457" y="10954"/>
                </a:cubicBezTo>
                <a:close/>
                <a:moveTo>
                  <a:pt x="14198" y="11370"/>
                </a:moveTo>
                <a:lnTo>
                  <a:pt x="14198" y="11370"/>
                </a:lnTo>
                <a:cubicBezTo>
                  <a:pt x="14467" y="11617"/>
                  <a:pt x="14697" y="11828"/>
                  <a:pt x="14705" y="11836"/>
                </a:cubicBezTo>
                <a:cubicBezTo>
                  <a:pt x="14752" y="11880"/>
                  <a:pt x="14669" y="11808"/>
                  <a:pt x="14187" y="11378"/>
                </a:cubicBezTo>
                <a:cubicBezTo>
                  <a:pt x="13676" y="10929"/>
                  <a:pt x="13676" y="10929"/>
                  <a:pt x="13676" y="10929"/>
                </a:cubicBezTo>
                <a:cubicBezTo>
                  <a:pt x="13687" y="10924"/>
                  <a:pt x="13687" y="10924"/>
                  <a:pt x="13687" y="10924"/>
                </a:cubicBezTo>
                <a:cubicBezTo>
                  <a:pt x="13693" y="10921"/>
                  <a:pt x="13698" y="10918"/>
                  <a:pt x="13704" y="10921"/>
                </a:cubicBezTo>
                <a:cubicBezTo>
                  <a:pt x="13707" y="10921"/>
                  <a:pt x="13929" y="11123"/>
                  <a:pt x="14198" y="11370"/>
                </a:cubicBezTo>
                <a:close/>
                <a:moveTo>
                  <a:pt x="14164" y="11686"/>
                </a:moveTo>
                <a:lnTo>
                  <a:pt x="14164" y="11686"/>
                </a:lnTo>
                <a:cubicBezTo>
                  <a:pt x="14933" y="12541"/>
                  <a:pt x="14910" y="12513"/>
                  <a:pt x="14897" y="12502"/>
                </a:cubicBezTo>
                <a:cubicBezTo>
                  <a:pt x="14885" y="12493"/>
                  <a:pt x="13415" y="10957"/>
                  <a:pt x="13415" y="10951"/>
                </a:cubicBezTo>
                <a:cubicBezTo>
                  <a:pt x="13413" y="10949"/>
                  <a:pt x="13465" y="10924"/>
                  <a:pt x="13474" y="10924"/>
                </a:cubicBezTo>
                <a:cubicBezTo>
                  <a:pt x="13476" y="10924"/>
                  <a:pt x="13787" y="11267"/>
                  <a:pt x="14164" y="11686"/>
                </a:cubicBezTo>
                <a:close/>
                <a:moveTo>
                  <a:pt x="13590" y="10929"/>
                </a:moveTo>
                <a:lnTo>
                  <a:pt x="13590" y="10929"/>
                </a:lnTo>
                <a:cubicBezTo>
                  <a:pt x="13629" y="10935"/>
                  <a:pt x="13629" y="10935"/>
                  <a:pt x="13629" y="10935"/>
                </a:cubicBezTo>
                <a:cubicBezTo>
                  <a:pt x="13676" y="10979"/>
                  <a:pt x="13676" y="10979"/>
                  <a:pt x="13676" y="10979"/>
                </a:cubicBezTo>
                <a:cubicBezTo>
                  <a:pt x="13701" y="11004"/>
                  <a:pt x="14034" y="11323"/>
                  <a:pt x="14414" y="11692"/>
                </a:cubicBezTo>
                <a:cubicBezTo>
                  <a:pt x="14797" y="12058"/>
                  <a:pt x="15107" y="12357"/>
                  <a:pt x="15107" y="12360"/>
                </a:cubicBezTo>
                <a:cubicBezTo>
                  <a:pt x="15107" y="12360"/>
                  <a:pt x="15102" y="12355"/>
                  <a:pt x="15091" y="12346"/>
                </a:cubicBezTo>
                <a:cubicBezTo>
                  <a:pt x="15082" y="12338"/>
                  <a:pt x="14730" y="12016"/>
                  <a:pt x="14306" y="11628"/>
                </a:cubicBezTo>
                <a:cubicBezTo>
                  <a:pt x="13881" y="11243"/>
                  <a:pt x="13535" y="10924"/>
                  <a:pt x="13535" y="10924"/>
                </a:cubicBezTo>
                <a:cubicBezTo>
                  <a:pt x="13535" y="10924"/>
                  <a:pt x="13540" y="10924"/>
                  <a:pt x="13543" y="10924"/>
                </a:cubicBezTo>
                <a:cubicBezTo>
                  <a:pt x="13549" y="10924"/>
                  <a:pt x="13571" y="10926"/>
                  <a:pt x="13590" y="10929"/>
                </a:cubicBezTo>
                <a:close/>
                <a:moveTo>
                  <a:pt x="14345" y="11978"/>
                </a:moveTo>
                <a:lnTo>
                  <a:pt x="14345" y="11978"/>
                </a:lnTo>
                <a:cubicBezTo>
                  <a:pt x="14872" y="12529"/>
                  <a:pt x="15307" y="12984"/>
                  <a:pt x="15307" y="12987"/>
                </a:cubicBezTo>
                <a:cubicBezTo>
                  <a:pt x="15307" y="12990"/>
                  <a:pt x="15302" y="12984"/>
                  <a:pt x="15290" y="12973"/>
                </a:cubicBezTo>
                <a:cubicBezTo>
                  <a:pt x="15279" y="12965"/>
                  <a:pt x="14813" y="12529"/>
                  <a:pt x="14250" y="12008"/>
                </a:cubicBezTo>
                <a:cubicBezTo>
                  <a:pt x="13690" y="11487"/>
                  <a:pt x="13230" y="11057"/>
                  <a:pt x="13230" y="11057"/>
                </a:cubicBezTo>
                <a:cubicBezTo>
                  <a:pt x="13230" y="11051"/>
                  <a:pt x="13374" y="10971"/>
                  <a:pt x="13379" y="10971"/>
                </a:cubicBezTo>
                <a:cubicBezTo>
                  <a:pt x="13382" y="10971"/>
                  <a:pt x="13815" y="11426"/>
                  <a:pt x="14345" y="11978"/>
                </a:cubicBezTo>
                <a:close/>
                <a:moveTo>
                  <a:pt x="4929" y="11193"/>
                </a:moveTo>
                <a:lnTo>
                  <a:pt x="4929" y="11193"/>
                </a:lnTo>
                <a:cubicBezTo>
                  <a:pt x="5079" y="11270"/>
                  <a:pt x="5201" y="11334"/>
                  <a:pt x="5198" y="11337"/>
                </a:cubicBezTo>
                <a:cubicBezTo>
                  <a:pt x="5198" y="11337"/>
                  <a:pt x="4660" y="11126"/>
                  <a:pt x="4657" y="11123"/>
                </a:cubicBezTo>
                <a:cubicBezTo>
                  <a:pt x="4652" y="11118"/>
                  <a:pt x="4652" y="11048"/>
                  <a:pt x="4654" y="11048"/>
                </a:cubicBezTo>
                <a:cubicBezTo>
                  <a:pt x="4657" y="11048"/>
                  <a:pt x="4779" y="11112"/>
                  <a:pt x="4929" y="11193"/>
                </a:cubicBezTo>
                <a:close/>
                <a:moveTo>
                  <a:pt x="15401" y="12025"/>
                </a:moveTo>
                <a:lnTo>
                  <a:pt x="15401" y="12025"/>
                </a:lnTo>
                <a:cubicBezTo>
                  <a:pt x="16203" y="12549"/>
                  <a:pt x="16860" y="12982"/>
                  <a:pt x="16863" y="12982"/>
                </a:cubicBezTo>
                <a:cubicBezTo>
                  <a:pt x="16866" y="12984"/>
                  <a:pt x="16403" y="13251"/>
                  <a:pt x="16397" y="13248"/>
                </a:cubicBezTo>
                <a:cubicBezTo>
                  <a:pt x="16392" y="13245"/>
                  <a:pt x="13959" y="11096"/>
                  <a:pt x="13937" y="11073"/>
                </a:cubicBezTo>
                <a:cubicBezTo>
                  <a:pt x="13923" y="11057"/>
                  <a:pt x="13923" y="11057"/>
                  <a:pt x="13923" y="11057"/>
                </a:cubicBezTo>
                <a:cubicBezTo>
                  <a:pt x="13934" y="11065"/>
                  <a:pt x="13934" y="11065"/>
                  <a:pt x="13934" y="11065"/>
                </a:cubicBezTo>
                <a:cubicBezTo>
                  <a:pt x="13940" y="11068"/>
                  <a:pt x="14600" y="11500"/>
                  <a:pt x="15401" y="12025"/>
                </a:cubicBezTo>
                <a:close/>
                <a:moveTo>
                  <a:pt x="15851" y="11473"/>
                </a:moveTo>
                <a:lnTo>
                  <a:pt x="15851" y="11473"/>
                </a:lnTo>
                <a:cubicBezTo>
                  <a:pt x="16430" y="11911"/>
                  <a:pt x="16455" y="11930"/>
                  <a:pt x="16333" y="11844"/>
                </a:cubicBezTo>
                <a:cubicBezTo>
                  <a:pt x="16175" y="11733"/>
                  <a:pt x="15299" y="11109"/>
                  <a:pt x="15293" y="11107"/>
                </a:cubicBezTo>
                <a:cubicBezTo>
                  <a:pt x="15288" y="11101"/>
                  <a:pt x="15288" y="11101"/>
                  <a:pt x="15288" y="11101"/>
                </a:cubicBezTo>
                <a:cubicBezTo>
                  <a:pt x="15302" y="11084"/>
                  <a:pt x="15302" y="11084"/>
                  <a:pt x="15302" y="11084"/>
                </a:cubicBezTo>
                <a:cubicBezTo>
                  <a:pt x="15307" y="11076"/>
                  <a:pt x="15313" y="11071"/>
                  <a:pt x="15315" y="11071"/>
                </a:cubicBezTo>
                <a:cubicBezTo>
                  <a:pt x="15315" y="11071"/>
                  <a:pt x="15557" y="11251"/>
                  <a:pt x="15851" y="11473"/>
                </a:cubicBezTo>
                <a:close/>
                <a:moveTo>
                  <a:pt x="14101" y="12080"/>
                </a:moveTo>
                <a:lnTo>
                  <a:pt x="14101" y="12080"/>
                </a:lnTo>
                <a:cubicBezTo>
                  <a:pt x="14589" y="12624"/>
                  <a:pt x="15005" y="13084"/>
                  <a:pt x="15021" y="13104"/>
                </a:cubicBezTo>
                <a:cubicBezTo>
                  <a:pt x="15041" y="13123"/>
                  <a:pt x="15052" y="13137"/>
                  <a:pt x="15049" y="13137"/>
                </a:cubicBezTo>
                <a:cubicBezTo>
                  <a:pt x="15044" y="13134"/>
                  <a:pt x="12991" y="11207"/>
                  <a:pt x="12991" y="11201"/>
                </a:cubicBezTo>
                <a:cubicBezTo>
                  <a:pt x="12991" y="11201"/>
                  <a:pt x="13035" y="11170"/>
                  <a:pt x="13091" y="11137"/>
                </a:cubicBezTo>
                <a:cubicBezTo>
                  <a:pt x="13194" y="11073"/>
                  <a:pt x="13194" y="11073"/>
                  <a:pt x="13194" y="11073"/>
                </a:cubicBezTo>
                <a:cubicBezTo>
                  <a:pt x="13202" y="11082"/>
                  <a:pt x="13202" y="11082"/>
                  <a:pt x="13202" y="11082"/>
                </a:cubicBezTo>
                <a:cubicBezTo>
                  <a:pt x="13205" y="11087"/>
                  <a:pt x="13610" y="11537"/>
                  <a:pt x="14101" y="12080"/>
                </a:cubicBezTo>
                <a:close/>
                <a:moveTo>
                  <a:pt x="5101" y="11159"/>
                </a:moveTo>
                <a:lnTo>
                  <a:pt x="5101" y="11159"/>
                </a:lnTo>
                <a:cubicBezTo>
                  <a:pt x="5140" y="11176"/>
                  <a:pt x="5170" y="11190"/>
                  <a:pt x="5167" y="11193"/>
                </a:cubicBezTo>
                <a:cubicBezTo>
                  <a:pt x="5165" y="11193"/>
                  <a:pt x="5134" y="11184"/>
                  <a:pt x="5101" y="11173"/>
                </a:cubicBezTo>
                <a:cubicBezTo>
                  <a:pt x="5034" y="11151"/>
                  <a:pt x="5034" y="11151"/>
                  <a:pt x="5034" y="11151"/>
                </a:cubicBezTo>
                <a:cubicBezTo>
                  <a:pt x="5029" y="11140"/>
                  <a:pt x="5029" y="11140"/>
                  <a:pt x="5029" y="11140"/>
                </a:cubicBezTo>
                <a:cubicBezTo>
                  <a:pt x="5023" y="11129"/>
                  <a:pt x="5023" y="11123"/>
                  <a:pt x="5026" y="11126"/>
                </a:cubicBezTo>
                <a:cubicBezTo>
                  <a:pt x="5029" y="11126"/>
                  <a:pt x="5062" y="11143"/>
                  <a:pt x="5101" y="11159"/>
                </a:cubicBezTo>
                <a:close/>
                <a:moveTo>
                  <a:pt x="15604" y="11370"/>
                </a:moveTo>
                <a:lnTo>
                  <a:pt x="15604" y="11370"/>
                </a:lnTo>
                <a:cubicBezTo>
                  <a:pt x="15795" y="11506"/>
                  <a:pt x="15951" y="11617"/>
                  <a:pt x="15953" y="11620"/>
                </a:cubicBezTo>
                <a:cubicBezTo>
                  <a:pt x="15962" y="11628"/>
                  <a:pt x="15862" y="11562"/>
                  <a:pt x="15532" y="11337"/>
                </a:cubicBezTo>
                <a:cubicBezTo>
                  <a:pt x="15368" y="11226"/>
                  <a:pt x="15235" y="11134"/>
                  <a:pt x="15235" y="11134"/>
                </a:cubicBezTo>
                <a:cubicBezTo>
                  <a:pt x="15232" y="11129"/>
                  <a:pt x="15241" y="11126"/>
                  <a:pt x="15252" y="11126"/>
                </a:cubicBezTo>
                <a:cubicBezTo>
                  <a:pt x="15257" y="11126"/>
                  <a:pt x="15415" y="11237"/>
                  <a:pt x="15604" y="11370"/>
                </a:cubicBezTo>
                <a:close/>
                <a:moveTo>
                  <a:pt x="15171" y="11137"/>
                </a:moveTo>
                <a:lnTo>
                  <a:pt x="15171" y="11137"/>
                </a:lnTo>
                <a:cubicBezTo>
                  <a:pt x="15182" y="11143"/>
                  <a:pt x="15385" y="11290"/>
                  <a:pt x="15385" y="11290"/>
                </a:cubicBezTo>
                <a:cubicBezTo>
                  <a:pt x="15385" y="11292"/>
                  <a:pt x="15351" y="11270"/>
                  <a:pt x="15229" y="11187"/>
                </a:cubicBezTo>
                <a:cubicBezTo>
                  <a:pt x="15191" y="11159"/>
                  <a:pt x="15160" y="11134"/>
                  <a:pt x="15160" y="11134"/>
                </a:cubicBezTo>
                <a:cubicBezTo>
                  <a:pt x="15160" y="11132"/>
                  <a:pt x="15163" y="11132"/>
                  <a:pt x="15171" y="11137"/>
                </a:cubicBezTo>
                <a:close/>
                <a:moveTo>
                  <a:pt x="15504" y="11939"/>
                </a:moveTo>
                <a:lnTo>
                  <a:pt x="15504" y="11939"/>
                </a:lnTo>
                <a:cubicBezTo>
                  <a:pt x="17157" y="12876"/>
                  <a:pt x="17088" y="12835"/>
                  <a:pt x="17088" y="12840"/>
                </a:cubicBezTo>
                <a:cubicBezTo>
                  <a:pt x="17091" y="12843"/>
                  <a:pt x="17046" y="12871"/>
                  <a:pt x="16994" y="12904"/>
                </a:cubicBezTo>
                <a:cubicBezTo>
                  <a:pt x="16896" y="12962"/>
                  <a:pt x="16896" y="12962"/>
                  <a:pt x="16896" y="12962"/>
                </a:cubicBezTo>
                <a:cubicBezTo>
                  <a:pt x="15568" y="12091"/>
                  <a:pt x="15568" y="12091"/>
                  <a:pt x="15568" y="12091"/>
                </a:cubicBezTo>
                <a:cubicBezTo>
                  <a:pt x="14836" y="11614"/>
                  <a:pt x="14236" y="11220"/>
                  <a:pt x="14234" y="11218"/>
                </a:cubicBezTo>
                <a:cubicBezTo>
                  <a:pt x="14228" y="11212"/>
                  <a:pt x="14109" y="11143"/>
                  <a:pt x="15504" y="11939"/>
                </a:cubicBezTo>
                <a:close/>
                <a:moveTo>
                  <a:pt x="18744" y="11265"/>
                </a:moveTo>
                <a:lnTo>
                  <a:pt x="18744" y="11265"/>
                </a:lnTo>
                <a:cubicBezTo>
                  <a:pt x="18730" y="11309"/>
                  <a:pt x="18730" y="11309"/>
                  <a:pt x="18730" y="11309"/>
                </a:cubicBezTo>
                <a:cubicBezTo>
                  <a:pt x="18697" y="11351"/>
                  <a:pt x="18697" y="11351"/>
                  <a:pt x="18697" y="11351"/>
                </a:cubicBezTo>
                <a:cubicBezTo>
                  <a:pt x="18680" y="11376"/>
                  <a:pt x="18663" y="11395"/>
                  <a:pt x="18663" y="11395"/>
                </a:cubicBezTo>
                <a:cubicBezTo>
                  <a:pt x="18660" y="11392"/>
                  <a:pt x="18683" y="11353"/>
                  <a:pt x="18708" y="11304"/>
                </a:cubicBezTo>
                <a:cubicBezTo>
                  <a:pt x="18735" y="11254"/>
                  <a:pt x="18758" y="11218"/>
                  <a:pt x="18758" y="11218"/>
                </a:cubicBezTo>
                <a:cubicBezTo>
                  <a:pt x="18758" y="11220"/>
                  <a:pt x="18752" y="11240"/>
                  <a:pt x="18744" y="11265"/>
                </a:cubicBezTo>
                <a:close/>
                <a:moveTo>
                  <a:pt x="13804" y="12150"/>
                </a:moveTo>
                <a:lnTo>
                  <a:pt x="13804" y="12150"/>
                </a:lnTo>
                <a:cubicBezTo>
                  <a:pt x="14273" y="12660"/>
                  <a:pt x="14655" y="13081"/>
                  <a:pt x="14655" y="13084"/>
                </a:cubicBezTo>
                <a:cubicBezTo>
                  <a:pt x="14658" y="13084"/>
                  <a:pt x="14644" y="13073"/>
                  <a:pt x="14628" y="13056"/>
                </a:cubicBezTo>
                <a:cubicBezTo>
                  <a:pt x="14611" y="13043"/>
                  <a:pt x="14189" y="12646"/>
                  <a:pt x="13693" y="12177"/>
                </a:cubicBezTo>
                <a:cubicBezTo>
                  <a:pt x="13199" y="11709"/>
                  <a:pt x="12794" y="11323"/>
                  <a:pt x="12794" y="11320"/>
                </a:cubicBezTo>
                <a:cubicBezTo>
                  <a:pt x="12794" y="11317"/>
                  <a:pt x="12947" y="11223"/>
                  <a:pt x="12952" y="11223"/>
                </a:cubicBezTo>
                <a:cubicBezTo>
                  <a:pt x="12952" y="11223"/>
                  <a:pt x="13335" y="11639"/>
                  <a:pt x="13804" y="12150"/>
                </a:cubicBezTo>
                <a:close/>
                <a:moveTo>
                  <a:pt x="16758" y="11864"/>
                </a:moveTo>
                <a:lnTo>
                  <a:pt x="16758" y="11864"/>
                </a:lnTo>
                <a:cubicBezTo>
                  <a:pt x="17202" y="12202"/>
                  <a:pt x="17568" y="12482"/>
                  <a:pt x="17573" y="12488"/>
                </a:cubicBezTo>
                <a:cubicBezTo>
                  <a:pt x="17579" y="12493"/>
                  <a:pt x="17579" y="12493"/>
                  <a:pt x="17579" y="12493"/>
                </a:cubicBezTo>
                <a:cubicBezTo>
                  <a:pt x="17523" y="12535"/>
                  <a:pt x="17523" y="12535"/>
                  <a:pt x="17523" y="12535"/>
                </a:cubicBezTo>
                <a:cubicBezTo>
                  <a:pt x="17496" y="12557"/>
                  <a:pt x="17468" y="12577"/>
                  <a:pt x="17468" y="12577"/>
                </a:cubicBezTo>
                <a:cubicBezTo>
                  <a:pt x="17465" y="12577"/>
                  <a:pt x="15959" y="11262"/>
                  <a:pt x="15931" y="11237"/>
                </a:cubicBezTo>
                <a:cubicBezTo>
                  <a:pt x="15920" y="11223"/>
                  <a:pt x="15920" y="11223"/>
                  <a:pt x="15920" y="11223"/>
                </a:cubicBezTo>
                <a:cubicBezTo>
                  <a:pt x="15934" y="11234"/>
                  <a:pt x="15934" y="11234"/>
                  <a:pt x="15934" y="11234"/>
                </a:cubicBezTo>
                <a:cubicBezTo>
                  <a:pt x="15942" y="11240"/>
                  <a:pt x="16314" y="11523"/>
                  <a:pt x="16758" y="11864"/>
                </a:cubicBezTo>
                <a:close/>
                <a:moveTo>
                  <a:pt x="5359" y="11290"/>
                </a:moveTo>
                <a:lnTo>
                  <a:pt x="5359" y="11290"/>
                </a:lnTo>
                <a:cubicBezTo>
                  <a:pt x="5473" y="11326"/>
                  <a:pt x="5473" y="11326"/>
                  <a:pt x="5473" y="11326"/>
                </a:cubicBezTo>
                <a:cubicBezTo>
                  <a:pt x="5492" y="11365"/>
                  <a:pt x="5492" y="11365"/>
                  <a:pt x="5492" y="11365"/>
                </a:cubicBezTo>
                <a:cubicBezTo>
                  <a:pt x="5503" y="11395"/>
                  <a:pt x="5506" y="11403"/>
                  <a:pt x="5500" y="11401"/>
                </a:cubicBezTo>
                <a:cubicBezTo>
                  <a:pt x="5492" y="11398"/>
                  <a:pt x="5217" y="11251"/>
                  <a:pt x="5215" y="11248"/>
                </a:cubicBezTo>
                <a:cubicBezTo>
                  <a:pt x="5209" y="11243"/>
                  <a:pt x="5209" y="11243"/>
                  <a:pt x="5359" y="11290"/>
                </a:cubicBezTo>
                <a:close/>
                <a:moveTo>
                  <a:pt x="16336" y="11997"/>
                </a:moveTo>
                <a:lnTo>
                  <a:pt x="16336" y="11997"/>
                </a:lnTo>
                <a:cubicBezTo>
                  <a:pt x="16880" y="12374"/>
                  <a:pt x="17324" y="12682"/>
                  <a:pt x="17321" y="12682"/>
                </a:cubicBezTo>
                <a:cubicBezTo>
                  <a:pt x="17321" y="12685"/>
                  <a:pt x="17140" y="12812"/>
                  <a:pt x="17132" y="12815"/>
                </a:cubicBezTo>
                <a:cubicBezTo>
                  <a:pt x="17129" y="12815"/>
                  <a:pt x="15368" y="11334"/>
                  <a:pt x="15343" y="11312"/>
                </a:cubicBezTo>
                <a:cubicBezTo>
                  <a:pt x="15338" y="11306"/>
                  <a:pt x="15338" y="11306"/>
                  <a:pt x="15338" y="11306"/>
                </a:cubicBezTo>
                <a:cubicBezTo>
                  <a:pt x="15346" y="11309"/>
                  <a:pt x="15346" y="11309"/>
                  <a:pt x="15346" y="11309"/>
                </a:cubicBezTo>
                <a:cubicBezTo>
                  <a:pt x="15349" y="11312"/>
                  <a:pt x="15795" y="11620"/>
                  <a:pt x="16336" y="11997"/>
                </a:cubicBezTo>
                <a:close/>
                <a:moveTo>
                  <a:pt x="5276" y="11406"/>
                </a:moveTo>
                <a:lnTo>
                  <a:pt x="5276" y="11406"/>
                </a:lnTo>
                <a:cubicBezTo>
                  <a:pt x="5400" y="11456"/>
                  <a:pt x="5506" y="11498"/>
                  <a:pt x="5509" y="11500"/>
                </a:cubicBezTo>
                <a:cubicBezTo>
                  <a:pt x="5517" y="11503"/>
                  <a:pt x="5850" y="11764"/>
                  <a:pt x="5858" y="11775"/>
                </a:cubicBezTo>
                <a:cubicBezTo>
                  <a:pt x="5864" y="11781"/>
                  <a:pt x="5841" y="11767"/>
                  <a:pt x="5786" y="11731"/>
                </a:cubicBezTo>
                <a:cubicBezTo>
                  <a:pt x="5753" y="11711"/>
                  <a:pt x="5575" y="11611"/>
                  <a:pt x="5387" y="11509"/>
                </a:cubicBezTo>
                <a:cubicBezTo>
                  <a:pt x="5201" y="11406"/>
                  <a:pt x="5045" y="11320"/>
                  <a:pt x="5043" y="11317"/>
                </a:cubicBezTo>
                <a:cubicBezTo>
                  <a:pt x="5040" y="11312"/>
                  <a:pt x="5015" y="11304"/>
                  <a:pt x="5276" y="11406"/>
                </a:cubicBezTo>
                <a:close/>
                <a:moveTo>
                  <a:pt x="15032" y="12341"/>
                </a:moveTo>
                <a:lnTo>
                  <a:pt x="15032" y="12341"/>
                </a:lnTo>
                <a:cubicBezTo>
                  <a:pt x="15643" y="12901"/>
                  <a:pt x="16142" y="13356"/>
                  <a:pt x="16142" y="13359"/>
                </a:cubicBezTo>
                <a:cubicBezTo>
                  <a:pt x="16142" y="13359"/>
                  <a:pt x="16095" y="13370"/>
                  <a:pt x="16037" y="13386"/>
                </a:cubicBezTo>
                <a:cubicBezTo>
                  <a:pt x="15928" y="13411"/>
                  <a:pt x="15928" y="13411"/>
                  <a:pt x="15928" y="13411"/>
                </a:cubicBezTo>
                <a:cubicBezTo>
                  <a:pt x="15895" y="13378"/>
                  <a:pt x="15895" y="13378"/>
                  <a:pt x="15895" y="13378"/>
                </a:cubicBezTo>
                <a:cubicBezTo>
                  <a:pt x="15879" y="13362"/>
                  <a:pt x="15443" y="12909"/>
                  <a:pt x="14927" y="12374"/>
                </a:cubicBezTo>
                <a:cubicBezTo>
                  <a:pt x="14411" y="11839"/>
                  <a:pt x="13973" y="11384"/>
                  <a:pt x="13951" y="11362"/>
                </a:cubicBezTo>
                <a:cubicBezTo>
                  <a:pt x="13929" y="11340"/>
                  <a:pt x="13915" y="11323"/>
                  <a:pt x="13917" y="11323"/>
                </a:cubicBezTo>
                <a:cubicBezTo>
                  <a:pt x="13920" y="11326"/>
                  <a:pt x="14422" y="11783"/>
                  <a:pt x="15032" y="12341"/>
                </a:cubicBezTo>
                <a:close/>
                <a:moveTo>
                  <a:pt x="13779" y="12305"/>
                </a:moveTo>
                <a:lnTo>
                  <a:pt x="13779" y="12305"/>
                </a:lnTo>
                <a:cubicBezTo>
                  <a:pt x="14339" y="12835"/>
                  <a:pt x="14805" y="13276"/>
                  <a:pt x="14813" y="13281"/>
                </a:cubicBezTo>
                <a:cubicBezTo>
                  <a:pt x="14822" y="13289"/>
                  <a:pt x="14827" y="13295"/>
                  <a:pt x="14825" y="13295"/>
                </a:cubicBezTo>
                <a:cubicBezTo>
                  <a:pt x="14822" y="13298"/>
                  <a:pt x="12370" y="11573"/>
                  <a:pt x="12359" y="11562"/>
                </a:cubicBezTo>
                <a:cubicBezTo>
                  <a:pt x="12353" y="11556"/>
                  <a:pt x="12353" y="11556"/>
                  <a:pt x="12353" y="11556"/>
                </a:cubicBezTo>
                <a:cubicBezTo>
                  <a:pt x="12553" y="11448"/>
                  <a:pt x="12553" y="11448"/>
                  <a:pt x="12553" y="11448"/>
                </a:cubicBezTo>
                <a:cubicBezTo>
                  <a:pt x="12664" y="11390"/>
                  <a:pt x="12755" y="11342"/>
                  <a:pt x="12755" y="11342"/>
                </a:cubicBezTo>
                <a:cubicBezTo>
                  <a:pt x="12758" y="11342"/>
                  <a:pt x="13219" y="11775"/>
                  <a:pt x="13779" y="12305"/>
                </a:cubicBezTo>
                <a:close/>
                <a:moveTo>
                  <a:pt x="5561" y="11365"/>
                </a:moveTo>
                <a:lnTo>
                  <a:pt x="5561" y="11365"/>
                </a:lnTo>
                <a:cubicBezTo>
                  <a:pt x="5578" y="11373"/>
                  <a:pt x="5592" y="11381"/>
                  <a:pt x="5592" y="11384"/>
                </a:cubicBezTo>
                <a:cubicBezTo>
                  <a:pt x="5592" y="11387"/>
                  <a:pt x="5559" y="11414"/>
                  <a:pt x="5553" y="11414"/>
                </a:cubicBezTo>
                <a:cubicBezTo>
                  <a:pt x="5553" y="11414"/>
                  <a:pt x="5545" y="11401"/>
                  <a:pt x="5536" y="11384"/>
                </a:cubicBezTo>
                <a:cubicBezTo>
                  <a:pt x="5531" y="11365"/>
                  <a:pt x="5525" y="11351"/>
                  <a:pt x="5525" y="11351"/>
                </a:cubicBezTo>
                <a:cubicBezTo>
                  <a:pt x="5528" y="11351"/>
                  <a:pt x="5545" y="11359"/>
                  <a:pt x="5561" y="11365"/>
                </a:cubicBezTo>
                <a:close/>
                <a:moveTo>
                  <a:pt x="14628" y="12405"/>
                </a:moveTo>
                <a:lnTo>
                  <a:pt x="14628" y="12405"/>
                </a:lnTo>
                <a:cubicBezTo>
                  <a:pt x="15235" y="12970"/>
                  <a:pt x="15731" y="13436"/>
                  <a:pt x="15729" y="13436"/>
                </a:cubicBezTo>
                <a:cubicBezTo>
                  <a:pt x="15729" y="13436"/>
                  <a:pt x="15648" y="13439"/>
                  <a:pt x="15554" y="13445"/>
                </a:cubicBezTo>
                <a:cubicBezTo>
                  <a:pt x="15382" y="13450"/>
                  <a:pt x="15382" y="13450"/>
                  <a:pt x="15382" y="13450"/>
                </a:cubicBezTo>
                <a:cubicBezTo>
                  <a:pt x="15376" y="13445"/>
                  <a:pt x="15376" y="13445"/>
                  <a:pt x="15376" y="13445"/>
                </a:cubicBezTo>
                <a:cubicBezTo>
                  <a:pt x="15371" y="13439"/>
                  <a:pt x="13529" y="11392"/>
                  <a:pt x="13512" y="11373"/>
                </a:cubicBezTo>
                <a:cubicBezTo>
                  <a:pt x="13501" y="11362"/>
                  <a:pt x="13501" y="11362"/>
                  <a:pt x="13501" y="11362"/>
                </a:cubicBezTo>
                <a:cubicBezTo>
                  <a:pt x="13510" y="11367"/>
                  <a:pt x="13510" y="11367"/>
                  <a:pt x="13510" y="11367"/>
                </a:cubicBezTo>
                <a:cubicBezTo>
                  <a:pt x="13515" y="11373"/>
                  <a:pt x="14017" y="11839"/>
                  <a:pt x="14628" y="12405"/>
                </a:cubicBezTo>
                <a:close/>
                <a:moveTo>
                  <a:pt x="5520" y="11456"/>
                </a:moveTo>
                <a:lnTo>
                  <a:pt x="5520" y="11456"/>
                </a:lnTo>
                <a:cubicBezTo>
                  <a:pt x="5520" y="11456"/>
                  <a:pt x="5517" y="11459"/>
                  <a:pt x="5514" y="11459"/>
                </a:cubicBezTo>
                <a:cubicBezTo>
                  <a:pt x="5511" y="11459"/>
                  <a:pt x="5414" y="11403"/>
                  <a:pt x="5409" y="11398"/>
                </a:cubicBezTo>
                <a:cubicBezTo>
                  <a:pt x="5409" y="11398"/>
                  <a:pt x="5431" y="11409"/>
                  <a:pt x="5461" y="11423"/>
                </a:cubicBezTo>
                <a:cubicBezTo>
                  <a:pt x="5495" y="11439"/>
                  <a:pt x="5520" y="11453"/>
                  <a:pt x="5520" y="11456"/>
                </a:cubicBezTo>
                <a:close/>
                <a:moveTo>
                  <a:pt x="5639" y="11448"/>
                </a:moveTo>
                <a:lnTo>
                  <a:pt x="5639" y="11448"/>
                </a:lnTo>
                <a:cubicBezTo>
                  <a:pt x="5647" y="11467"/>
                  <a:pt x="5653" y="11484"/>
                  <a:pt x="5653" y="11484"/>
                </a:cubicBezTo>
                <a:cubicBezTo>
                  <a:pt x="5647" y="11484"/>
                  <a:pt x="5608" y="11464"/>
                  <a:pt x="5586" y="11448"/>
                </a:cubicBezTo>
                <a:cubicBezTo>
                  <a:pt x="5578" y="11442"/>
                  <a:pt x="5578" y="11442"/>
                  <a:pt x="5578" y="11442"/>
                </a:cubicBezTo>
                <a:cubicBezTo>
                  <a:pt x="5597" y="11428"/>
                  <a:pt x="5597" y="11428"/>
                  <a:pt x="5597" y="11428"/>
                </a:cubicBezTo>
                <a:cubicBezTo>
                  <a:pt x="5608" y="11417"/>
                  <a:pt x="5620" y="11412"/>
                  <a:pt x="5620" y="11412"/>
                </a:cubicBezTo>
                <a:cubicBezTo>
                  <a:pt x="5622" y="11412"/>
                  <a:pt x="5631" y="11428"/>
                  <a:pt x="5639" y="11448"/>
                </a:cubicBezTo>
                <a:close/>
                <a:moveTo>
                  <a:pt x="5750" y="11456"/>
                </a:moveTo>
                <a:lnTo>
                  <a:pt x="5750" y="11456"/>
                </a:lnTo>
                <a:cubicBezTo>
                  <a:pt x="5794" y="11476"/>
                  <a:pt x="5828" y="11495"/>
                  <a:pt x="5828" y="11495"/>
                </a:cubicBezTo>
                <a:cubicBezTo>
                  <a:pt x="5822" y="11500"/>
                  <a:pt x="5708" y="11512"/>
                  <a:pt x="5703" y="11509"/>
                </a:cubicBezTo>
                <a:cubicBezTo>
                  <a:pt x="5703" y="11506"/>
                  <a:pt x="5667" y="11423"/>
                  <a:pt x="5667" y="11420"/>
                </a:cubicBezTo>
                <a:cubicBezTo>
                  <a:pt x="5667" y="11417"/>
                  <a:pt x="5672" y="11417"/>
                  <a:pt x="5750" y="11456"/>
                </a:cubicBezTo>
                <a:close/>
                <a:moveTo>
                  <a:pt x="6099" y="11700"/>
                </a:moveTo>
                <a:lnTo>
                  <a:pt x="6099" y="11700"/>
                </a:lnTo>
                <a:cubicBezTo>
                  <a:pt x="6210" y="11797"/>
                  <a:pt x="6302" y="11878"/>
                  <a:pt x="6302" y="11878"/>
                </a:cubicBezTo>
                <a:cubicBezTo>
                  <a:pt x="6302" y="11880"/>
                  <a:pt x="6310" y="11886"/>
                  <a:pt x="6202" y="11817"/>
                </a:cubicBezTo>
                <a:cubicBezTo>
                  <a:pt x="6155" y="11786"/>
                  <a:pt x="6033" y="11711"/>
                  <a:pt x="5936" y="11656"/>
                </a:cubicBezTo>
                <a:cubicBezTo>
                  <a:pt x="5841" y="11598"/>
                  <a:pt x="5758" y="11548"/>
                  <a:pt x="5755" y="11545"/>
                </a:cubicBezTo>
                <a:cubicBezTo>
                  <a:pt x="5753" y="11542"/>
                  <a:pt x="5753" y="11542"/>
                  <a:pt x="5753" y="11542"/>
                </a:cubicBezTo>
                <a:cubicBezTo>
                  <a:pt x="5819" y="11534"/>
                  <a:pt x="5819" y="11534"/>
                  <a:pt x="5819" y="11534"/>
                </a:cubicBezTo>
                <a:cubicBezTo>
                  <a:pt x="5858" y="11528"/>
                  <a:pt x="5889" y="11525"/>
                  <a:pt x="5891" y="11525"/>
                </a:cubicBezTo>
                <a:cubicBezTo>
                  <a:pt x="5891" y="11525"/>
                  <a:pt x="5986" y="11603"/>
                  <a:pt x="6099" y="11700"/>
                </a:cubicBezTo>
                <a:close/>
                <a:moveTo>
                  <a:pt x="15315" y="12430"/>
                </a:moveTo>
                <a:lnTo>
                  <a:pt x="15315" y="12430"/>
                </a:lnTo>
                <a:cubicBezTo>
                  <a:pt x="15853" y="12907"/>
                  <a:pt x="16295" y="13298"/>
                  <a:pt x="16295" y="13298"/>
                </a:cubicBezTo>
                <a:cubicBezTo>
                  <a:pt x="16295" y="13303"/>
                  <a:pt x="16192" y="13345"/>
                  <a:pt x="16186" y="13345"/>
                </a:cubicBezTo>
                <a:cubicBezTo>
                  <a:pt x="16184" y="13342"/>
                  <a:pt x="15779" y="12957"/>
                  <a:pt x="15288" y="12482"/>
                </a:cubicBezTo>
                <a:cubicBezTo>
                  <a:pt x="14447" y="11672"/>
                  <a:pt x="14306" y="11537"/>
                  <a:pt x="14328" y="11553"/>
                </a:cubicBezTo>
                <a:cubicBezTo>
                  <a:pt x="14333" y="11559"/>
                  <a:pt x="14777" y="11953"/>
                  <a:pt x="15315" y="12430"/>
                </a:cubicBezTo>
                <a:close/>
                <a:moveTo>
                  <a:pt x="18575" y="11578"/>
                </a:moveTo>
                <a:lnTo>
                  <a:pt x="18575" y="11578"/>
                </a:lnTo>
                <a:cubicBezTo>
                  <a:pt x="18561" y="11603"/>
                  <a:pt x="18555" y="11611"/>
                  <a:pt x="18555" y="11600"/>
                </a:cubicBezTo>
                <a:cubicBezTo>
                  <a:pt x="18555" y="11595"/>
                  <a:pt x="18586" y="11550"/>
                  <a:pt x="18588" y="11553"/>
                </a:cubicBezTo>
                <a:cubicBezTo>
                  <a:pt x="18588" y="11553"/>
                  <a:pt x="18583" y="11564"/>
                  <a:pt x="18575" y="11578"/>
                </a:cubicBezTo>
                <a:close/>
                <a:moveTo>
                  <a:pt x="5725" y="11575"/>
                </a:moveTo>
                <a:lnTo>
                  <a:pt x="5725" y="11575"/>
                </a:lnTo>
                <a:cubicBezTo>
                  <a:pt x="5739" y="11586"/>
                  <a:pt x="5747" y="11595"/>
                  <a:pt x="5747" y="11595"/>
                </a:cubicBezTo>
                <a:cubicBezTo>
                  <a:pt x="5744" y="11598"/>
                  <a:pt x="5692" y="11564"/>
                  <a:pt x="5692" y="11562"/>
                </a:cubicBezTo>
                <a:cubicBezTo>
                  <a:pt x="5692" y="11556"/>
                  <a:pt x="5703" y="11559"/>
                  <a:pt x="5725" y="11575"/>
                </a:cubicBezTo>
                <a:close/>
                <a:moveTo>
                  <a:pt x="14314" y="12499"/>
                </a:moveTo>
                <a:lnTo>
                  <a:pt x="14314" y="12499"/>
                </a:lnTo>
                <a:cubicBezTo>
                  <a:pt x="14858" y="13007"/>
                  <a:pt x="15307" y="13431"/>
                  <a:pt x="15315" y="13436"/>
                </a:cubicBezTo>
                <a:cubicBezTo>
                  <a:pt x="15321" y="13442"/>
                  <a:pt x="15327" y="13448"/>
                  <a:pt x="15327" y="13450"/>
                </a:cubicBezTo>
                <a:cubicBezTo>
                  <a:pt x="15324" y="13450"/>
                  <a:pt x="15260" y="13450"/>
                  <a:pt x="15182" y="13448"/>
                </a:cubicBezTo>
                <a:cubicBezTo>
                  <a:pt x="15038" y="13448"/>
                  <a:pt x="15038" y="13448"/>
                  <a:pt x="15038" y="13448"/>
                </a:cubicBezTo>
                <a:cubicBezTo>
                  <a:pt x="14189" y="12518"/>
                  <a:pt x="14189" y="12518"/>
                  <a:pt x="14189" y="12518"/>
                </a:cubicBezTo>
                <a:cubicBezTo>
                  <a:pt x="13721" y="12008"/>
                  <a:pt x="13332" y="11584"/>
                  <a:pt x="13327" y="11575"/>
                </a:cubicBezTo>
                <a:cubicBezTo>
                  <a:pt x="13318" y="11567"/>
                  <a:pt x="13316" y="11564"/>
                  <a:pt x="13321" y="11567"/>
                </a:cubicBezTo>
                <a:cubicBezTo>
                  <a:pt x="13324" y="11570"/>
                  <a:pt x="13771" y="11989"/>
                  <a:pt x="14314" y="12499"/>
                </a:cubicBezTo>
                <a:close/>
                <a:moveTo>
                  <a:pt x="13230" y="12432"/>
                </a:moveTo>
                <a:lnTo>
                  <a:pt x="13230" y="12432"/>
                </a:lnTo>
                <a:cubicBezTo>
                  <a:pt x="13732" y="12904"/>
                  <a:pt x="14142" y="13287"/>
                  <a:pt x="14139" y="13289"/>
                </a:cubicBezTo>
                <a:cubicBezTo>
                  <a:pt x="14139" y="13289"/>
                  <a:pt x="13637" y="12943"/>
                  <a:pt x="13022" y="12518"/>
                </a:cubicBezTo>
                <a:cubicBezTo>
                  <a:pt x="12409" y="12094"/>
                  <a:pt x="11907" y="11745"/>
                  <a:pt x="11907" y="11745"/>
                </a:cubicBezTo>
                <a:cubicBezTo>
                  <a:pt x="11909" y="11742"/>
                  <a:pt x="12311" y="11578"/>
                  <a:pt x="12314" y="11578"/>
                </a:cubicBezTo>
                <a:cubicBezTo>
                  <a:pt x="12314" y="11578"/>
                  <a:pt x="12728" y="11964"/>
                  <a:pt x="13230" y="12432"/>
                </a:cubicBezTo>
                <a:close/>
                <a:moveTo>
                  <a:pt x="6235" y="11697"/>
                </a:moveTo>
                <a:lnTo>
                  <a:pt x="6235" y="11697"/>
                </a:lnTo>
                <a:cubicBezTo>
                  <a:pt x="6432" y="11795"/>
                  <a:pt x="6432" y="11795"/>
                  <a:pt x="6432" y="11795"/>
                </a:cubicBezTo>
                <a:cubicBezTo>
                  <a:pt x="6435" y="11806"/>
                  <a:pt x="6435" y="11806"/>
                  <a:pt x="6435" y="11806"/>
                </a:cubicBezTo>
                <a:cubicBezTo>
                  <a:pt x="6463" y="11892"/>
                  <a:pt x="6488" y="11980"/>
                  <a:pt x="6488" y="11983"/>
                </a:cubicBezTo>
                <a:cubicBezTo>
                  <a:pt x="6488" y="11986"/>
                  <a:pt x="6388" y="11903"/>
                  <a:pt x="6266" y="11797"/>
                </a:cubicBezTo>
                <a:cubicBezTo>
                  <a:pt x="6052" y="11614"/>
                  <a:pt x="6027" y="11592"/>
                  <a:pt x="6036" y="11595"/>
                </a:cubicBezTo>
                <a:cubicBezTo>
                  <a:pt x="6038" y="11598"/>
                  <a:pt x="6127" y="11642"/>
                  <a:pt x="6235" y="11697"/>
                </a:cubicBezTo>
                <a:close/>
                <a:moveTo>
                  <a:pt x="18511" y="11667"/>
                </a:moveTo>
                <a:lnTo>
                  <a:pt x="18511" y="11667"/>
                </a:lnTo>
                <a:cubicBezTo>
                  <a:pt x="18508" y="11689"/>
                  <a:pt x="18508" y="11689"/>
                  <a:pt x="18508" y="11689"/>
                </a:cubicBezTo>
                <a:cubicBezTo>
                  <a:pt x="18425" y="11772"/>
                  <a:pt x="18425" y="11772"/>
                  <a:pt x="18425" y="11772"/>
                </a:cubicBezTo>
                <a:cubicBezTo>
                  <a:pt x="18378" y="11819"/>
                  <a:pt x="18336" y="11858"/>
                  <a:pt x="18333" y="11858"/>
                </a:cubicBezTo>
                <a:cubicBezTo>
                  <a:pt x="18328" y="11864"/>
                  <a:pt x="18330" y="11858"/>
                  <a:pt x="18439" y="11728"/>
                </a:cubicBezTo>
                <a:cubicBezTo>
                  <a:pt x="18480" y="11681"/>
                  <a:pt x="18513" y="11645"/>
                  <a:pt x="18513" y="11645"/>
                </a:cubicBezTo>
                <a:cubicBezTo>
                  <a:pt x="18513" y="11645"/>
                  <a:pt x="18513" y="11653"/>
                  <a:pt x="18511" y="11667"/>
                </a:cubicBezTo>
                <a:close/>
                <a:moveTo>
                  <a:pt x="5980" y="11941"/>
                </a:moveTo>
                <a:lnTo>
                  <a:pt x="5980" y="11941"/>
                </a:lnTo>
                <a:cubicBezTo>
                  <a:pt x="6382" y="12169"/>
                  <a:pt x="6382" y="12169"/>
                  <a:pt x="6382" y="12169"/>
                </a:cubicBezTo>
                <a:cubicBezTo>
                  <a:pt x="6674" y="12363"/>
                  <a:pt x="6674" y="12363"/>
                  <a:pt x="6674" y="12363"/>
                </a:cubicBezTo>
                <a:cubicBezTo>
                  <a:pt x="6834" y="12468"/>
                  <a:pt x="6970" y="12560"/>
                  <a:pt x="6973" y="12563"/>
                </a:cubicBezTo>
                <a:cubicBezTo>
                  <a:pt x="6976" y="12568"/>
                  <a:pt x="6976" y="12574"/>
                  <a:pt x="6976" y="12574"/>
                </a:cubicBezTo>
                <a:cubicBezTo>
                  <a:pt x="6976" y="12577"/>
                  <a:pt x="6718" y="12419"/>
                  <a:pt x="6402" y="12224"/>
                </a:cubicBezTo>
                <a:cubicBezTo>
                  <a:pt x="6086" y="12030"/>
                  <a:pt x="5775" y="11839"/>
                  <a:pt x="5708" y="11800"/>
                </a:cubicBezTo>
                <a:cubicBezTo>
                  <a:pt x="5603" y="11736"/>
                  <a:pt x="5561" y="11709"/>
                  <a:pt x="5575" y="11714"/>
                </a:cubicBezTo>
                <a:cubicBezTo>
                  <a:pt x="5578" y="11717"/>
                  <a:pt x="5761" y="11819"/>
                  <a:pt x="5980" y="11941"/>
                </a:cubicBezTo>
                <a:close/>
                <a:moveTo>
                  <a:pt x="15099" y="12602"/>
                </a:moveTo>
                <a:lnTo>
                  <a:pt x="15099" y="12602"/>
                </a:lnTo>
                <a:cubicBezTo>
                  <a:pt x="15532" y="13051"/>
                  <a:pt x="15881" y="13420"/>
                  <a:pt x="15881" y="13420"/>
                </a:cubicBezTo>
                <a:cubicBezTo>
                  <a:pt x="15879" y="13420"/>
                  <a:pt x="15856" y="13425"/>
                  <a:pt x="15831" y="13428"/>
                </a:cubicBezTo>
                <a:cubicBezTo>
                  <a:pt x="15787" y="13434"/>
                  <a:pt x="15787" y="13434"/>
                  <a:pt x="15787" y="13434"/>
                </a:cubicBezTo>
                <a:cubicBezTo>
                  <a:pt x="15773" y="13420"/>
                  <a:pt x="15773" y="13420"/>
                  <a:pt x="15773" y="13420"/>
                </a:cubicBezTo>
                <a:cubicBezTo>
                  <a:pt x="15759" y="13406"/>
                  <a:pt x="14270" y="11747"/>
                  <a:pt x="14250" y="11728"/>
                </a:cubicBezTo>
                <a:cubicBezTo>
                  <a:pt x="14225" y="11697"/>
                  <a:pt x="14364" y="11842"/>
                  <a:pt x="15099" y="12602"/>
                </a:cubicBezTo>
                <a:close/>
                <a:moveTo>
                  <a:pt x="13743" y="12579"/>
                </a:moveTo>
                <a:lnTo>
                  <a:pt x="13743" y="12579"/>
                </a:lnTo>
                <a:cubicBezTo>
                  <a:pt x="15010" y="13472"/>
                  <a:pt x="14971" y="13445"/>
                  <a:pt x="14971" y="13448"/>
                </a:cubicBezTo>
                <a:cubicBezTo>
                  <a:pt x="14969" y="13448"/>
                  <a:pt x="14849" y="13445"/>
                  <a:pt x="14702" y="13442"/>
                </a:cubicBezTo>
                <a:cubicBezTo>
                  <a:pt x="14555" y="13439"/>
                  <a:pt x="14417" y="13436"/>
                  <a:pt x="14395" y="13436"/>
                </a:cubicBezTo>
                <a:cubicBezTo>
                  <a:pt x="14353" y="13436"/>
                  <a:pt x="14353" y="13436"/>
                  <a:pt x="14353" y="13436"/>
                </a:cubicBezTo>
                <a:cubicBezTo>
                  <a:pt x="13457" y="12596"/>
                  <a:pt x="13457" y="12596"/>
                  <a:pt x="13457" y="12596"/>
                </a:cubicBezTo>
                <a:cubicBezTo>
                  <a:pt x="12558" y="11756"/>
                  <a:pt x="12522" y="11725"/>
                  <a:pt x="12533" y="11731"/>
                </a:cubicBezTo>
                <a:cubicBezTo>
                  <a:pt x="12536" y="11733"/>
                  <a:pt x="13080" y="12113"/>
                  <a:pt x="13743" y="12579"/>
                </a:cubicBezTo>
                <a:close/>
                <a:moveTo>
                  <a:pt x="6038" y="11756"/>
                </a:moveTo>
                <a:lnTo>
                  <a:pt x="6038" y="11756"/>
                </a:lnTo>
                <a:cubicBezTo>
                  <a:pt x="6077" y="11778"/>
                  <a:pt x="6080" y="11783"/>
                  <a:pt x="6072" y="11786"/>
                </a:cubicBezTo>
                <a:cubicBezTo>
                  <a:pt x="6069" y="11786"/>
                  <a:pt x="6052" y="11778"/>
                  <a:pt x="6033" y="11761"/>
                </a:cubicBezTo>
                <a:cubicBezTo>
                  <a:pt x="6013" y="11747"/>
                  <a:pt x="5997" y="11733"/>
                  <a:pt x="5997" y="11733"/>
                </a:cubicBezTo>
                <a:cubicBezTo>
                  <a:pt x="5997" y="11731"/>
                  <a:pt x="5994" y="11731"/>
                  <a:pt x="6038" y="11756"/>
                </a:cubicBezTo>
                <a:close/>
                <a:moveTo>
                  <a:pt x="12711" y="12571"/>
                </a:moveTo>
                <a:lnTo>
                  <a:pt x="12711" y="12571"/>
                </a:lnTo>
                <a:cubicBezTo>
                  <a:pt x="13177" y="13018"/>
                  <a:pt x="13557" y="13384"/>
                  <a:pt x="13557" y="13384"/>
                </a:cubicBezTo>
                <a:cubicBezTo>
                  <a:pt x="13557" y="13384"/>
                  <a:pt x="12827" y="13142"/>
                  <a:pt x="11937" y="12843"/>
                </a:cubicBezTo>
                <a:cubicBezTo>
                  <a:pt x="11047" y="12546"/>
                  <a:pt x="10215" y="12266"/>
                  <a:pt x="10090" y="12224"/>
                </a:cubicBezTo>
                <a:cubicBezTo>
                  <a:pt x="9965" y="12183"/>
                  <a:pt x="9865" y="12150"/>
                  <a:pt x="9865" y="12147"/>
                </a:cubicBezTo>
                <a:cubicBezTo>
                  <a:pt x="9868" y="12144"/>
                  <a:pt x="11837" y="11764"/>
                  <a:pt x="11851" y="11761"/>
                </a:cubicBezTo>
                <a:cubicBezTo>
                  <a:pt x="11862" y="11761"/>
                  <a:pt x="11862" y="11761"/>
                  <a:pt x="11862" y="11761"/>
                </a:cubicBezTo>
                <a:cubicBezTo>
                  <a:pt x="12711" y="12571"/>
                  <a:pt x="12711" y="12571"/>
                  <a:pt x="12711" y="12571"/>
                </a:cubicBezTo>
                <a:close/>
                <a:moveTo>
                  <a:pt x="6149" y="11833"/>
                </a:moveTo>
                <a:lnTo>
                  <a:pt x="6149" y="11833"/>
                </a:lnTo>
                <a:cubicBezTo>
                  <a:pt x="6169" y="11850"/>
                  <a:pt x="6185" y="11864"/>
                  <a:pt x="6185" y="11864"/>
                </a:cubicBezTo>
                <a:cubicBezTo>
                  <a:pt x="6185" y="11864"/>
                  <a:pt x="6174" y="11858"/>
                  <a:pt x="6163" y="11853"/>
                </a:cubicBezTo>
                <a:cubicBezTo>
                  <a:pt x="6152" y="11844"/>
                  <a:pt x="6133" y="11833"/>
                  <a:pt x="6122" y="11825"/>
                </a:cubicBezTo>
                <a:cubicBezTo>
                  <a:pt x="6113" y="11819"/>
                  <a:pt x="6102" y="11811"/>
                  <a:pt x="6102" y="11808"/>
                </a:cubicBezTo>
                <a:cubicBezTo>
                  <a:pt x="6102" y="11797"/>
                  <a:pt x="6110" y="11803"/>
                  <a:pt x="6149" y="11833"/>
                </a:cubicBezTo>
                <a:close/>
                <a:moveTo>
                  <a:pt x="6599" y="11883"/>
                </a:moveTo>
                <a:lnTo>
                  <a:pt x="6599" y="11883"/>
                </a:lnTo>
                <a:cubicBezTo>
                  <a:pt x="6662" y="11917"/>
                  <a:pt x="6715" y="11947"/>
                  <a:pt x="6715" y="11947"/>
                </a:cubicBezTo>
                <a:cubicBezTo>
                  <a:pt x="6715" y="11950"/>
                  <a:pt x="6546" y="12019"/>
                  <a:pt x="6540" y="12022"/>
                </a:cubicBezTo>
                <a:cubicBezTo>
                  <a:pt x="6538" y="12022"/>
                  <a:pt x="6524" y="11978"/>
                  <a:pt x="6510" y="11925"/>
                </a:cubicBezTo>
                <a:cubicBezTo>
                  <a:pt x="6493" y="11872"/>
                  <a:pt x="6479" y="11828"/>
                  <a:pt x="6479" y="11825"/>
                </a:cubicBezTo>
                <a:cubicBezTo>
                  <a:pt x="6477" y="11822"/>
                  <a:pt x="6477" y="11822"/>
                  <a:pt x="6479" y="11822"/>
                </a:cubicBezTo>
                <a:cubicBezTo>
                  <a:pt x="6482" y="11822"/>
                  <a:pt x="6535" y="11850"/>
                  <a:pt x="6599" y="11883"/>
                </a:cubicBezTo>
                <a:close/>
                <a:moveTo>
                  <a:pt x="13149" y="12649"/>
                </a:moveTo>
                <a:lnTo>
                  <a:pt x="13149" y="12649"/>
                </a:lnTo>
                <a:cubicBezTo>
                  <a:pt x="14361" y="13486"/>
                  <a:pt x="14281" y="13431"/>
                  <a:pt x="14278" y="13431"/>
                </a:cubicBezTo>
                <a:cubicBezTo>
                  <a:pt x="14275" y="13434"/>
                  <a:pt x="13654" y="13414"/>
                  <a:pt x="13646" y="13411"/>
                </a:cubicBezTo>
                <a:cubicBezTo>
                  <a:pt x="13640" y="13411"/>
                  <a:pt x="13296" y="13084"/>
                  <a:pt x="12880" y="12688"/>
                </a:cubicBezTo>
                <a:cubicBezTo>
                  <a:pt x="12126" y="11964"/>
                  <a:pt x="12051" y="11892"/>
                  <a:pt x="12059" y="11897"/>
                </a:cubicBezTo>
                <a:cubicBezTo>
                  <a:pt x="12065" y="11900"/>
                  <a:pt x="12553" y="12235"/>
                  <a:pt x="13149" y="12649"/>
                </a:cubicBezTo>
                <a:close/>
                <a:moveTo>
                  <a:pt x="18328" y="11919"/>
                </a:moveTo>
                <a:lnTo>
                  <a:pt x="18328" y="11919"/>
                </a:lnTo>
                <a:cubicBezTo>
                  <a:pt x="18325" y="11925"/>
                  <a:pt x="18300" y="11958"/>
                  <a:pt x="18269" y="11997"/>
                </a:cubicBezTo>
                <a:cubicBezTo>
                  <a:pt x="18217" y="12064"/>
                  <a:pt x="18217" y="12064"/>
                  <a:pt x="18217" y="12064"/>
                </a:cubicBezTo>
                <a:cubicBezTo>
                  <a:pt x="18183" y="12080"/>
                  <a:pt x="18183" y="12080"/>
                  <a:pt x="18183" y="12080"/>
                </a:cubicBezTo>
                <a:cubicBezTo>
                  <a:pt x="18164" y="12088"/>
                  <a:pt x="18150" y="12094"/>
                  <a:pt x="18150" y="12094"/>
                </a:cubicBezTo>
                <a:cubicBezTo>
                  <a:pt x="18147" y="12091"/>
                  <a:pt x="18328" y="11914"/>
                  <a:pt x="18330" y="11914"/>
                </a:cubicBezTo>
                <a:cubicBezTo>
                  <a:pt x="18333" y="11914"/>
                  <a:pt x="18330" y="11917"/>
                  <a:pt x="18328" y="11919"/>
                </a:cubicBezTo>
                <a:close/>
                <a:moveTo>
                  <a:pt x="16952" y="12341"/>
                </a:moveTo>
                <a:lnTo>
                  <a:pt x="16952" y="12341"/>
                </a:lnTo>
                <a:cubicBezTo>
                  <a:pt x="17190" y="12502"/>
                  <a:pt x="17385" y="12635"/>
                  <a:pt x="17385" y="12638"/>
                </a:cubicBezTo>
                <a:cubicBezTo>
                  <a:pt x="17385" y="12640"/>
                  <a:pt x="17379" y="12646"/>
                  <a:pt x="17371" y="12652"/>
                </a:cubicBezTo>
                <a:cubicBezTo>
                  <a:pt x="17357" y="12660"/>
                  <a:pt x="17357" y="12660"/>
                  <a:pt x="17357" y="12660"/>
                </a:cubicBezTo>
                <a:cubicBezTo>
                  <a:pt x="17343" y="12652"/>
                  <a:pt x="17343" y="12652"/>
                  <a:pt x="17343" y="12652"/>
                </a:cubicBezTo>
                <a:cubicBezTo>
                  <a:pt x="17324" y="12638"/>
                  <a:pt x="16389" y="11966"/>
                  <a:pt x="16364" y="11947"/>
                </a:cubicBezTo>
                <a:cubicBezTo>
                  <a:pt x="16308" y="11908"/>
                  <a:pt x="16339" y="11925"/>
                  <a:pt x="16428" y="11986"/>
                </a:cubicBezTo>
                <a:cubicBezTo>
                  <a:pt x="16478" y="12019"/>
                  <a:pt x="16713" y="12180"/>
                  <a:pt x="16952" y="12341"/>
                </a:cubicBezTo>
                <a:close/>
                <a:moveTo>
                  <a:pt x="6926" y="12194"/>
                </a:moveTo>
                <a:lnTo>
                  <a:pt x="6926" y="12194"/>
                </a:lnTo>
                <a:cubicBezTo>
                  <a:pt x="7090" y="12413"/>
                  <a:pt x="7092" y="12416"/>
                  <a:pt x="7084" y="12410"/>
                </a:cubicBezTo>
                <a:cubicBezTo>
                  <a:pt x="7076" y="12407"/>
                  <a:pt x="6601" y="12075"/>
                  <a:pt x="6582" y="12061"/>
                </a:cubicBezTo>
                <a:cubicBezTo>
                  <a:pt x="6565" y="12050"/>
                  <a:pt x="6565" y="12050"/>
                  <a:pt x="6565" y="12050"/>
                </a:cubicBezTo>
                <a:cubicBezTo>
                  <a:pt x="6660" y="12011"/>
                  <a:pt x="6660" y="12011"/>
                  <a:pt x="6660" y="12011"/>
                </a:cubicBezTo>
                <a:cubicBezTo>
                  <a:pt x="6757" y="11972"/>
                  <a:pt x="6757" y="11972"/>
                  <a:pt x="6757" y="11972"/>
                </a:cubicBezTo>
                <a:cubicBezTo>
                  <a:pt x="6762" y="11980"/>
                  <a:pt x="6762" y="11980"/>
                  <a:pt x="6762" y="11980"/>
                </a:cubicBezTo>
                <a:cubicBezTo>
                  <a:pt x="6765" y="11983"/>
                  <a:pt x="6840" y="12080"/>
                  <a:pt x="6926" y="12194"/>
                </a:cubicBezTo>
                <a:close/>
                <a:moveTo>
                  <a:pt x="6457" y="12019"/>
                </a:moveTo>
                <a:lnTo>
                  <a:pt x="6457" y="12019"/>
                </a:lnTo>
                <a:cubicBezTo>
                  <a:pt x="6496" y="12047"/>
                  <a:pt x="6504" y="12052"/>
                  <a:pt x="6496" y="12061"/>
                </a:cubicBezTo>
                <a:cubicBezTo>
                  <a:pt x="6490" y="12061"/>
                  <a:pt x="6402" y="11994"/>
                  <a:pt x="6402" y="11989"/>
                </a:cubicBezTo>
                <a:cubicBezTo>
                  <a:pt x="6402" y="11986"/>
                  <a:pt x="6402" y="11986"/>
                  <a:pt x="6457" y="12019"/>
                </a:cubicBezTo>
                <a:close/>
                <a:moveTo>
                  <a:pt x="6723" y="12291"/>
                </a:moveTo>
                <a:lnTo>
                  <a:pt x="6723" y="12291"/>
                </a:lnTo>
                <a:cubicBezTo>
                  <a:pt x="7162" y="12579"/>
                  <a:pt x="7162" y="12579"/>
                  <a:pt x="7162" y="12579"/>
                </a:cubicBezTo>
                <a:cubicBezTo>
                  <a:pt x="7164" y="12596"/>
                  <a:pt x="7164" y="12596"/>
                  <a:pt x="7164" y="12596"/>
                </a:cubicBezTo>
                <a:cubicBezTo>
                  <a:pt x="7170" y="12629"/>
                  <a:pt x="7170" y="12640"/>
                  <a:pt x="7162" y="12638"/>
                </a:cubicBezTo>
                <a:cubicBezTo>
                  <a:pt x="7159" y="12635"/>
                  <a:pt x="7084" y="12582"/>
                  <a:pt x="6995" y="12518"/>
                </a:cubicBezTo>
                <a:cubicBezTo>
                  <a:pt x="6907" y="12455"/>
                  <a:pt x="6718" y="12319"/>
                  <a:pt x="6574" y="12216"/>
                </a:cubicBezTo>
                <a:cubicBezTo>
                  <a:pt x="6429" y="12113"/>
                  <a:pt x="6305" y="12022"/>
                  <a:pt x="6294" y="12016"/>
                </a:cubicBezTo>
                <a:cubicBezTo>
                  <a:pt x="6283" y="12008"/>
                  <a:pt x="6274" y="12000"/>
                  <a:pt x="6274" y="12000"/>
                </a:cubicBezTo>
                <a:cubicBezTo>
                  <a:pt x="6274" y="11997"/>
                  <a:pt x="6224" y="11964"/>
                  <a:pt x="6723" y="12291"/>
                </a:cubicBezTo>
                <a:close/>
                <a:moveTo>
                  <a:pt x="6959" y="12080"/>
                </a:moveTo>
                <a:lnTo>
                  <a:pt x="6959" y="12080"/>
                </a:lnTo>
                <a:cubicBezTo>
                  <a:pt x="7018" y="12111"/>
                  <a:pt x="7065" y="12138"/>
                  <a:pt x="7065" y="12138"/>
                </a:cubicBezTo>
                <a:cubicBezTo>
                  <a:pt x="7070" y="12141"/>
                  <a:pt x="7131" y="12402"/>
                  <a:pt x="7131" y="12405"/>
                </a:cubicBezTo>
                <a:cubicBezTo>
                  <a:pt x="7128" y="12407"/>
                  <a:pt x="6843" y="12030"/>
                  <a:pt x="6834" y="12014"/>
                </a:cubicBezTo>
                <a:cubicBezTo>
                  <a:pt x="6832" y="12008"/>
                  <a:pt x="6832" y="12008"/>
                  <a:pt x="6832" y="12008"/>
                </a:cubicBezTo>
                <a:cubicBezTo>
                  <a:pt x="6843" y="12016"/>
                  <a:pt x="6843" y="12016"/>
                  <a:pt x="6843" y="12016"/>
                </a:cubicBezTo>
                <a:cubicBezTo>
                  <a:pt x="6851" y="12019"/>
                  <a:pt x="6904" y="12047"/>
                  <a:pt x="6959" y="12080"/>
                </a:cubicBezTo>
                <a:close/>
                <a:moveTo>
                  <a:pt x="18125" y="12047"/>
                </a:moveTo>
                <a:lnTo>
                  <a:pt x="18125" y="12047"/>
                </a:lnTo>
                <a:cubicBezTo>
                  <a:pt x="18081" y="12105"/>
                  <a:pt x="18003" y="12183"/>
                  <a:pt x="17973" y="12205"/>
                </a:cubicBezTo>
                <a:cubicBezTo>
                  <a:pt x="17962" y="12213"/>
                  <a:pt x="17998" y="12174"/>
                  <a:pt x="18028" y="12147"/>
                </a:cubicBezTo>
                <a:cubicBezTo>
                  <a:pt x="18039" y="12136"/>
                  <a:pt x="18064" y="12111"/>
                  <a:pt x="18078" y="12094"/>
                </a:cubicBezTo>
                <a:cubicBezTo>
                  <a:pt x="18106" y="12061"/>
                  <a:pt x="18125" y="12039"/>
                  <a:pt x="18128" y="12039"/>
                </a:cubicBezTo>
                <a:cubicBezTo>
                  <a:pt x="18128" y="12039"/>
                  <a:pt x="18128" y="12041"/>
                  <a:pt x="18125" y="12047"/>
                </a:cubicBezTo>
                <a:close/>
                <a:moveTo>
                  <a:pt x="6610" y="12133"/>
                </a:moveTo>
                <a:lnTo>
                  <a:pt x="6610" y="12133"/>
                </a:lnTo>
                <a:cubicBezTo>
                  <a:pt x="6649" y="12166"/>
                  <a:pt x="6685" y="12197"/>
                  <a:pt x="6685" y="12197"/>
                </a:cubicBezTo>
                <a:cubicBezTo>
                  <a:pt x="6685" y="12197"/>
                  <a:pt x="6679" y="12197"/>
                  <a:pt x="6674" y="12191"/>
                </a:cubicBezTo>
                <a:cubicBezTo>
                  <a:pt x="6601" y="12141"/>
                  <a:pt x="6532" y="12091"/>
                  <a:pt x="6529" y="12088"/>
                </a:cubicBezTo>
                <a:cubicBezTo>
                  <a:pt x="6524" y="12083"/>
                  <a:pt x="6521" y="12080"/>
                  <a:pt x="6527" y="12077"/>
                </a:cubicBezTo>
                <a:cubicBezTo>
                  <a:pt x="6527" y="12075"/>
                  <a:pt x="6529" y="12072"/>
                  <a:pt x="6532" y="12072"/>
                </a:cubicBezTo>
                <a:cubicBezTo>
                  <a:pt x="6532" y="12072"/>
                  <a:pt x="6568" y="12100"/>
                  <a:pt x="6610" y="12133"/>
                </a:cubicBezTo>
                <a:close/>
                <a:moveTo>
                  <a:pt x="17110" y="12366"/>
                </a:moveTo>
                <a:lnTo>
                  <a:pt x="17110" y="12366"/>
                </a:lnTo>
                <a:cubicBezTo>
                  <a:pt x="17288" y="12493"/>
                  <a:pt x="17432" y="12599"/>
                  <a:pt x="17435" y="12599"/>
                </a:cubicBezTo>
                <a:cubicBezTo>
                  <a:pt x="17437" y="12602"/>
                  <a:pt x="17426" y="12613"/>
                  <a:pt x="17421" y="12613"/>
                </a:cubicBezTo>
                <a:cubicBezTo>
                  <a:pt x="17418" y="12613"/>
                  <a:pt x="17299" y="12524"/>
                  <a:pt x="17157" y="12416"/>
                </a:cubicBezTo>
                <a:cubicBezTo>
                  <a:pt x="16799" y="12147"/>
                  <a:pt x="16780" y="12130"/>
                  <a:pt x="16780" y="12130"/>
                </a:cubicBezTo>
                <a:cubicBezTo>
                  <a:pt x="16780" y="12127"/>
                  <a:pt x="16783" y="12127"/>
                  <a:pt x="16783" y="12130"/>
                </a:cubicBezTo>
                <a:cubicBezTo>
                  <a:pt x="16785" y="12133"/>
                  <a:pt x="16933" y="12238"/>
                  <a:pt x="17110" y="12366"/>
                </a:cubicBezTo>
                <a:close/>
                <a:moveTo>
                  <a:pt x="7187" y="12205"/>
                </a:moveTo>
                <a:lnTo>
                  <a:pt x="7187" y="12205"/>
                </a:lnTo>
                <a:cubicBezTo>
                  <a:pt x="7226" y="12230"/>
                  <a:pt x="7259" y="12247"/>
                  <a:pt x="7262" y="12249"/>
                </a:cubicBezTo>
                <a:cubicBezTo>
                  <a:pt x="7262" y="12249"/>
                  <a:pt x="7181" y="12435"/>
                  <a:pt x="7178" y="12435"/>
                </a:cubicBezTo>
                <a:cubicBezTo>
                  <a:pt x="7178" y="12435"/>
                  <a:pt x="7162" y="12377"/>
                  <a:pt x="7145" y="12305"/>
                </a:cubicBezTo>
                <a:cubicBezTo>
                  <a:pt x="7128" y="12233"/>
                  <a:pt x="7112" y="12172"/>
                  <a:pt x="7112" y="12169"/>
                </a:cubicBezTo>
                <a:cubicBezTo>
                  <a:pt x="7112" y="12166"/>
                  <a:pt x="7112" y="12166"/>
                  <a:pt x="7112" y="12166"/>
                </a:cubicBezTo>
                <a:cubicBezTo>
                  <a:pt x="7115" y="12166"/>
                  <a:pt x="7148" y="12183"/>
                  <a:pt x="7187" y="12205"/>
                </a:cubicBezTo>
                <a:close/>
                <a:moveTo>
                  <a:pt x="18072" y="12174"/>
                </a:moveTo>
                <a:lnTo>
                  <a:pt x="18072" y="12174"/>
                </a:lnTo>
                <a:cubicBezTo>
                  <a:pt x="18053" y="12188"/>
                  <a:pt x="18028" y="12205"/>
                  <a:pt x="18028" y="12205"/>
                </a:cubicBezTo>
                <a:cubicBezTo>
                  <a:pt x="18028" y="12199"/>
                  <a:pt x="18075" y="12166"/>
                  <a:pt x="18078" y="12166"/>
                </a:cubicBezTo>
                <a:cubicBezTo>
                  <a:pt x="18081" y="12166"/>
                  <a:pt x="18078" y="12169"/>
                  <a:pt x="18072" y="12174"/>
                </a:cubicBezTo>
                <a:close/>
                <a:moveTo>
                  <a:pt x="9657" y="12172"/>
                </a:moveTo>
                <a:lnTo>
                  <a:pt x="9657" y="12172"/>
                </a:lnTo>
                <a:cubicBezTo>
                  <a:pt x="9654" y="12174"/>
                  <a:pt x="9261" y="12321"/>
                  <a:pt x="8787" y="12499"/>
                </a:cubicBezTo>
                <a:cubicBezTo>
                  <a:pt x="7922" y="12823"/>
                  <a:pt x="7922" y="12823"/>
                  <a:pt x="7922" y="12823"/>
                </a:cubicBezTo>
                <a:cubicBezTo>
                  <a:pt x="7913" y="12815"/>
                  <a:pt x="7913" y="12815"/>
                  <a:pt x="7913" y="12815"/>
                </a:cubicBezTo>
                <a:cubicBezTo>
                  <a:pt x="7888" y="12790"/>
                  <a:pt x="7453" y="12294"/>
                  <a:pt x="7453" y="12291"/>
                </a:cubicBezTo>
                <a:cubicBezTo>
                  <a:pt x="7459" y="12288"/>
                  <a:pt x="7955" y="12263"/>
                  <a:pt x="8568" y="12241"/>
                </a:cubicBezTo>
                <a:cubicBezTo>
                  <a:pt x="9281" y="12213"/>
                  <a:pt x="9281" y="12213"/>
                  <a:pt x="9281" y="12213"/>
                </a:cubicBezTo>
                <a:cubicBezTo>
                  <a:pt x="9386" y="12194"/>
                  <a:pt x="9386" y="12194"/>
                  <a:pt x="9386" y="12194"/>
                </a:cubicBezTo>
                <a:cubicBezTo>
                  <a:pt x="9461" y="12183"/>
                  <a:pt x="9510" y="12174"/>
                  <a:pt x="9549" y="12172"/>
                </a:cubicBezTo>
                <a:cubicBezTo>
                  <a:pt x="9629" y="12169"/>
                  <a:pt x="9663" y="12169"/>
                  <a:pt x="9657" y="12172"/>
                </a:cubicBezTo>
                <a:close/>
                <a:moveTo>
                  <a:pt x="11637" y="12782"/>
                </a:moveTo>
                <a:lnTo>
                  <a:pt x="11637" y="12782"/>
                </a:lnTo>
                <a:cubicBezTo>
                  <a:pt x="13771" y="13495"/>
                  <a:pt x="13479" y="13395"/>
                  <a:pt x="13476" y="13398"/>
                </a:cubicBezTo>
                <a:cubicBezTo>
                  <a:pt x="13476" y="13398"/>
                  <a:pt x="13382" y="13392"/>
                  <a:pt x="13271" y="13384"/>
                </a:cubicBezTo>
                <a:cubicBezTo>
                  <a:pt x="13160" y="13373"/>
                  <a:pt x="12309" y="13303"/>
                  <a:pt x="11377" y="13226"/>
                </a:cubicBezTo>
                <a:cubicBezTo>
                  <a:pt x="10448" y="13151"/>
                  <a:pt x="9685" y="13087"/>
                  <a:pt x="9685" y="13084"/>
                </a:cubicBezTo>
                <a:cubicBezTo>
                  <a:pt x="9682" y="13084"/>
                  <a:pt x="9707" y="12876"/>
                  <a:pt x="9740" y="12627"/>
                </a:cubicBezTo>
                <a:cubicBezTo>
                  <a:pt x="9774" y="12377"/>
                  <a:pt x="9801" y="12172"/>
                  <a:pt x="9801" y="12172"/>
                </a:cubicBezTo>
                <a:cubicBezTo>
                  <a:pt x="9801" y="12169"/>
                  <a:pt x="9804" y="12169"/>
                  <a:pt x="9804" y="12169"/>
                </a:cubicBezTo>
                <a:cubicBezTo>
                  <a:pt x="9807" y="12169"/>
                  <a:pt x="10633" y="12443"/>
                  <a:pt x="11637" y="12782"/>
                </a:cubicBezTo>
                <a:close/>
                <a:moveTo>
                  <a:pt x="9762" y="12180"/>
                </a:moveTo>
                <a:lnTo>
                  <a:pt x="9762" y="12180"/>
                </a:lnTo>
                <a:cubicBezTo>
                  <a:pt x="9762" y="12194"/>
                  <a:pt x="9646" y="13079"/>
                  <a:pt x="9643" y="13081"/>
                </a:cubicBezTo>
                <a:cubicBezTo>
                  <a:pt x="9643" y="13081"/>
                  <a:pt x="8033" y="12846"/>
                  <a:pt x="8002" y="12840"/>
                </a:cubicBezTo>
                <a:cubicBezTo>
                  <a:pt x="7997" y="12837"/>
                  <a:pt x="7994" y="12837"/>
                  <a:pt x="7994" y="12835"/>
                </a:cubicBezTo>
                <a:cubicBezTo>
                  <a:pt x="7999" y="12832"/>
                  <a:pt x="9751" y="12174"/>
                  <a:pt x="9760" y="12172"/>
                </a:cubicBezTo>
                <a:cubicBezTo>
                  <a:pt x="9762" y="12172"/>
                  <a:pt x="9762" y="12177"/>
                  <a:pt x="9762" y="12180"/>
                </a:cubicBezTo>
                <a:close/>
                <a:moveTo>
                  <a:pt x="16344" y="12202"/>
                </a:moveTo>
                <a:lnTo>
                  <a:pt x="16344" y="12202"/>
                </a:lnTo>
                <a:cubicBezTo>
                  <a:pt x="16347" y="12208"/>
                  <a:pt x="16347" y="12208"/>
                  <a:pt x="16347" y="12208"/>
                </a:cubicBezTo>
                <a:cubicBezTo>
                  <a:pt x="16342" y="12202"/>
                  <a:pt x="16342" y="12202"/>
                  <a:pt x="16342" y="12202"/>
                </a:cubicBezTo>
                <a:cubicBezTo>
                  <a:pt x="16336" y="12197"/>
                  <a:pt x="16333" y="12194"/>
                  <a:pt x="16336" y="12194"/>
                </a:cubicBezTo>
                <a:cubicBezTo>
                  <a:pt x="16339" y="12194"/>
                  <a:pt x="16342" y="12197"/>
                  <a:pt x="16344" y="12202"/>
                </a:cubicBezTo>
                <a:close/>
                <a:moveTo>
                  <a:pt x="15801" y="12768"/>
                </a:moveTo>
                <a:lnTo>
                  <a:pt x="15801" y="12768"/>
                </a:lnTo>
                <a:cubicBezTo>
                  <a:pt x="16367" y="13267"/>
                  <a:pt x="16367" y="13267"/>
                  <a:pt x="16367" y="13267"/>
                </a:cubicBezTo>
                <a:cubicBezTo>
                  <a:pt x="16356" y="13276"/>
                  <a:pt x="16356" y="13276"/>
                  <a:pt x="16356" y="13276"/>
                </a:cubicBezTo>
                <a:cubicBezTo>
                  <a:pt x="16350" y="13278"/>
                  <a:pt x="16342" y="13281"/>
                  <a:pt x="16339" y="13281"/>
                </a:cubicBezTo>
                <a:cubicBezTo>
                  <a:pt x="16333" y="13281"/>
                  <a:pt x="15376" y="12407"/>
                  <a:pt x="15241" y="12277"/>
                </a:cubicBezTo>
                <a:cubicBezTo>
                  <a:pt x="15182" y="12224"/>
                  <a:pt x="15210" y="12247"/>
                  <a:pt x="15801" y="12768"/>
                </a:cubicBezTo>
                <a:close/>
                <a:moveTo>
                  <a:pt x="7361" y="12280"/>
                </a:moveTo>
                <a:lnTo>
                  <a:pt x="7361" y="12280"/>
                </a:lnTo>
                <a:cubicBezTo>
                  <a:pt x="7375" y="12283"/>
                  <a:pt x="7392" y="12288"/>
                  <a:pt x="7395" y="12288"/>
                </a:cubicBezTo>
                <a:cubicBezTo>
                  <a:pt x="7397" y="12291"/>
                  <a:pt x="7420" y="12333"/>
                  <a:pt x="7453" y="12410"/>
                </a:cubicBezTo>
                <a:cubicBezTo>
                  <a:pt x="7514" y="12546"/>
                  <a:pt x="7517" y="12557"/>
                  <a:pt x="7514" y="12552"/>
                </a:cubicBezTo>
                <a:cubicBezTo>
                  <a:pt x="7511" y="12549"/>
                  <a:pt x="7339" y="12291"/>
                  <a:pt x="7331" y="12277"/>
                </a:cubicBezTo>
                <a:cubicBezTo>
                  <a:pt x="7325" y="12272"/>
                  <a:pt x="7328" y="12272"/>
                  <a:pt x="7361" y="12280"/>
                </a:cubicBezTo>
                <a:close/>
                <a:moveTo>
                  <a:pt x="7428" y="12488"/>
                </a:moveTo>
                <a:lnTo>
                  <a:pt x="7428" y="12488"/>
                </a:lnTo>
                <a:cubicBezTo>
                  <a:pt x="7503" y="12602"/>
                  <a:pt x="7564" y="12696"/>
                  <a:pt x="7564" y="12696"/>
                </a:cubicBezTo>
                <a:cubicBezTo>
                  <a:pt x="7564" y="12696"/>
                  <a:pt x="7481" y="12652"/>
                  <a:pt x="7381" y="12593"/>
                </a:cubicBezTo>
                <a:cubicBezTo>
                  <a:pt x="7248" y="12518"/>
                  <a:pt x="7201" y="12488"/>
                  <a:pt x="7201" y="12482"/>
                </a:cubicBezTo>
                <a:cubicBezTo>
                  <a:pt x="7201" y="12474"/>
                  <a:pt x="7284" y="12283"/>
                  <a:pt x="7289" y="12283"/>
                </a:cubicBezTo>
                <a:cubicBezTo>
                  <a:pt x="7289" y="12283"/>
                  <a:pt x="7353" y="12377"/>
                  <a:pt x="7428" y="12488"/>
                </a:cubicBezTo>
                <a:close/>
                <a:moveTo>
                  <a:pt x="17945" y="12319"/>
                </a:moveTo>
                <a:lnTo>
                  <a:pt x="17945" y="12319"/>
                </a:lnTo>
                <a:cubicBezTo>
                  <a:pt x="17945" y="12321"/>
                  <a:pt x="17645" y="12602"/>
                  <a:pt x="17643" y="12599"/>
                </a:cubicBezTo>
                <a:cubicBezTo>
                  <a:pt x="17643" y="12599"/>
                  <a:pt x="17643" y="12585"/>
                  <a:pt x="17643" y="12571"/>
                </a:cubicBezTo>
                <a:cubicBezTo>
                  <a:pt x="17645" y="12541"/>
                  <a:pt x="17645" y="12541"/>
                  <a:pt x="17645" y="12541"/>
                </a:cubicBezTo>
                <a:cubicBezTo>
                  <a:pt x="17795" y="12430"/>
                  <a:pt x="17795" y="12430"/>
                  <a:pt x="17795" y="12430"/>
                </a:cubicBezTo>
                <a:cubicBezTo>
                  <a:pt x="17876" y="12369"/>
                  <a:pt x="17942" y="12316"/>
                  <a:pt x="17942" y="12316"/>
                </a:cubicBezTo>
                <a:cubicBezTo>
                  <a:pt x="17945" y="12316"/>
                  <a:pt x="17945" y="12316"/>
                  <a:pt x="17945" y="12319"/>
                </a:cubicBezTo>
                <a:close/>
                <a:moveTo>
                  <a:pt x="7056" y="12435"/>
                </a:moveTo>
                <a:lnTo>
                  <a:pt x="7056" y="12435"/>
                </a:lnTo>
                <a:cubicBezTo>
                  <a:pt x="7106" y="12471"/>
                  <a:pt x="7145" y="12499"/>
                  <a:pt x="7145" y="12502"/>
                </a:cubicBezTo>
                <a:cubicBezTo>
                  <a:pt x="7145" y="12507"/>
                  <a:pt x="7137" y="12513"/>
                  <a:pt x="7131" y="12510"/>
                </a:cubicBezTo>
                <a:cubicBezTo>
                  <a:pt x="7120" y="12502"/>
                  <a:pt x="6970" y="12380"/>
                  <a:pt x="6965" y="12374"/>
                </a:cubicBezTo>
                <a:cubicBezTo>
                  <a:pt x="6948" y="12360"/>
                  <a:pt x="6970" y="12374"/>
                  <a:pt x="7056" y="12435"/>
                </a:cubicBezTo>
                <a:close/>
                <a:moveTo>
                  <a:pt x="7672" y="12593"/>
                </a:moveTo>
                <a:lnTo>
                  <a:pt x="7672" y="12593"/>
                </a:lnTo>
                <a:cubicBezTo>
                  <a:pt x="7772" y="12710"/>
                  <a:pt x="7855" y="12804"/>
                  <a:pt x="7852" y="12804"/>
                </a:cubicBezTo>
                <a:cubicBezTo>
                  <a:pt x="7847" y="12807"/>
                  <a:pt x="7644" y="12740"/>
                  <a:pt x="7639" y="12738"/>
                </a:cubicBezTo>
                <a:cubicBezTo>
                  <a:pt x="7636" y="12732"/>
                  <a:pt x="7495" y="12419"/>
                  <a:pt x="7483" y="12388"/>
                </a:cubicBezTo>
                <a:cubicBezTo>
                  <a:pt x="7478" y="12374"/>
                  <a:pt x="7464" y="12357"/>
                  <a:pt x="7672" y="12593"/>
                </a:cubicBezTo>
                <a:close/>
                <a:moveTo>
                  <a:pt x="17645" y="12488"/>
                </a:moveTo>
                <a:lnTo>
                  <a:pt x="17645" y="12488"/>
                </a:lnTo>
                <a:cubicBezTo>
                  <a:pt x="17645" y="12488"/>
                  <a:pt x="17643" y="12491"/>
                  <a:pt x="17637" y="12493"/>
                </a:cubicBezTo>
                <a:cubicBezTo>
                  <a:pt x="17631" y="12499"/>
                  <a:pt x="17631" y="12499"/>
                  <a:pt x="17631" y="12499"/>
                </a:cubicBezTo>
                <a:cubicBezTo>
                  <a:pt x="17637" y="12493"/>
                  <a:pt x="17637" y="12493"/>
                  <a:pt x="17637" y="12493"/>
                </a:cubicBezTo>
                <a:cubicBezTo>
                  <a:pt x="17643" y="12488"/>
                  <a:pt x="17645" y="12485"/>
                  <a:pt x="17645" y="12488"/>
                </a:cubicBezTo>
                <a:close/>
                <a:moveTo>
                  <a:pt x="7275" y="12588"/>
                </a:moveTo>
                <a:lnTo>
                  <a:pt x="7275" y="12588"/>
                </a:lnTo>
                <a:cubicBezTo>
                  <a:pt x="7300" y="12607"/>
                  <a:pt x="7320" y="12621"/>
                  <a:pt x="7320" y="12621"/>
                </a:cubicBezTo>
                <a:cubicBezTo>
                  <a:pt x="7317" y="12624"/>
                  <a:pt x="7212" y="12568"/>
                  <a:pt x="7212" y="12566"/>
                </a:cubicBezTo>
                <a:cubicBezTo>
                  <a:pt x="7212" y="12560"/>
                  <a:pt x="7220" y="12554"/>
                  <a:pt x="7223" y="12554"/>
                </a:cubicBezTo>
                <a:cubicBezTo>
                  <a:pt x="7226" y="12557"/>
                  <a:pt x="7248" y="12571"/>
                  <a:pt x="7275" y="12588"/>
                </a:cubicBezTo>
                <a:close/>
                <a:moveTo>
                  <a:pt x="7054" y="12615"/>
                </a:moveTo>
                <a:lnTo>
                  <a:pt x="7054" y="12615"/>
                </a:lnTo>
                <a:cubicBezTo>
                  <a:pt x="7067" y="12624"/>
                  <a:pt x="7067" y="12624"/>
                  <a:pt x="7067" y="12624"/>
                </a:cubicBezTo>
                <a:cubicBezTo>
                  <a:pt x="7056" y="12621"/>
                  <a:pt x="7056" y="12621"/>
                  <a:pt x="7056" y="12621"/>
                </a:cubicBezTo>
                <a:cubicBezTo>
                  <a:pt x="7037" y="12615"/>
                  <a:pt x="7020" y="12604"/>
                  <a:pt x="7020" y="12596"/>
                </a:cubicBezTo>
                <a:cubicBezTo>
                  <a:pt x="7020" y="12593"/>
                  <a:pt x="7029" y="12599"/>
                  <a:pt x="7054" y="12615"/>
                </a:cubicBezTo>
                <a:close/>
                <a:moveTo>
                  <a:pt x="17601" y="12621"/>
                </a:moveTo>
                <a:lnTo>
                  <a:pt x="17601" y="12621"/>
                </a:lnTo>
                <a:cubicBezTo>
                  <a:pt x="17601" y="12643"/>
                  <a:pt x="17601" y="12643"/>
                  <a:pt x="17601" y="12643"/>
                </a:cubicBezTo>
                <a:cubicBezTo>
                  <a:pt x="17548" y="12682"/>
                  <a:pt x="17548" y="12682"/>
                  <a:pt x="17548" y="12682"/>
                </a:cubicBezTo>
                <a:cubicBezTo>
                  <a:pt x="17521" y="12701"/>
                  <a:pt x="17498" y="12718"/>
                  <a:pt x="17498" y="12718"/>
                </a:cubicBezTo>
                <a:cubicBezTo>
                  <a:pt x="17496" y="12718"/>
                  <a:pt x="17521" y="12688"/>
                  <a:pt x="17548" y="12654"/>
                </a:cubicBezTo>
                <a:cubicBezTo>
                  <a:pt x="17579" y="12621"/>
                  <a:pt x="17604" y="12596"/>
                  <a:pt x="17604" y="12596"/>
                </a:cubicBezTo>
                <a:cubicBezTo>
                  <a:pt x="17604" y="12599"/>
                  <a:pt x="17604" y="12610"/>
                  <a:pt x="17601" y="12621"/>
                </a:cubicBezTo>
                <a:close/>
                <a:moveTo>
                  <a:pt x="7275" y="12646"/>
                </a:moveTo>
                <a:lnTo>
                  <a:pt x="7275" y="12646"/>
                </a:lnTo>
                <a:cubicBezTo>
                  <a:pt x="7345" y="12688"/>
                  <a:pt x="7359" y="12696"/>
                  <a:pt x="7345" y="12693"/>
                </a:cubicBezTo>
                <a:cubicBezTo>
                  <a:pt x="7339" y="12690"/>
                  <a:pt x="7309" y="12685"/>
                  <a:pt x="7273" y="12676"/>
                </a:cubicBezTo>
                <a:cubicBezTo>
                  <a:pt x="7237" y="12668"/>
                  <a:pt x="7206" y="12663"/>
                  <a:pt x="7203" y="12663"/>
                </a:cubicBezTo>
                <a:cubicBezTo>
                  <a:pt x="7201" y="12660"/>
                  <a:pt x="7201" y="12604"/>
                  <a:pt x="7203" y="12604"/>
                </a:cubicBezTo>
                <a:cubicBezTo>
                  <a:pt x="7203" y="12604"/>
                  <a:pt x="7237" y="12624"/>
                  <a:pt x="7275" y="12646"/>
                </a:cubicBezTo>
                <a:close/>
                <a:moveTo>
                  <a:pt x="17490" y="12668"/>
                </a:moveTo>
                <a:lnTo>
                  <a:pt x="17490" y="12668"/>
                </a:lnTo>
                <a:cubicBezTo>
                  <a:pt x="17487" y="12674"/>
                  <a:pt x="17462" y="12701"/>
                  <a:pt x="17440" y="12729"/>
                </a:cubicBezTo>
                <a:cubicBezTo>
                  <a:pt x="17415" y="12757"/>
                  <a:pt x="17393" y="12782"/>
                  <a:pt x="17393" y="12782"/>
                </a:cubicBezTo>
                <a:cubicBezTo>
                  <a:pt x="17390" y="12782"/>
                  <a:pt x="17390" y="12776"/>
                  <a:pt x="17390" y="12765"/>
                </a:cubicBezTo>
                <a:cubicBezTo>
                  <a:pt x="17393" y="12757"/>
                  <a:pt x="17393" y="12746"/>
                  <a:pt x="17393" y="12740"/>
                </a:cubicBezTo>
                <a:cubicBezTo>
                  <a:pt x="17393" y="12738"/>
                  <a:pt x="17410" y="12721"/>
                  <a:pt x="17443" y="12699"/>
                </a:cubicBezTo>
                <a:cubicBezTo>
                  <a:pt x="17490" y="12660"/>
                  <a:pt x="17504" y="12652"/>
                  <a:pt x="17490" y="12668"/>
                </a:cubicBezTo>
                <a:close/>
                <a:moveTo>
                  <a:pt x="17349" y="12721"/>
                </a:moveTo>
                <a:lnTo>
                  <a:pt x="17349" y="12721"/>
                </a:lnTo>
                <a:cubicBezTo>
                  <a:pt x="17346" y="12724"/>
                  <a:pt x="17343" y="12726"/>
                  <a:pt x="17340" y="12726"/>
                </a:cubicBezTo>
                <a:cubicBezTo>
                  <a:pt x="17337" y="12726"/>
                  <a:pt x="17340" y="12724"/>
                  <a:pt x="17340" y="12721"/>
                </a:cubicBezTo>
                <a:cubicBezTo>
                  <a:pt x="17343" y="12718"/>
                  <a:pt x="17349" y="12715"/>
                  <a:pt x="17349" y="12715"/>
                </a:cubicBezTo>
                <a:cubicBezTo>
                  <a:pt x="17351" y="12715"/>
                  <a:pt x="17351" y="12718"/>
                  <a:pt x="17349" y="12721"/>
                </a:cubicBezTo>
                <a:close/>
                <a:moveTo>
                  <a:pt x="7594" y="12757"/>
                </a:moveTo>
                <a:lnTo>
                  <a:pt x="7594" y="12757"/>
                </a:lnTo>
                <a:cubicBezTo>
                  <a:pt x="7597" y="12760"/>
                  <a:pt x="7594" y="12760"/>
                  <a:pt x="7589" y="12757"/>
                </a:cubicBezTo>
                <a:cubicBezTo>
                  <a:pt x="7578" y="12757"/>
                  <a:pt x="7528" y="12724"/>
                  <a:pt x="7528" y="12721"/>
                </a:cubicBezTo>
                <a:cubicBezTo>
                  <a:pt x="7528" y="12718"/>
                  <a:pt x="7592" y="12751"/>
                  <a:pt x="7594" y="12757"/>
                </a:cubicBezTo>
                <a:close/>
                <a:moveTo>
                  <a:pt x="7409" y="12743"/>
                </a:moveTo>
                <a:lnTo>
                  <a:pt x="7409" y="12743"/>
                </a:lnTo>
                <a:cubicBezTo>
                  <a:pt x="7450" y="12751"/>
                  <a:pt x="7450" y="12751"/>
                  <a:pt x="7450" y="12751"/>
                </a:cubicBezTo>
                <a:cubicBezTo>
                  <a:pt x="7533" y="12798"/>
                  <a:pt x="7533" y="12798"/>
                  <a:pt x="7533" y="12798"/>
                </a:cubicBezTo>
                <a:cubicBezTo>
                  <a:pt x="7581" y="12826"/>
                  <a:pt x="7617" y="12846"/>
                  <a:pt x="7614" y="12848"/>
                </a:cubicBezTo>
                <a:cubicBezTo>
                  <a:pt x="7614" y="12851"/>
                  <a:pt x="7364" y="12738"/>
                  <a:pt x="7359" y="12732"/>
                </a:cubicBezTo>
                <a:cubicBezTo>
                  <a:pt x="7356" y="12732"/>
                  <a:pt x="7356" y="12729"/>
                  <a:pt x="7361" y="12732"/>
                </a:cubicBezTo>
                <a:cubicBezTo>
                  <a:pt x="7364" y="12732"/>
                  <a:pt x="7386" y="12738"/>
                  <a:pt x="7409" y="12743"/>
                </a:cubicBezTo>
                <a:close/>
                <a:moveTo>
                  <a:pt x="17354" y="12785"/>
                </a:moveTo>
                <a:lnTo>
                  <a:pt x="17354" y="12785"/>
                </a:lnTo>
                <a:cubicBezTo>
                  <a:pt x="17354" y="12796"/>
                  <a:pt x="17351" y="12812"/>
                  <a:pt x="17349" y="12821"/>
                </a:cubicBezTo>
                <a:cubicBezTo>
                  <a:pt x="17346" y="12832"/>
                  <a:pt x="17346" y="12832"/>
                  <a:pt x="17346" y="12832"/>
                </a:cubicBezTo>
                <a:cubicBezTo>
                  <a:pt x="17207" y="12896"/>
                  <a:pt x="17207" y="12896"/>
                  <a:pt x="17207" y="12896"/>
                </a:cubicBezTo>
                <a:cubicBezTo>
                  <a:pt x="17071" y="12959"/>
                  <a:pt x="17043" y="12970"/>
                  <a:pt x="17052" y="12965"/>
                </a:cubicBezTo>
                <a:cubicBezTo>
                  <a:pt x="17055" y="12962"/>
                  <a:pt x="17077" y="12948"/>
                  <a:pt x="17104" y="12929"/>
                </a:cubicBezTo>
                <a:cubicBezTo>
                  <a:pt x="17132" y="12912"/>
                  <a:pt x="17199" y="12868"/>
                  <a:pt x="17251" y="12832"/>
                </a:cubicBezTo>
                <a:cubicBezTo>
                  <a:pt x="17307" y="12796"/>
                  <a:pt x="17351" y="12765"/>
                  <a:pt x="17354" y="12765"/>
                </a:cubicBezTo>
                <a:cubicBezTo>
                  <a:pt x="17354" y="12765"/>
                  <a:pt x="17354" y="12774"/>
                  <a:pt x="17354" y="12785"/>
                </a:cubicBezTo>
                <a:close/>
                <a:moveTo>
                  <a:pt x="17166" y="12843"/>
                </a:moveTo>
                <a:lnTo>
                  <a:pt x="17166" y="12843"/>
                </a:lnTo>
                <a:cubicBezTo>
                  <a:pt x="17160" y="12846"/>
                  <a:pt x="17154" y="12848"/>
                  <a:pt x="17154" y="12848"/>
                </a:cubicBezTo>
                <a:cubicBezTo>
                  <a:pt x="17152" y="12846"/>
                  <a:pt x="17154" y="12843"/>
                  <a:pt x="17157" y="12840"/>
                </a:cubicBezTo>
                <a:cubicBezTo>
                  <a:pt x="17168" y="12832"/>
                  <a:pt x="17174" y="12832"/>
                  <a:pt x="17166" y="12843"/>
                </a:cubicBezTo>
                <a:close/>
                <a:moveTo>
                  <a:pt x="7802" y="12873"/>
                </a:moveTo>
                <a:lnTo>
                  <a:pt x="7802" y="12873"/>
                </a:lnTo>
                <a:cubicBezTo>
                  <a:pt x="7863" y="12890"/>
                  <a:pt x="7916" y="12907"/>
                  <a:pt x="7919" y="12907"/>
                </a:cubicBezTo>
                <a:cubicBezTo>
                  <a:pt x="7922" y="12907"/>
                  <a:pt x="7922" y="12918"/>
                  <a:pt x="7922" y="12945"/>
                </a:cubicBezTo>
                <a:cubicBezTo>
                  <a:pt x="7922" y="12965"/>
                  <a:pt x="7922" y="12982"/>
                  <a:pt x="7922" y="12982"/>
                </a:cubicBezTo>
                <a:cubicBezTo>
                  <a:pt x="7916" y="12982"/>
                  <a:pt x="7689" y="12848"/>
                  <a:pt x="7683" y="12843"/>
                </a:cubicBezTo>
                <a:cubicBezTo>
                  <a:pt x="7678" y="12837"/>
                  <a:pt x="7678" y="12837"/>
                  <a:pt x="7678" y="12837"/>
                </a:cubicBezTo>
                <a:cubicBezTo>
                  <a:pt x="7683" y="12840"/>
                  <a:pt x="7683" y="12840"/>
                  <a:pt x="7683" y="12840"/>
                </a:cubicBezTo>
                <a:cubicBezTo>
                  <a:pt x="7689" y="12840"/>
                  <a:pt x="7741" y="12857"/>
                  <a:pt x="7802" y="12873"/>
                </a:cubicBezTo>
                <a:close/>
                <a:moveTo>
                  <a:pt x="7977" y="12871"/>
                </a:moveTo>
                <a:lnTo>
                  <a:pt x="7977" y="12871"/>
                </a:lnTo>
                <a:cubicBezTo>
                  <a:pt x="8022" y="12879"/>
                  <a:pt x="8038" y="12882"/>
                  <a:pt x="8019" y="12882"/>
                </a:cubicBezTo>
                <a:cubicBezTo>
                  <a:pt x="7999" y="12882"/>
                  <a:pt x="7941" y="12873"/>
                  <a:pt x="7927" y="12871"/>
                </a:cubicBezTo>
                <a:cubicBezTo>
                  <a:pt x="7908" y="12862"/>
                  <a:pt x="7922" y="12862"/>
                  <a:pt x="7977" y="12871"/>
                </a:cubicBezTo>
                <a:close/>
                <a:moveTo>
                  <a:pt x="17124" y="12876"/>
                </a:moveTo>
                <a:lnTo>
                  <a:pt x="17124" y="12876"/>
                </a:lnTo>
                <a:cubicBezTo>
                  <a:pt x="17121" y="12876"/>
                  <a:pt x="17113" y="12884"/>
                  <a:pt x="17102" y="12890"/>
                </a:cubicBezTo>
                <a:cubicBezTo>
                  <a:pt x="17080" y="12904"/>
                  <a:pt x="17080" y="12901"/>
                  <a:pt x="17102" y="12882"/>
                </a:cubicBezTo>
                <a:cubicBezTo>
                  <a:pt x="17118" y="12871"/>
                  <a:pt x="17124" y="12868"/>
                  <a:pt x="17124" y="12876"/>
                </a:cubicBezTo>
                <a:close/>
                <a:moveTo>
                  <a:pt x="9139" y="13106"/>
                </a:moveTo>
                <a:lnTo>
                  <a:pt x="9139" y="13106"/>
                </a:lnTo>
                <a:cubicBezTo>
                  <a:pt x="9782" y="13212"/>
                  <a:pt x="10312" y="13298"/>
                  <a:pt x="10314" y="13298"/>
                </a:cubicBezTo>
                <a:cubicBezTo>
                  <a:pt x="10317" y="13298"/>
                  <a:pt x="10309" y="13298"/>
                  <a:pt x="10295" y="13298"/>
                </a:cubicBezTo>
                <a:cubicBezTo>
                  <a:pt x="10265" y="13295"/>
                  <a:pt x="7963" y="13001"/>
                  <a:pt x="7961" y="13001"/>
                </a:cubicBezTo>
                <a:cubicBezTo>
                  <a:pt x="7961" y="12998"/>
                  <a:pt x="7958" y="12929"/>
                  <a:pt x="7961" y="12918"/>
                </a:cubicBezTo>
                <a:cubicBezTo>
                  <a:pt x="7961" y="12918"/>
                  <a:pt x="7963" y="12915"/>
                  <a:pt x="7966" y="12915"/>
                </a:cubicBezTo>
                <a:cubicBezTo>
                  <a:pt x="7969" y="12915"/>
                  <a:pt x="8496" y="13001"/>
                  <a:pt x="9139" y="13106"/>
                </a:cubicBezTo>
                <a:close/>
                <a:moveTo>
                  <a:pt x="7658" y="12932"/>
                </a:moveTo>
                <a:lnTo>
                  <a:pt x="7658" y="12932"/>
                </a:lnTo>
                <a:cubicBezTo>
                  <a:pt x="7661" y="12932"/>
                  <a:pt x="7655" y="12932"/>
                  <a:pt x="7650" y="12932"/>
                </a:cubicBezTo>
                <a:cubicBezTo>
                  <a:pt x="7642" y="12929"/>
                  <a:pt x="7636" y="12926"/>
                  <a:pt x="7636" y="12923"/>
                </a:cubicBezTo>
                <a:cubicBezTo>
                  <a:pt x="7633" y="12921"/>
                  <a:pt x="7636" y="12921"/>
                  <a:pt x="7644" y="12923"/>
                </a:cubicBezTo>
                <a:cubicBezTo>
                  <a:pt x="7650" y="12926"/>
                  <a:pt x="7655" y="12929"/>
                  <a:pt x="7658" y="12932"/>
                </a:cubicBezTo>
                <a:close/>
                <a:moveTo>
                  <a:pt x="17171" y="12957"/>
                </a:moveTo>
                <a:lnTo>
                  <a:pt x="17171" y="12957"/>
                </a:lnTo>
                <a:cubicBezTo>
                  <a:pt x="17168" y="12957"/>
                  <a:pt x="17143" y="12973"/>
                  <a:pt x="17116" y="12993"/>
                </a:cubicBezTo>
                <a:cubicBezTo>
                  <a:pt x="17063" y="13029"/>
                  <a:pt x="17063" y="13029"/>
                  <a:pt x="17063" y="13029"/>
                </a:cubicBezTo>
                <a:cubicBezTo>
                  <a:pt x="17016" y="13040"/>
                  <a:pt x="17016" y="13040"/>
                  <a:pt x="17016" y="13040"/>
                </a:cubicBezTo>
                <a:cubicBezTo>
                  <a:pt x="16988" y="13045"/>
                  <a:pt x="16966" y="13048"/>
                  <a:pt x="16966" y="13048"/>
                </a:cubicBezTo>
                <a:cubicBezTo>
                  <a:pt x="16966" y="13045"/>
                  <a:pt x="17163" y="12954"/>
                  <a:pt x="17168" y="12954"/>
                </a:cubicBezTo>
                <a:cubicBezTo>
                  <a:pt x="17171" y="12954"/>
                  <a:pt x="17171" y="12954"/>
                  <a:pt x="17171" y="12957"/>
                </a:cubicBezTo>
                <a:close/>
                <a:moveTo>
                  <a:pt x="8992" y="13020"/>
                </a:moveTo>
                <a:lnTo>
                  <a:pt x="8992" y="13020"/>
                </a:lnTo>
                <a:cubicBezTo>
                  <a:pt x="9031" y="13026"/>
                  <a:pt x="9062" y="13031"/>
                  <a:pt x="9059" y="13034"/>
                </a:cubicBezTo>
                <a:cubicBezTo>
                  <a:pt x="9053" y="13034"/>
                  <a:pt x="8890" y="13012"/>
                  <a:pt x="8890" y="13009"/>
                </a:cubicBezTo>
                <a:cubicBezTo>
                  <a:pt x="8887" y="13007"/>
                  <a:pt x="8901" y="13009"/>
                  <a:pt x="8992" y="13020"/>
                </a:cubicBezTo>
                <a:close/>
                <a:moveTo>
                  <a:pt x="9084" y="13037"/>
                </a:moveTo>
                <a:lnTo>
                  <a:pt x="9084" y="13037"/>
                </a:lnTo>
                <a:cubicBezTo>
                  <a:pt x="9078" y="13037"/>
                  <a:pt x="9073" y="13037"/>
                  <a:pt x="9070" y="13037"/>
                </a:cubicBezTo>
                <a:cubicBezTo>
                  <a:pt x="9067" y="13034"/>
                  <a:pt x="9070" y="13034"/>
                  <a:pt x="9076" y="13034"/>
                </a:cubicBezTo>
                <a:cubicBezTo>
                  <a:pt x="9084" y="13034"/>
                  <a:pt x="9087" y="13034"/>
                  <a:pt x="9084" y="13037"/>
                </a:cubicBezTo>
                <a:close/>
                <a:moveTo>
                  <a:pt x="9109" y="13040"/>
                </a:moveTo>
                <a:lnTo>
                  <a:pt x="9109" y="13040"/>
                </a:lnTo>
                <a:cubicBezTo>
                  <a:pt x="9106" y="13040"/>
                  <a:pt x="9101" y="13040"/>
                  <a:pt x="9095" y="13040"/>
                </a:cubicBezTo>
                <a:cubicBezTo>
                  <a:pt x="9092" y="13040"/>
                  <a:pt x="9095" y="13037"/>
                  <a:pt x="9103" y="13037"/>
                </a:cubicBezTo>
                <a:cubicBezTo>
                  <a:pt x="9109" y="13037"/>
                  <a:pt x="9112" y="13040"/>
                  <a:pt x="9109" y="13040"/>
                </a:cubicBezTo>
                <a:close/>
                <a:moveTo>
                  <a:pt x="16841" y="13043"/>
                </a:moveTo>
                <a:lnTo>
                  <a:pt x="16841" y="13043"/>
                </a:lnTo>
                <a:cubicBezTo>
                  <a:pt x="16835" y="13051"/>
                  <a:pt x="16802" y="13076"/>
                  <a:pt x="16799" y="13076"/>
                </a:cubicBezTo>
                <a:cubicBezTo>
                  <a:pt x="16791" y="13076"/>
                  <a:pt x="16802" y="13065"/>
                  <a:pt x="16822" y="13054"/>
                </a:cubicBezTo>
                <a:cubicBezTo>
                  <a:pt x="16847" y="13037"/>
                  <a:pt x="16849" y="13034"/>
                  <a:pt x="16841" y="13043"/>
                </a:cubicBezTo>
                <a:close/>
                <a:moveTo>
                  <a:pt x="9134" y="13043"/>
                </a:moveTo>
                <a:lnTo>
                  <a:pt x="9134" y="13043"/>
                </a:lnTo>
                <a:cubicBezTo>
                  <a:pt x="9131" y="13045"/>
                  <a:pt x="9126" y="13045"/>
                  <a:pt x="9123" y="13043"/>
                </a:cubicBezTo>
                <a:cubicBezTo>
                  <a:pt x="9120" y="13043"/>
                  <a:pt x="9123" y="13043"/>
                  <a:pt x="9128" y="13043"/>
                </a:cubicBezTo>
                <a:cubicBezTo>
                  <a:pt x="9137" y="13043"/>
                  <a:pt x="9139" y="13043"/>
                  <a:pt x="9134" y="13043"/>
                </a:cubicBezTo>
                <a:close/>
                <a:moveTo>
                  <a:pt x="9159" y="13048"/>
                </a:moveTo>
                <a:lnTo>
                  <a:pt x="9159" y="13048"/>
                </a:lnTo>
                <a:cubicBezTo>
                  <a:pt x="9156" y="13048"/>
                  <a:pt x="9150" y="13048"/>
                  <a:pt x="9148" y="13048"/>
                </a:cubicBezTo>
                <a:cubicBezTo>
                  <a:pt x="9145" y="13045"/>
                  <a:pt x="9148" y="13045"/>
                  <a:pt x="9153" y="13045"/>
                </a:cubicBezTo>
                <a:cubicBezTo>
                  <a:pt x="9159" y="13045"/>
                  <a:pt x="9162" y="13045"/>
                  <a:pt x="9159" y="13048"/>
                </a:cubicBezTo>
                <a:close/>
                <a:moveTo>
                  <a:pt x="9184" y="13051"/>
                </a:moveTo>
                <a:lnTo>
                  <a:pt x="9184" y="13051"/>
                </a:lnTo>
                <a:cubicBezTo>
                  <a:pt x="9184" y="13054"/>
                  <a:pt x="9178" y="13054"/>
                  <a:pt x="9173" y="13051"/>
                </a:cubicBezTo>
                <a:cubicBezTo>
                  <a:pt x="9170" y="13051"/>
                  <a:pt x="9173" y="13048"/>
                  <a:pt x="9178" y="13048"/>
                </a:cubicBezTo>
                <a:cubicBezTo>
                  <a:pt x="9184" y="13048"/>
                  <a:pt x="9187" y="13051"/>
                  <a:pt x="9184" y="13051"/>
                </a:cubicBezTo>
                <a:close/>
                <a:moveTo>
                  <a:pt x="9212" y="13054"/>
                </a:moveTo>
                <a:lnTo>
                  <a:pt x="9212" y="13054"/>
                </a:lnTo>
                <a:cubicBezTo>
                  <a:pt x="9209" y="13056"/>
                  <a:pt x="9203" y="13056"/>
                  <a:pt x="9200" y="13054"/>
                </a:cubicBezTo>
                <a:cubicBezTo>
                  <a:pt x="9195" y="13054"/>
                  <a:pt x="9198" y="13054"/>
                  <a:pt x="9203" y="13054"/>
                </a:cubicBezTo>
                <a:cubicBezTo>
                  <a:pt x="9212" y="13054"/>
                  <a:pt x="9214" y="13054"/>
                  <a:pt x="9212" y="13054"/>
                </a:cubicBezTo>
                <a:close/>
                <a:moveTo>
                  <a:pt x="9236" y="13059"/>
                </a:moveTo>
                <a:lnTo>
                  <a:pt x="9236" y="13059"/>
                </a:lnTo>
                <a:cubicBezTo>
                  <a:pt x="9234" y="13059"/>
                  <a:pt x="9228" y="13059"/>
                  <a:pt x="9225" y="13059"/>
                </a:cubicBezTo>
                <a:cubicBezTo>
                  <a:pt x="9223" y="13056"/>
                  <a:pt x="9225" y="13056"/>
                  <a:pt x="9231" y="13056"/>
                </a:cubicBezTo>
                <a:cubicBezTo>
                  <a:pt x="9236" y="13056"/>
                  <a:pt x="9239" y="13056"/>
                  <a:pt x="9236" y="13059"/>
                </a:cubicBezTo>
                <a:close/>
                <a:moveTo>
                  <a:pt x="9259" y="13062"/>
                </a:moveTo>
                <a:lnTo>
                  <a:pt x="9259" y="13062"/>
                </a:lnTo>
                <a:cubicBezTo>
                  <a:pt x="9256" y="13062"/>
                  <a:pt x="9253" y="13062"/>
                  <a:pt x="9250" y="13062"/>
                </a:cubicBezTo>
                <a:cubicBezTo>
                  <a:pt x="9248" y="13062"/>
                  <a:pt x="9250" y="13059"/>
                  <a:pt x="9253" y="13059"/>
                </a:cubicBezTo>
                <a:cubicBezTo>
                  <a:pt x="9259" y="13059"/>
                  <a:pt x="9261" y="13062"/>
                  <a:pt x="9259" y="13062"/>
                </a:cubicBezTo>
                <a:close/>
                <a:moveTo>
                  <a:pt x="16769" y="13093"/>
                </a:moveTo>
                <a:lnTo>
                  <a:pt x="16769" y="13093"/>
                </a:lnTo>
                <a:cubicBezTo>
                  <a:pt x="16769" y="13098"/>
                  <a:pt x="16747" y="13106"/>
                  <a:pt x="16719" y="13117"/>
                </a:cubicBezTo>
                <a:cubicBezTo>
                  <a:pt x="16700" y="13123"/>
                  <a:pt x="16702" y="13120"/>
                  <a:pt x="16733" y="13104"/>
                </a:cubicBezTo>
                <a:cubicBezTo>
                  <a:pt x="16761" y="13090"/>
                  <a:pt x="16769" y="13087"/>
                  <a:pt x="16769" y="13093"/>
                </a:cubicBezTo>
                <a:close/>
                <a:moveTo>
                  <a:pt x="16863" y="13112"/>
                </a:moveTo>
                <a:lnTo>
                  <a:pt x="16863" y="13112"/>
                </a:lnTo>
                <a:cubicBezTo>
                  <a:pt x="16849" y="13120"/>
                  <a:pt x="16705" y="13178"/>
                  <a:pt x="16705" y="13176"/>
                </a:cubicBezTo>
                <a:cubicBezTo>
                  <a:pt x="16705" y="13176"/>
                  <a:pt x="16727" y="13165"/>
                  <a:pt x="16752" y="13148"/>
                </a:cubicBezTo>
                <a:cubicBezTo>
                  <a:pt x="16788" y="13129"/>
                  <a:pt x="16808" y="13120"/>
                  <a:pt x="16830" y="13115"/>
                </a:cubicBezTo>
                <a:cubicBezTo>
                  <a:pt x="16863" y="13106"/>
                  <a:pt x="16871" y="13106"/>
                  <a:pt x="16863" y="13112"/>
                </a:cubicBezTo>
                <a:close/>
                <a:moveTo>
                  <a:pt x="10223" y="13167"/>
                </a:moveTo>
                <a:lnTo>
                  <a:pt x="10223" y="13167"/>
                </a:lnTo>
                <a:cubicBezTo>
                  <a:pt x="10722" y="13209"/>
                  <a:pt x="10722" y="13209"/>
                  <a:pt x="10722" y="13209"/>
                </a:cubicBezTo>
                <a:cubicBezTo>
                  <a:pt x="10739" y="13217"/>
                  <a:pt x="10739" y="13217"/>
                  <a:pt x="10739" y="13217"/>
                </a:cubicBezTo>
                <a:cubicBezTo>
                  <a:pt x="10747" y="13223"/>
                  <a:pt x="10753" y="13228"/>
                  <a:pt x="10750" y="13228"/>
                </a:cubicBezTo>
                <a:cubicBezTo>
                  <a:pt x="10747" y="13228"/>
                  <a:pt x="10578" y="13217"/>
                  <a:pt x="10373" y="13201"/>
                </a:cubicBezTo>
                <a:cubicBezTo>
                  <a:pt x="9998" y="13170"/>
                  <a:pt x="9998" y="13170"/>
                  <a:pt x="9998" y="13170"/>
                </a:cubicBezTo>
                <a:cubicBezTo>
                  <a:pt x="9843" y="13148"/>
                  <a:pt x="9843" y="13148"/>
                  <a:pt x="9843" y="13148"/>
                </a:cubicBezTo>
                <a:cubicBezTo>
                  <a:pt x="9757" y="13137"/>
                  <a:pt x="9688" y="13126"/>
                  <a:pt x="9688" y="13123"/>
                </a:cubicBezTo>
                <a:cubicBezTo>
                  <a:pt x="9685" y="13123"/>
                  <a:pt x="9693" y="13123"/>
                  <a:pt x="9704" y="13123"/>
                </a:cubicBezTo>
                <a:cubicBezTo>
                  <a:pt x="9715" y="13126"/>
                  <a:pt x="9948" y="13145"/>
                  <a:pt x="10223" y="13167"/>
                </a:cubicBezTo>
                <a:close/>
                <a:moveTo>
                  <a:pt x="16824" y="13170"/>
                </a:moveTo>
                <a:lnTo>
                  <a:pt x="16824" y="13170"/>
                </a:lnTo>
                <a:cubicBezTo>
                  <a:pt x="16816" y="13178"/>
                  <a:pt x="16430" y="13403"/>
                  <a:pt x="16430" y="13403"/>
                </a:cubicBezTo>
                <a:cubicBezTo>
                  <a:pt x="16428" y="13400"/>
                  <a:pt x="16428" y="13384"/>
                  <a:pt x="16430" y="13364"/>
                </a:cubicBezTo>
                <a:cubicBezTo>
                  <a:pt x="16433" y="13331"/>
                  <a:pt x="16433" y="13331"/>
                  <a:pt x="16433" y="13331"/>
                </a:cubicBezTo>
                <a:cubicBezTo>
                  <a:pt x="16627" y="13248"/>
                  <a:pt x="16627" y="13248"/>
                  <a:pt x="16627" y="13248"/>
                </a:cubicBezTo>
                <a:cubicBezTo>
                  <a:pt x="16736" y="13203"/>
                  <a:pt x="16824" y="13167"/>
                  <a:pt x="16824" y="13167"/>
                </a:cubicBezTo>
                <a:cubicBezTo>
                  <a:pt x="16827" y="13167"/>
                  <a:pt x="16827" y="13167"/>
                  <a:pt x="16824" y="13170"/>
                </a:cubicBezTo>
                <a:close/>
                <a:moveTo>
                  <a:pt x="9990" y="13206"/>
                </a:moveTo>
                <a:lnTo>
                  <a:pt x="9990" y="13206"/>
                </a:lnTo>
                <a:cubicBezTo>
                  <a:pt x="9987" y="13206"/>
                  <a:pt x="9984" y="13206"/>
                  <a:pt x="9982" y="13206"/>
                </a:cubicBezTo>
                <a:cubicBezTo>
                  <a:pt x="9979" y="13206"/>
                  <a:pt x="9982" y="13203"/>
                  <a:pt x="9984" y="13203"/>
                </a:cubicBezTo>
                <a:cubicBezTo>
                  <a:pt x="9990" y="13203"/>
                  <a:pt x="9993" y="13206"/>
                  <a:pt x="9990" y="13206"/>
                </a:cubicBezTo>
                <a:close/>
                <a:moveTo>
                  <a:pt x="10012" y="13209"/>
                </a:moveTo>
                <a:lnTo>
                  <a:pt x="10012" y="13209"/>
                </a:lnTo>
                <a:cubicBezTo>
                  <a:pt x="10009" y="13212"/>
                  <a:pt x="10007" y="13212"/>
                  <a:pt x="10004" y="13209"/>
                </a:cubicBezTo>
                <a:cubicBezTo>
                  <a:pt x="10001" y="13209"/>
                  <a:pt x="10004" y="13209"/>
                  <a:pt x="10007" y="13209"/>
                </a:cubicBezTo>
                <a:cubicBezTo>
                  <a:pt x="10012" y="13209"/>
                  <a:pt x="10015" y="13209"/>
                  <a:pt x="10012" y="13209"/>
                </a:cubicBezTo>
                <a:close/>
                <a:moveTo>
                  <a:pt x="10894" y="13223"/>
                </a:moveTo>
                <a:lnTo>
                  <a:pt x="10894" y="13223"/>
                </a:lnTo>
                <a:cubicBezTo>
                  <a:pt x="10941" y="13226"/>
                  <a:pt x="10980" y="13231"/>
                  <a:pt x="10983" y="13231"/>
                </a:cubicBezTo>
                <a:cubicBezTo>
                  <a:pt x="10988" y="13231"/>
                  <a:pt x="10988" y="13234"/>
                  <a:pt x="10983" y="13242"/>
                </a:cubicBezTo>
                <a:cubicBezTo>
                  <a:pt x="10977" y="13248"/>
                  <a:pt x="10977" y="13248"/>
                  <a:pt x="10977" y="13248"/>
                </a:cubicBezTo>
                <a:cubicBezTo>
                  <a:pt x="10902" y="13242"/>
                  <a:pt x="10902" y="13242"/>
                  <a:pt x="10902" y="13242"/>
                </a:cubicBezTo>
                <a:cubicBezTo>
                  <a:pt x="10828" y="13237"/>
                  <a:pt x="10828" y="13237"/>
                  <a:pt x="10828" y="13237"/>
                </a:cubicBezTo>
                <a:cubicBezTo>
                  <a:pt x="10814" y="13226"/>
                  <a:pt x="10814" y="13226"/>
                  <a:pt x="10814" y="13226"/>
                </a:cubicBezTo>
                <a:cubicBezTo>
                  <a:pt x="10805" y="13223"/>
                  <a:pt x="10800" y="13217"/>
                  <a:pt x="10800" y="13217"/>
                </a:cubicBezTo>
                <a:cubicBezTo>
                  <a:pt x="10800" y="13215"/>
                  <a:pt x="10808" y="13215"/>
                  <a:pt x="10894" y="13223"/>
                </a:cubicBezTo>
                <a:close/>
                <a:moveTo>
                  <a:pt x="11188" y="13248"/>
                </a:moveTo>
                <a:lnTo>
                  <a:pt x="11188" y="13248"/>
                </a:lnTo>
                <a:cubicBezTo>
                  <a:pt x="11360" y="13262"/>
                  <a:pt x="11965" y="13323"/>
                  <a:pt x="11901" y="13320"/>
                </a:cubicBezTo>
                <a:cubicBezTo>
                  <a:pt x="11848" y="13317"/>
                  <a:pt x="11024" y="13251"/>
                  <a:pt x="11022" y="13251"/>
                </a:cubicBezTo>
                <a:cubicBezTo>
                  <a:pt x="11019" y="13248"/>
                  <a:pt x="11027" y="13234"/>
                  <a:pt x="11030" y="13234"/>
                </a:cubicBezTo>
                <a:cubicBezTo>
                  <a:pt x="11033" y="13234"/>
                  <a:pt x="11102" y="13239"/>
                  <a:pt x="11188" y="13248"/>
                </a:cubicBezTo>
                <a:close/>
                <a:moveTo>
                  <a:pt x="16489" y="13256"/>
                </a:moveTo>
                <a:lnTo>
                  <a:pt x="16489" y="13256"/>
                </a:lnTo>
                <a:cubicBezTo>
                  <a:pt x="16483" y="13259"/>
                  <a:pt x="16433" y="13289"/>
                  <a:pt x="16428" y="13289"/>
                </a:cubicBezTo>
                <a:cubicBezTo>
                  <a:pt x="16425" y="13289"/>
                  <a:pt x="16422" y="13289"/>
                  <a:pt x="16422" y="13287"/>
                </a:cubicBezTo>
                <a:cubicBezTo>
                  <a:pt x="16422" y="13284"/>
                  <a:pt x="16436" y="13276"/>
                  <a:pt x="16455" y="13267"/>
                </a:cubicBezTo>
                <a:cubicBezTo>
                  <a:pt x="16491" y="13251"/>
                  <a:pt x="16494" y="13251"/>
                  <a:pt x="16489" y="13256"/>
                </a:cubicBezTo>
                <a:close/>
                <a:moveTo>
                  <a:pt x="11671" y="13395"/>
                </a:moveTo>
                <a:lnTo>
                  <a:pt x="11671" y="13395"/>
                </a:lnTo>
                <a:cubicBezTo>
                  <a:pt x="12300" y="13467"/>
                  <a:pt x="12825" y="13528"/>
                  <a:pt x="12841" y="13528"/>
                </a:cubicBezTo>
                <a:cubicBezTo>
                  <a:pt x="12869" y="13531"/>
                  <a:pt x="12869" y="13531"/>
                  <a:pt x="12869" y="13531"/>
                </a:cubicBezTo>
                <a:cubicBezTo>
                  <a:pt x="12852" y="13533"/>
                  <a:pt x="12852" y="13533"/>
                  <a:pt x="12852" y="13533"/>
                </a:cubicBezTo>
                <a:cubicBezTo>
                  <a:pt x="12844" y="13533"/>
                  <a:pt x="12520" y="13514"/>
                  <a:pt x="12134" y="13489"/>
                </a:cubicBezTo>
                <a:cubicBezTo>
                  <a:pt x="11432" y="13445"/>
                  <a:pt x="11432" y="13445"/>
                  <a:pt x="11432" y="13445"/>
                </a:cubicBezTo>
                <a:cubicBezTo>
                  <a:pt x="10977" y="13356"/>
                  <a:pt x="10977" y="13356"/>
                  <a:pt x="10977" y="13356"/>
                </a:cubicBezTo>
                <a:cubicBezTo>
                  <a:pt x="10725" y="13309"/>
                  <a:pt x="10517" y="13267"/>
                  <a:pt x="10511" y="13267"/>
                </a:cubicBezTo>
                <a:cubicBezTo>
                  <a:pt x="10500" y="13264"/>
                  <a:pt x="10500" y="13264"/>
                  <a:pt x="10500" y="13264"/>
                </a:cubicBezTo>
                <a:cubicBezTo>
                  <a:pt x="10517" y="13264"/>
                  <a:pt x="10517" y="13264"/>
                  <a:pt x="10517" y="13264"/>
                </a:cubicBezTo>
                <a:cubicBezTo>
                  <a:pt x="10525" y="13267"/>
                  <a:pt x="11044" y="13325"/>
                  <a:pt x="11671" y="13395"/>
                </a:cubicBezTo>
                <a:close/>
                <a:moveTo>
                  <a:pt x="12356" y="13392"/>
                </a:moveTo>
                <a:lnTo>
                  <a:pt x="12356" y="13392"/>
                </a:lnTo>
                <a:cubicBezTo>
                  <a:pt x="13024" y="13445"/>
                  <a:pt x="13579" y="13489"/>
                  <a:pt x="13590" y="13489"/>
                </a:cubicBezTo>
                <a:cubicBezTo>
                  <a:pt x="13607" y="13486"/>
                  <a:pt x="13607" y="13486"/>
                  <a:pt x="13607" y="13486"/>
                </a:cubicBezTo>
                <a:cubicBezTo>
                  <a:pt x="13610" y="13475"/>
                  <a:pt x="13610" y="13475"/>
                  <a:pt x="13610" y="13475"/>
                </a:cubicBezTo>
                <a:cubicBezTo>
                  <a:pt x="13610" y="13470"/>
                  <a:pt x="13607" y="13461"/>
                  <a:pt x="13604" y="13459"/>
                </a:cubicBezTo>
                <a:cubicBezTo>
                  <a:pt x="13601" y="13459"/>
                  <a:pt x="13543" y="13450"/>
                  <a:pt x="13471" y="13442"/>
                </a:cubicBezTo>
                <a:cubicBezTo>
                  <a:pt x="13327" y="13428"/>
                  <a:pt x="13257" y="13420"/>
                  <a:pt x="13268" y="13420"/>
                </a:cubicBezTo>
                <a:cubicBezTo>
                  <a:pt x="13277" y="13417"/>
                  <a:pt x="13598" y="13445"/>
                  <a:pt x="13610" y="13448"/>
                </a:cubicBezTo>
                <a:cubicBezTo>
                  <a:pt x="13618" y="13448"/>
                  <a:pt x="13618" y="13448"/>
                  <a:pt x="13618" y="13448"/>
                </a:cubicBezTo>
                <a:cubicBezTo>
                  <a:pt x="13618" y="13470"/>
                  <a:pt x="13618" y="13470"/>
                  <a:pt x="13618" y="13470"/>
                </a:cubicBezTo>
                <a:cubicBezTo>
                  <a:pt x="13618" y="13489"/>
                  <a:pt x="13618" y="13489"/>
                  <a:pt x="13618" y="13489"/>
                </a:cubicBezTo>
                <a:cubicBezTo>
                  <a:pt x="13629" y="13492"/>
                  <a:pt x="13629" y="13492"/>
                  <a:pt x="13629" y="13492"/>
                </a:cubicBezTo>
                <a:cubicBezTo>
                  <a:pt x="13640" y="13497"/>
                  <a:pt x="13640" y="13497"/>
                  <a:pt x="13640" y="13497"/>
                </a:cubicBezTo>
                <a:cubicBezTo>
                  <a:pt x="13637" y="13517"/>
                  <a:pt x="13637" y="13517"/>
                  <a:pt x="13637" y="13517"/>
                </a:cubicBezTo>
                <a:cubicBezTo>
                  <a:pt x="13637" y="13525"/>
                  <a:pt x="13635" y="13545"/>
                  <a:pt x="13635" y="13558"/>
                </a:cubicBezTo>
                <a:cubicBezTo>
                  <a:pt x="13635" y="13581"/>
                  <a:pt x="13635" y="13581"/>
                  <a:pt x="13635" y="13581"/>
                </a:cubicBezTo>
                <a:cubicBezTo>
                  <a:pt x="13626" y="13581"/>
                  <a:pt x="13626" y="13581"/>
                  <a:pt x="13626" y="13581"/>
                </a:cubicBezTo>
                <a:cubicBezTo>
                  <a:pt x="13618" y="13581"/>
                  <a:pt x="11313" y="13320"/>
                  <a:pt x="11185" y="13306"/>
                </a:cubicBezTo>
                <a:cubicBezTo>
                  <a:pt x="11141" y="13300"/>
                  <a:pt x="11124" y="13298"/>
                  <a:pt x="11135" y="13298"/>
                </a:cubicBezTo>
                <a:cubicBezTo>
                  <a:pt x="11135" y="13298"/>
                  <a:pt x="11685" y="13339"/>
                  <a:pt x="12356" y="13392"/>
                </a:cubicBezTo>
                <a:close/>
                <a:moveTo>
                  <a:pt x="16325" y="13334"/>
                </a:moveTo>
                <a:lnTo>
                  <a:pt x="16325" y="13334"/>
                </a:lnTo>
                <a:cubicBezTo>
                  <a:pt x="16325" y="13337"/>
                  <a:pt x="16319" y="13337"/>
                  <a:pt x="16317" y="13337"/>
                </a:cubicBezTo>
                <a:cubicBezTo>
                  <a:pt x="16308" y="13337"/>
                  <a:pt x="16308" y="13337"/>
                  <a:pt x="16308" y="13337"/>
                </a:cubicBezTo>
                <a:cubicBezTo>
                  <a:pt x="16314" y="13334"/>
                  <a:pt x="16314" y="13334"/>
                  <a:pt x="16314" y="13334"/>
                </a:cubicBezTo>
                <a:cubicBezTo>
                  <a:pt x="16319" y="13328"/>
                  <a:pt x="16325" y="13328"/>
                  <a:pt x="16325" y="13334"/>
                </a:cubicBezTo>
                <a:close/>
                <a:moveTo>
                  <a:pt x="16369" y="13370"/>
                </a:moveTo>
                <a:lnTo>
                  <a:pt x="16369" y="13370"/>
                </a:lnTo>
                <a:cubicBezTo>
                  <a:pt x="16367" y="13373"/>
                  <a:pt x="16364" y="13373"/>
                  <a:pt x="16364" y="13373"/>
                </a:cubicBezTo>
                <a:cubicBezTo>
                  <a:pt x="16364" y="13367"/>
                  <a:pt x="16369" y="13362"/>
                  <a:pt x="16372" y="13364"/>
                </a:cubicBezTo>
                <a:cubicBezTo>
                  <a:pt x="16372" y="13367"/>
                  <a:pt x="16372" y="13370"/>
                  <a:pt x="16369" y="13370"/>
                </a:cubicBezTo>
                <a:close/>
                <a:moveTo>
                  <a:pt x="16222" y="13386"/>
                </a:moveTo>
                <a:lnTo>
                  <a:pt x="16222" y="13386"/>
                </a:lnTo>
                <a:cubicBezTo>
                  <a:pt x="16222" y="13386"/>
                  <a:pt x="16217" y="13389"/>
                  <a:pt x="16214" y="13389"/>
                </a:cubicBezTo>
                <a:cubicBezTo>
                  <a:pt x="16211" y="13389"/>
                  <a:pt x="16209" y="13386"/>
                  <a:pt x="16209" y="13386"/>
                </a:cubicBezTo>
                <a:cubicBezTo>
                  <a:pt x="16209" y="13384"/>
                  <a:pt x="16214" y="13381"/>
                  <a:pt x="16217" y="13381"/>
                </a:cubicBezTo>
                <a:cubicBezTo>
                  <a:pt x="16222" y="13381"/>
                  <a:pt x="16225" y="13384"/>
                  <a:pt x="16222" y="13386"/>
                </a:cubicBezTo>
                <a:close/>
                <a:moveTo>
                  <a:pt x="16172" y="13398"/>
                </a:moveTo>
                <a:lnTo>
                  <a:pt x="16172" y="13398"/>
                </a:lnTo>
                <a:cubicBezTo>
                  <a:pt x="16172" y="13400"/>
                  <a:pt x="16161" y="13406"/>
                  <a:pt x="16142" y="13409"/>
                </a:cubicBezTo>
                <a:cubicBezTo>
                  <a:pt x="16098" y="13417"/>
                  <a:pt x="16095" y="13417"/>
                  <a:pt x="16134" y="13403"/>
                </a:cubicBezTo>
                <a:cubicBezTo>
                  <a:pt x="16167" y="13389"/>
                  <a:pt x="16172" y="13389"/>
                  <a:pt x="16172" y="13398"/>
                </a:cubicBezTo>
                <a:close/>
                <a:moveTo>
                  <a:pt x="16281" y="13406"/>
                </a:moveTo>
                <a:lnTo>
                  <a:pt x="16281" y="13406"/>
                </a:lnTo>
                <a:cubicBezTo>
                  <a:pt x="16253" y="13436"/>
                  <a:pt x="16220" y="13475"/>
                  <a:pt x="16217" y="13478"/>
                </a:cubicBezTo>
                <a:cubicBezTo>
                  <a:pt x="16214" y="13478"/>
                  <a:pt x="16217" y="13431"/>
                  <a:pt x="16220" y="13425"/>
                </a:cubicBezTo>
                <a:cubicBezTo>
                  <a:pt x="16222" y="13422"/>
                  <a:pt x="16278" y="13400"/>
                  <a:pt x="16281" y="13400"/>
                </a:cubicBezTo>
                <a:cubicBezTo>
                  <a:pt x="16283" y="13400"/>
                  <a:pt x="16283" y="13403"/>
                  <a:pt x="16281" y="13406"/>
                </a:cubicBezTo>
                <a:close/>
                <a:moveTo>
                  <a:pt x="16325" y="13436"/>
                </a:moveTo>
                <a:lnTo>
                  <a:pt x="16325" y="13436"/>
                </a:lnTo>
                <a:cubicBezTo>
                  <a:pt x="16325" y="13461"/>
                  <a:pt x="16325" y="13461"/>
                  <a:pt x="16325" y="13461"/>
                </a:cubicBezTo>
                <a:cubicBezTo>
                  <a:pt x="16292" y="13475"/>
                  <a:pt x="16292" y="13475"/>
                  <a:pt x="16292" y="13475"/>
                </a:cubicBezTo>
                <a:cubicBezTo>
                  <a:pt x="16275" y="13484"/>
                  <a:pt x="16258" y="13489"/>
                  <a:pt x="16258" y="13486"/>
                </a:cubicBezTo>
                <a:cubicBezTo>
                  <a:pt x="16258" y="13486"/>
                  <a:pt x="16272" y="13467"/>
                  <a:pt x="16292" y="13448"/>
                </a:cubicBezTo>
                <a:cubicBezTo>
                  <a:pt x="16311" y="13425"/>
                  <a:pt x="16328" y="13409"/>
                  <a:pt x="16328" y="13409"/>
                </a:cubicBezTo>
                <a:cubicBezTo>
                  <a:pt x="16328" y="13409"/>
                  <a:pt x="16328" y="13422"/>
                  <a:pt x="16325" y="13436"/>
                </a:cubicBezTo>
                <a:close/>
                <a:moveTo>
                  <a:pt x="13252" y="13417"/>
                </a:moveTo>
                <a:lnTo>
                  <a:pt x="13252" y="13417"/>
                </a:lnTo>
                <a:cubicBezTo>
                  <a:pt x="13249" y="13417"/>
                  <a:pt x="13246" y="13417"/>
                  <a:pt x="13243" y="13417"/>
                </a:cubicBezTo>
                <a:cubicBezTo>
                  <a:pt x="13241" y="13417"/>
                  <a:pt x="13243" y="13414"/>
                  <a:pt x="13246" y="13414"/>
                </a:cubicBezTo>
                <a:cubicBezTo>
                  <a:pt x="13252" y="13414"/>
                  <a:pt x="13255" y="13417"/>
                  <a:pt x="13252" y="13417"/>
                </a:cubicBezTo>
                <a:close/>
                <a:moveTo>
                  <a:pt x="16389" y="13425"/>
                </a:moveTo>
                <a:lnTo>
                  <a:pt x="16389" y="13425"/>
                </a:lnTo>
                <a:cubicBezTo>
                  <a:pt x="16386" y="13428"/>
                  <a:pt x="16383" y="13428"/>
                  <a:pt x="16383" y="13428"/>
                </a:cubicBezTo>
                <a:cubicBezTo>
                  <a:pt x="16383" y="13422"/>
                  <a:pt x="16389" y="13417"/>
                  <a:pt x="16392" y="13420"/>
                </a:cubicBezTo>
                <a:cubicBezTo>
                  <a:pt x="16392" y="13422"/>
                  <a:pt x="16392" y="13425"/>
                  <a:pt x="16389" y="13425"/>
                </a:cubicBezTo>
                <a:close/>
                <a:moveTo>
                  <a:pt x="16178" y="13472"/>
                </a:moveTo>
                <a:lnTo>
                  <a:pt x="16178" y="13472"/>
                </a:lnTo>
                <a:cubicBezTo>
                  <a:pt x="16178" y="13486"/>
                  <a:pt x="16175" y="13500"/>
                  <a:pt x="16175" y="13500"/>
                </a:cubicBezTo>
                <a:cubicBezTo>
                  <a:pt x="16170" y="13500"/>
                  <a:pt x="16117" y="13461"/>
                  <a:pt x="16117" y="13459"/>
                </a:cubicBezTo>
                <a:cubicBezTo>
                  <a:pt x="16117" y="13456"/>
                  <a:pt x="16178" y="13439"/>
                  <a:pt x="16181" y="13442"/>
                </a:cubicBezTo>
                <a:cubicBezTo>
                  <a:pt x="16181" y="13445"/>
                  <a:pt x="16181" y="13459"/>
                  <a:pt x="16178" y="13472"/>
                </a:cubicBezTo>
                <a:close/>
                <a:moveTo>
                  <a:pt x="13823" y="13456"/>
                </a:moveTo>
                <a:lnTo>
                  <a:pt x="13823" y="13456"/>
                </a:lnTo>
                <a:cubicBezTo>
                  <a:pt x="13859" y="13459"/>
                  <a:pt x="13859" y="13459"/>
                  <a:pt x="13859" y="13459"/>
                </a:cubicBezTo>
                <a:cubicBezTo>
                  <a:pt x="13768" y="13459"/>
                  <a:pt x="13768" y="13459"/>
                  <a:pt x="13768" y="13459"/>
                </a:cubicBezTo>
                <a:cubicBezTo>
                  <a:pt x="13696" y="13459"/>
                  <a:pt x="13676" y="13459"/>
                  <a:pt x="13676" y="13453"/>
                </a:cubicBezTo>
                <a:cubicBezTo>
                  <a:pt x="13676" y="13450"/>
                  <a:pt x="13751" y="13450"/>
                  <a:pt x="13823" y="13456"/>
                </a:cubicBezTo>
                <a:close/>
                <a:moveTo>
                  <a:pt x="15765" y="13481"/>
                </a:moveTo>
                <a:lnTo>
                  <a:pt x="15765" y="13481"/>
                </a:lnTo>
                <a:cubicBezTo>
                  <a:pt x="15765" y="13486"/>
                  <a:pt x="15765" y="13486"/>
                  <a:pt x="15765" y="13486"/>
                </a:cubicBezTo>
                <a:cubicBezTo>
                  <a:pt x="15734" y="13484"/>
                  <a:pt x="15734" y="13484"/>
                  <a:pt x="15734" y="13484"/>
                </a:cubicBezTo>
                <a:cubicBezTo>
                  <a:pt x="15701" y="13484"/>
                  <a:pt x="15701" y="13484"/>
                  <a:pt x="15701" y="13484"/>
                </a:cubicBezTo>
                <a:cubicBezTo>
                  <a:pt x="15726" y="13481"/>
                  <a:pt x="15726" y="13481"/>
                  <a:pt x="15726" y="13481"/>
                </a:cubicBezTo>
                <a:cubicBezTo>
                  <a:pt x="15759" y="13472"/>
                  <a:pt x="15765" y="13472"/>
                  <a:pt x="15765" y="13481"/>
                </a:cubicBezTo>
                <a:close/>
                <a:moveTo>
                  <a:pt x="16020" y="13481"/>
                </a:moveTo>
                <a:lnTo>
                  <a:pt x="16020" y="13481"/>
                </a:lnTo>
                <a:cubicBezTo>
                  <a:pt x="16020" y="13481"/>
                  <a:pt x="16001" y="13506"/>
                  <a:pt x="15976" y="13531"/>
                </a:cubicBezTo>
                <a:cubicBezTo>
                  <a:pt x="15931" y="13578"/>
                  <a:pt x="15931" y="13578"/>
                  <a:pt x="15931" y="13578"/>
                </a:cubicBezTo>
                <a:cubicBezTo>
                  <a:pt x="15890" y="13547"/>
                  <a:pt x="15890" y="13547"/>
                  <a:pt x="15890" y="13547"/>
                </a:cubicBezTo>
                <a:cubicBezTo>
                  <a:pt x="15867" y="13531"/>
                  <a:pt x="15851" y="13514"/>
                  <a:pt x="15851" y="13511"/>
                </a:cubicBezTo>
                <a:cubicBezTo>
                  <a:pt x="15851" y="13511"/>
                  <a:pt x="15887" y="13503"/>
                  <a:pt x="15934" y="13495"/>
                </a:cubicBezTo>
                <a:cubicBezTo>
                  <a:pt x="16031" y="13475"/>
                  <a:pt x="16020" y="13478"/>
                  <a:pt x="16020" y="13481"/>
                </a:cubicBezTo>
                <a:close/>
                <a:moveTo>
                  <a:pt x="16114" y="13500"/>
                </a:moveTo>
                <a:lnTo>
                  <a:pt x="16114" y="13500"/>
                </a:lnTo>
                <a:cubicBezTo>
                  <a:pt x="16131" y="13514"/>
                  <a:pt x="16148" y="13525"/>
                  <a:pt x="16148" y="13525"/>
                </a:cubicBezTo>
                <a:cubicBezTo>
                  <a:pt x="16148" y="13528"/>
                  <a:pt x="16001" y="13567"/>
                  <a:pt x="15995" y="13567"/>
                </a:cubicBezTo>
                <a:cubicBezTo>
                  <a:pt x="15992" y="13564"/>
                  <a:pt x="16073" y="13478"/>
                  <a:pt x="16078" y="13478"/>
                </a:cubicBezTo>
                <a:cubicBezTo>
                  <a:pt x="16078" y="13478"/>
                  <a:pt x="16095" y="13489"/>
                  <a:pt x="16114" y="13500"/>
                </a:cubicBezTo>
                <a:close/>
                <a:moveTo>
                  <a:pt x="15465" y="13484"/>
                </a:moveTo>
                <a:lnTo>
                  <a:pt x="15465" y="13484"/>
                </a:lnTo>
                <a:cubicBezTo>
                  <a:pt x="15462" y="13486"/>
                  <a:pt x="15415" y="13497"/>
                  <a:pt x="15401" y="13497"/>
                </a:cubicBezTo>
                <a:cubicBezTo>
                  <a:pt x="15396" y="13497"/>
                  <a:pt x="15393" y="13495"/>
                  <a:pt x="15393" y="13492"/>
                </a:cubicBezTo>
                <a:cubicBezTo>
                  <a:pt x="15393" y="13486"/>
                  <a:pt x="15399" y="13486"/>
                  <a:pt x="15421" y="13484"/>
                </a:cubicBezTo>
                <a:cubicBezTo>
                  <a:pt x="15437" y="13484"/>
                  <a:pt x="15454" y="13484"/>
                  <a:pt x="15460" y="13481"/>
                </a:cubicBezTo>
                <a:cubicBezTo>
                  <a:pt x="15465" y="13481"/>
                  <a:pt x="15465" y="13484"/>
                  <a:pt x="15465" y="13484"/>
                </a:cubicBezTo>
                <a:close/>
                <a:moveTo>
                  <a:pt x="15016" y="13489"/>
                </a:moveTo>
                <a:lnTo>
                  <a:pt x="15016" y="13489"/>
                </a:lnTo>
                <a:cubicBezTo>
                  <a:pt x="15016" y="13495"/>
                  <a:pt x="15016" y="13495"/>
                  <a:pt x="15016" y="13495"/>
                </a:cubicBezTo>
                <a:cubicBezTo>
                  <a:pt x="14938" y="13495"/>
                  <a:pt x="14938" y="13495"/>
                  <a:pt x="14938" y="13495"/>
                </a:cubicBezTo>
                <a:cubicBezTo>
                  <a:pt x="14791" y="13489"/>
                  <a:pt x="14769" y="13486"/>
                  <a:pt x="14899" y="13486"/>
                </a:cubicBezTo>
                <a:cubicBezTo>
                  <a:pt x="15016" y="13486"/>
                  <a:pt x="15016" y="13486"/>
                  <a:pt x="15016" y="13486"/>
                </a:cubicBezTo>
                <a:cubicBezTo>
                  <a:pt x="15016" y="13489"/>
                  <a:pt x="15016" y="13489"/>
                  <a:pt x="15016" y="13489"/>
                </a:cubicBezTo>
                <a:close/>
                <a:moveTo>
                  <a:pt x="15354" y="13492"/>
                </a:moveTo>
                <a:lnTo>
                  <a:pt x="15354" y="13492"/>
                </a:lnTo>
                <a:cubicBezTo>
                  <a:pt x="15354" y="13495"/>
                  <a:pt x="15332" y="13495"/>
                  <a:pt x="15321" y="13489"/>
                </a:cubicBezTo>
                <a:cubicBezTo>
                  <a:pt x="15315" y="13486"/>
                  <a:pt x="15318" y="13486"/>
                  <a:pt x="15335" y="13486"/>
                </a:cubicBezTo>
                <a:cubicBezTo>
                  <a:pt x="15346" y="13486"/>
                  <a:pt x="15354" y="13489"/>
                  <a:pt x="15354" y="13492"/>
                </a:cubicBezTo>
                <a:close/>
                <a:moveTo>
                  <a:pt x="15069" y="13492"/>
                </a:moveTo>
                <a:lnTo>
                  <a:pt x="15069" y="13492"/>
                </a:lnTo>
                <a:cubicBezTo>
                  <a:pt x="15066" y="13492"/>
                  <a:pt x="15060" y="13492"/>
                  <a:pt x="15058" y="13492"/>
                </a:cubicBezTo>
                <a:cubicBezTo>
                  <a:pt x="15055" y="13489"/>
                  <a:pt x="15058" y="13489"/>
                  <a:pt x="15063" y="13489"/>
                </a:cubicBezTo>
                <a:cubicBezTo>
                  <a:pt x="15071" y="13489"/>
                  <a:pt x="15074" y="13489"/>
                  <a:pt x="15069" y="13492"/>
                </a:cubicBezTo>
                <a:close/>
                <a:moveTo>
                  <a:pt x="14017" y="13550"/>
                </a:moveTo>
                <a:lnTo>
                  <a:pt x="14017" y="13550"/>
                </a:lnTo>
                <a:cubicBezTo>
                  <a:pt x="14203" y="13578"/>
                  <a:pt x="14356" y="13603"/>
                  <a:pt x="14356" y="13603"/>
                </a:cubicBezTo>
                <a:cubicBezTo>
                  <a:pt x="14359" y="13603"/>
                  <a:pt x="14359" y="13603"/>
                  <a:pt x="14356" y="13606"/>
                </a:cubicBezTo>
                <a:cubicBezTo>
                  <a:pt x="14356" y="13606"/>
                  <a:pt x="13673" y="13586"/>
                  <a:pt x="13671" y="13583"/>
                </a:cubicBezTo>
                <a:cubicBezTo>
                  <a:pt x="13668" y="13581"/>
                  <a:pt x="13673" y="13500"/>
                  <a:pt x="13679" y="13500"/>
                </a:cubicBezTo>
                <a:cubicBezTo>
                  <a:pt x="13679" y="13500"/>
                  <a:pt x="13834" y="13522"/>
                  <a:pt x="14017" y="13550"/>
                </a:cubicBezTo>
                <a:close/>
                <a:moveTo>
                  <a:pt x="14184" y="13514"/>
                </a:moveTo>
                <a:lnTo>
                  <a:pt x="14184" y="13514"/>
                </a:lnTo>
                <a:cubicBezTo>
                  <a:pt x="14345" y="13520"/>
                  <a:pt x="14345" y="13520"/>
                  <a:pt x="14345" y="13520"/>
                </a:cubicBezTo>
                <a:cubicBezTo>
                  <a:pt x="14431" y="13553"/>
                  <a:pt x="14431" y="13553"/>
                  <a:pt x="14431" y="13553"/>
                </a:cubicBezTo>
                <a:cubicBezTo>
                  <a:pt x="14478" y="13572"/>
                  <a:pt x="14514" y="13586"/>
                  <a:pt x="14511" y="13589"/>
                </a:cubicBezTo>
                <a:cubicBezTo>
                  <a:pt x="14506" y="13589"/>
                  <a:pt x="13995" y="13511"/>
                  <a:pt x="13990" y="13508"/>
                </a:cubicBezTo>
                <a:cubicBezTo>
                  <a:pt x="13981" y="13506"/>
                  <a:pt x="14023" y="13508"/>
                  <a:pt x="14184" y="13514"/>
                </a:cubicBezTo>
                <a:close/>
                <a:moveTo>
                  <a:pt x="15779" y="13553"/>
                </a:moveTo>
                <a:lnTo>
                  <a:pt x="15779" y="13553"/>
                </a:lnTo>
                <a:cubicBezTo>
                  <a:pt x="15776" y="13570"/>
                  <a:pt x="15776" y="13583"/>
                  <a:pt x="15776" y="13583"/>
                </a:cubicBezTo>
                <a:cubicBezTo>
                  <a:pt x="15773" y="13586"/>
                  <a:pt x="15759" y="13572"/>
                  <a:pt x="15740" y="13556"/>
                </a:cubicBezTo>
                <a:cubicBezTo>
                  <a:pt x="15720" y="13539"/>
                  <a:pt x="15707" y="13528"/>
                  <a:pt x="15712" y="13525"/>
                </a:cubicBezTo>
                <a:cubicBezTo>
                  <a:pt x="15723" y="13525"/>
                  <a:pt x="15776" y="13520"/>
                  <a:pt x="15779" y="13520"/>
                </a:cubicBezTo>
                <a:cubicBezTo>
                  <a:pt x="15779" y="13522"/>
                  <a:pt x="15779" y="13536"/>
                  <a:pt x="15779" y="13553"/>
                </a:cubicBezTo>
                <a:close/>
                <a:moveTo>
                  <a:pt x="14985" y="13531"/>
                </a:moveTo>
                <a:lnTo>
                  <a:pt x="14985" y="13531"/>
                </a:lnTo>
                <a:cubicBezTo>
                  <a:pt x="15074" y="13531"/>
                  <a:pt x="15199" y="13533"/>
                  <a:pt x="15263" y="13533"/>
                </a:cubicBezTo>
                <a:cubicBezTo>
                  <a:pt x="15379" y="13533"/>
                  <a:pt x="15379" y="13533"/>
                  <a:pt x="15379" y="13533"/>
                </a:cubicBezTo>
                <a:cubicBezTo>
                  <a:pt x="15376" y="13575"/>
                  <a:pt x="15376" y="13575"/>
                  <a:pt x="15376" y="13575"/>
                </a:cubicBezTo>
                <a:cubicBezTo>
                  <a:pt x="15374" y="13597"/>
                  <a:pt x="15374" y="13617"/>
                  <a:pt x="15371" y="13619"/>
                </a:cubicBezTo>
                <a:cubicBezTo>
                  <a:pt x="15371" y="13619"/>
                  <a:pt x="14672" y="13528"/>
                  <a:pt x="14669" y="13525"/>
                </a:cubicBezTo>
                <a:cubicBezTo>
                  <a:pt x="14666" y="13522"/>
                  <a:pt x="14702" y="13522"/>
                  <a:pt x="14744" y="13522"/>
                </a:cubicBezTo>
                <a:cubicBezTo>
                  <a:pt x="14788" y="13525"/>
                  <a:pt x="14897" y="13528"/>
                  <a:pt x="14985" y="13531"/>
                </a:cubicBezTo>
                <a:close/>
                <a:moveTo>
                  <a:pt x="15629" y="13531"/>
                </a:moveTo>
                <a:lnTo>
                  <a:pt x="15629" y="13531"/>
                </a:lnTo>
                <a:cubicBezTo>
                  <a:pt x="15629" y="13533"/>
                  <a:pt x="15604" y="13581"/>
                  <a:pt x="15593" y="13603"/>
                </a:cubicBezTo>
                <a:cubicBezTo>
                  <a:pt x="15584" y="13614"/>
                  <a:pt x="15584" y="13614"/>
                  <a:pt x="15584" y="13614"/>
                </a:cubicBezTo>
                <a:cubicBezTo>
                  <a:pt x="15523" y="13575"/>
                  <a:pt x="15523" y="13575"/>
                  <a:pt x="15523" y="13575"/>
                </a:cubicBezTo>
                <a:cubicBezTo>
                  <a:pt x="15460" y="13536"/>
                  <a:pt x="15460" y="13536"/>
                  <a:pt x="15460" y="13536"/>
                </a:cubicBezTo>
                <a:cubicBezTo>
                  <a:pt x="15512" y="13533"/>
                  <a:pt x="15512" y="13533"/>
                  <a:pt x="15512" y="13533"/>
                </a:cubicBezTo>
                <a:cubicBezTo>
                  <a:pt x="15598" y="13531"/>
                  <a:pt x="15629" y="13528"/>
                  <a:pt x="15629" y="13531"/>
                </a:cubicBezTo>
                <a:close/>
                <a:moveTo>
                  <a:pt x="15851" y="13561"/>
                </a:moveTo>
                <a:lnTo>
                  <a:pt x="15851" y="13561"/>
                </a:lnTo>
                <a:cubicBezTo>
                  <a:pt x="15870" y="13575"/>
                  <a:pt x="15884" y="13589"/>
                  <a:pt x="15884" y="13589"/>
                </a:cubicBezTo>
                <a:cubicBezTo>
                  <a:pt x="15884" y="13592"/>
                  <a:pt x="15812" y="13603"/>
                  <a:pt x="15812" y="13600"/>
                </a:cubicBezTo>
                <a:cubicBezTo>
                  <a:pt x="15809" y="13600"/>
                  <a:pt x="15815" y="13536"/>
                  <a:pt x="15817" y="13536"/>
                </a:cubicBezTo>
                <a:cubicBezTo>
                  <a:pt x="15817" y="13536"/>
                  <a:pt x="15834" y="13547"/>
                  <a:pt x="15851" y="13561"/>
                </a:cubicBezTo>
                <a:close/>
                <a:moveTo>
                  <a:pt x="14788" y="13578"/>
                </a:moveTo>
                <a:lnTo>
                  <a:pt x="14788" y="13578"/>
                </a:lnTo>
                <a:cubicBezTo>
                  <a:pt x="14941" y="13597"/>
                  <a:pt x="15069" y="13614"/>
                  <a:pt x="15071" y="13617"/>
                </a:cubicBezTo>
                <a:cubicBezTo>
                  <a:pt x="15074" y="13617"/>
                  <a:pt x="14988" y="13617"/>
                  <a:pt x="14880" y="13617"/>
                </a:cubicBezTo>
                <a:cubicBezTo>
                  <a:pt x="14683" y="13614"/>
                  <a:pt x="14683" y="13614"/>
                  <a:pt x="14683" y="13614"/>
                </a:cubicBezTo>
                <a:cubicBezTo>
                  <a:pt x="14594" y="13581"/>
                  <a:pt x="14594" y="13581"/>
                  <a:pt x="14594" y="13581"/>
                </a:cubicBezTo>
                <a:cubicBezTo>
                  <a:pt x="14544" y="13561"/>
                  <a:pt x="14503" y="13542"/>
                  <a:pt x="14503" y="13542"/>
                </a:cubicBezTo>
                <a:cubicBezTo>
                  <a:pt x="14497" y="13539"/>
                  <a:pt x="14517" y="13542"/>
                  <a:pt x="14788" y="13578"/>
                </a:cubicBezTo>
                <a:close/>
                <a:moveTo>
                  <a:pt x="15707" y="13575"/>
                </a:moveTo>
                <a:lnTo>
                  <a:pt x="15707" y="13575"/>
                </a:lnTo>
                <a:cubicBezTo>
                  <a:pt x="15726" y="13592"/>
                  <a:pt x="15743" y="13606"/>
                  <a:pt x="15743" y="13608"/>
                </a:cubicBezTo>
                <a:cubicBezTo>
                  <a:pt x="15745" y="13611"/>
                  <a:pt x="15629" y="13619"/>
                  <a:pt x="15626" y="13617"/>
                </a:cubicBezTo>
                <a:cubicBezTo>
                  <a:pt x="15623" y="13614"/>
                  <a:pt x="15662" y="13545"/>
                  <a:pt x="15668" y="13545"/>
                </a:cubicBezTo>
                <a:cubicBezTo>
                  <a:pt x="15668" y="13545"/>
                  <a:pt x="15687" y="13558"/>
                  <a:pt x="15707" y="13575"/>
                </a:cubicBezTo>
                <a:close/>
                <a:moveTo>
                  <a:pt x="15471" y="13583"/>
                </a:moveTo>
                <a:lnTo>
                  <a:pt x="15471" y="13583"/>
                </a:lnTo>
                <a:cubicBezTo>
                  <a:pt x="15498" y="13600"/>
                  <a:pt x="15521" y="13617"/>
                  <a:pt x="15523" y="13619"/>
                </a:cubicBezTo>
                <a:cubicBezTo>
                  <a:pt x="15526" y="13619"/>
                  <a:pt x="15504" y="13622"/>
                  <a:pt x="15468" y="13622"/>
                </a:cubicBezTo>
                <a:cubicBezTo>
                  <a:pt x="15407" y="13622"/>
                  <a:pt x="15407" y="13622"/>
                  <a:pt x="15407" y="13622"/>
                </a:cubicBezTo>
                <a:cubicBezTo>
                  <a:pt x="15410" y="13589"/>
                  <a:pt x="15410" y="13589"/>
                  <a:pt x="15410" y="13589"/>
                </a:cubicBezTo>
                <a:cubicBezTo>
                  <a:pt x="15413" y="13550"/>
                  <a:pt x="15413" y="13547"/>
                  <a:pt x="15421" y="13550"/>
                </a:cubicBezTo>
                <a:cubicBezTo>
                  <a:pt x="15421" y="13553"/>
                  <a:pt x="15446" y="13567"/>
                  <a:pt x="15471" y="13583"/>
                </a:cubicBezTo>
                <a:close/>
              </a:path>
            </a:pathLst>
          </a:custGeom>
          <a:solidFill>
            <a:schemeClr val="tx2"/>
          </a:solidFill>
          <a:ln>
            <a:noFill/>
          </a:ln>
          <a:effectLst/>
        </p:spPr>
        <p:txBody>
          <a:bodyPr wrap="none" anchor="ctr"/>
          <a:lstStyle/>
          <a:p>
            <a:endParaRPr lang="en-US"/>
          </a:p>
        </p:txBody>
      </p:sp>
      <p:grpSp>
        <p:nvGrpSpPr>
          <p:cNvPr id="11" name="Group 10"/>
          <p:cNvGrpSpPr/>
          <p:nvPr/>
        </p:nvGrpSpPr>
        <p:grpSpPr>
          <a:xfrm>
            <a:off x="1736412" y="2895785"/>
            <a:ext cx="546389" cy="550949"/>
            <a:chOff x="1736412" y="2895785"/>
            <a:chExt cx="546389" cy="550949"/>
          </a:xfrm>
        </p:grpSpPr>
        <p:sp>
          <p:nvSpPr>
            <p:cNvPr id="61" name="Freeform 1"/>
            <p:cNvSpPr>
              <a:spLocks noChangeArrowheads="1"/>
            </p:cNvSpPr>
            <p:nvPr/>
          </p:nvSpPr>
          <p:spPr bwMode="auto">
            <a:xfrm>
              <a:off x="1826843" y="2990776"/>
              <a:ext cx="365526" cy="366286"/>
            </a:xfrm>
            <a:custGeom>
              <a:avLst/>
              <a:gdLst>
                <a:gd name="T0" fmla="*/ 2122 w 2123"/>
                <a:gd name="T1" fmla="*/ 718 h 2125"/>
                <a:gd name="T2" fmla="*/ 1377 w 2123"/>
                <a:gd name="T3" fmla="*/ 718 h 2125"/>
                <a:gd name="T4" fmla="*/ 1377 w 2123"/>
                <a:gd name="T5" fmla="*/ 0 h 2125"/>
                <a:gd name="T6" fmla="*/ 744 w 2123"/>
                <a:gd name="T7" fmla="*/ 0 h 2125"/>
                <a:gd name="T8" fmla="*/ 744 w 2123"/>
                <a:gd name="T9" fmla="*/ 718 h 2125"/>
                <a:gd name="T10" fmla="*/ 0 w 2123"/>
                <a:gd name="T11" fmla="*/ 718 h 2125"/>
                <a:gd name="T12" fmla="*/ 0 w 2123"/>
                <a:gd name="T13" fmla="*/ 1379 h 2125"/>
                <a:gd name="T14" fmla="*/ 744 w 2123"/>
                <a:gd name="T15" fmla="*/ 1379 h 2125"/>
                <a:gd name="T16" fmla="*/ 744 w 2123"/>
                <a:gd name="T17" fmla="*/ 2124 h 2125"/>
                <a:gd name="T18" fmla="*/ 1377 w 2123"/>
                <a:gd name="T19" fmla="*/ 2124 h 2125"/>
                <a:gd name="T20" fmla="*/ 1377 w 2123"/>
                <a:gd name="T21" fmla="*/ 1379 h 2125"/>
                <a:gd name="T22" fmla="*/ 2122 w 2123"/>
                <a:gd name="T23" fmla="*/ 1379 h 2125"/>
                <a:gd name="T24" fmla="*/ 2122 w 2123"/>
                <a:gd name="T25" fmla="*/ 718 h 2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23" h="2125">
                  <a:moveTo>
                    <a:pt x="2122" y="718"/>
                  </a:moveTo>
                  <a:lnTo>
                    <a:pt x="1377" y="718"/>
                  </a:lnTo>
                  <a:lnTo>
                    <a:pt x="1377" y="0"/>
                  </a:lnTo>
                  <a:lnTo>
                    <a:pt x="744" y="0"/>
                  </a:lnTo>
                  <a:lnTo>
                    <a:pt x="744" y="718"/>
                  </a:lnTo>
                  <a:lnTo>
                    <a:pt x="0" y="718"/>
                  </a:lnTo>
                  <a:lnTo>
                    <a:pt x="0" y="1379"/>
                  </a:lnTo>
                  <a:lnTo>
                    <a:pt x="744" y="1379"/>
                  </a:lnTo>
                  <a:lnTo>
                    <a:pt x="744" y="2124"/>
                  </a:lnTo>
                  <a:lnTo>
                    <a:pt x="1377" y="2124"/>
                  </a:lnTo>
                  <a:lnTo>
                    <a:pt x="1377" y="1379"/>
                  </a:lnTo>
                  <a:lnTo>
                    <a:pt x="2122" y="1379"/>
                  </a:lnTo>
                  <a:lnTo>
                    <a:pt x="2122" y="718"/>
                  </a:lnTo>
                </a:path>
              </a:pathLst>
            </a:custGeom>
            <a:noFill/>
            <a:ln w="12700" cap="flat" cmpd="sng">
              <a:solidFill>
                <a:srgbClr val="06B866"/>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62" name="Freeform 2"/>
            <p:cNvSpPr>
              <a:spLocks noChangeArrowheads="1"/>
            </p:cNvSpPr>
            <p:nvPr/>
          </p:nvSpPr>
          <p:spPr bwMode="auto">
            <a:xfrm>
              <a:off x="1736412" y="2895785"/>
              <a:ext cx="546389" cy="550949"/>
            </a:xfrm>
            <a:custGeom>
              <a:avLst/>
              <a:gdLst>
                <a:gd name="T0" fmla="*/ 3170 w 3171"/>
                <a:gd name="T1" fmla="*/ 3198 h 3199"/>
                <a:gd name="T2" fmla="*/ 0 w 3171"/>
                <a:gd name="T3" fmla="*/ 3198 h 3199"/>
                <a:gd name="T4" fmla="*/ 0 w 3171"/>
                <a:gd name="T5" fmla="*/ 0 h 3199"/>
                <a:gd name="T6" fmla="*/ 3170 w 3171"/>
                <a:gd name="T7" fmla="*/ 0 h 3199"/>
                <a:gd name="T8" fmla="*/ 3170 w 3171"/>
                <a:gd name="T9" fmla="*/ 3198 h 3199"/>
              </a:gdLst>
              <a:ahLst/>
              <a:cxnLst>
                <a:cxn ang="0">
                  <a:pos x="T0" y="T1"/>
                </a:cxn>
                <a:cxn ang="0">
                  <a:pos x="T2" y="T3"/>
                </a:cxn>
                <a:cxn ang="0">
                  <a:pos x="T4" y="T5"/>
                </a:cxn>
                <a:cxn ang="0">
                  <a:pos x="T6" y="T7"/>
                </a:cxn>
                <a:cxn ang="0">
                  <a:pos x="T8" y="T9"/>
                </a:cxn>
              </a:cxnLst>
              <a:rect l="0" t="0" r="r" b="b"/>
              <a:pathLst>
                <a:path w="3171" h="3199">
                  <a:moveTo>
                    <a:pt x="3170" y="3198"/>
                  </a:moveTo>
                  <a:lnTo>
                    <a:pt x="0" y="3198"/>
                  </a:lnTo>
                  <a:lnTo>
                    <a:pt x="0" y="0"/>
                  </a:lnTo>
                  <a:lnTo>
                    <a:pt x="3170" y="0"/>
                  </a:lnTo>
                  <a:lnTo>
                    <a:pt x="3170" y="3198"/>
                  </a:lnTo>
                </a:path>
              </a:pathLst>
            </a:custGeom>
            <a:noFill/>
            <a:ln w="12700" cap="flat" cmpd="sng">
              <a:solidFill>
                <a:srgbClr val="06B866"/>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grpSp>
      <p:grpSp>
        <p:nvGrpSpPr>
          <p:cNvPr id="17" name="Group 16"/>
          <p:cNvGrpSpPr/>
          <p:nvPr/>
        </p:nvGrpSpPr>
        <p:grpSpPr>
          <a:xfrm>
            <a:off x="3095165" y="3607839"/>
            <a:ext cx="551709" cy="546389"/>
            <a:chOff x="3095165" y="3607839"/>
            <a:chExt cx="551709" cy="546389"/>
          </a:xfrm>
        </p:grpSpPr>
        <p:sp>
          <p:nvSpPr>
            <p:cNvPr id="66" name="Freeform 6"/>
            <p:cNvSpPr>
              <a:spLocks noChangeArrowheads="1"/>
            </p:cNvSpPr>
            <p:nvPr/>
          </p:nvSpPr>
          <p:spPr bwMode="auto">
            <a:xfrm>
              <a:off x="3095165" y="3607839"/>
              <a:ext cx="551709" cy="546389"/>
            </a:xfrm>
            <a:custGeom>
              <a:avLst/>
              <a:gdLst>
                <a:gd name="T0" fmla="*/ 3199 w 3200"/>
                <a:gd name="T1" fmla="*/ 3171 h 3172"/>
                <a:gd name="T2" fmla="*/ 0 w 3200"/>
                <a:gd name="T3" fmla="*/ 3171 h 3172"/>
                <a:gd name="T4" fmla="*/ 0 w 3200"/>
                <a:gd name="T5" fmla="*/ 0 h 3172"/>
                <a:gd name="T6" fmla="*/ 3199 w 3200"/>
                <a:gd name="T7" fmla="*/ 0 h 3172"/>
                <a:gd name="T8" fmla="*/ 3199 w 3200"/>
                <a:gd name="T9" fmla="*/ 3171 h 3172"/>
              </a:gdLst>
              <a:ahLst/>
              <a:cxnLst>
                <a:cxn ang="0">
                  <a:pos x="T0" y="T1"/>
                </a:cxn>
                <a:cxn ang="0">
                  <a:pos x="T2" y="T3"/>
                </a:cxn>
                <a:cxn ang="0">
                  <a:pos x="T4" y="T5"/>
                </a:cxn>
                <a:cxn ang="0">
                  <a:pos x="T6" y="T7"/>
                </a:cxn>
                <a:cxn ang="0">
                  <a:pos x="T8" y="T9"/>
                </a:cxn>
              </a:cxnLst>
              <a:rect l="0" t="0" r="r" b="b"/>
              <a:pathLst>
                <a:path w="3200" h="3172">
                  <a:moveTo>
                    <a:pt x="3199" y="3171"/>
                  </a:moveTo>
                  <a:lnTo>
                    <a:pt x="0" y="3171"/>
                  </a:lnTo>
                  <a:lnTo>
                    <a:pt x="0" y="0"/>
                  </a:lnTo>
                  <a:lnTo>
                    <a:pt x="3199" y="0"/>
                  </a:lnTo>
                  <a:lnTo>
                    <a:pt x="3199" y="3171"/>
                  </a:lnTo>
                </a:path>
              </a:pathLst>
            </a:custGeom>
            <a:noFill/>
            <a:ln w="12700" cap="flat" cmpd="sng">
              <a:solidFill>
                <a:srgbClr val="0B981B"/>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68" name="Freeform 8"/>
            <p:cNvSpPr>
              <a:spLocks noChangeArrowheads="1"/>
            </p:cNvSpPr>
            <p:nvPr/>
          </p:nvSpPr>
          <p:spPr bwMode="auto">
            <a:xfrm>
              <a:off x="3337583" y="3845697"/>
              <a:ext cx="75993" cy="75993"/>
            </a:xfrm>
            <a:custGeom>
              <a:avLst/>
              <a:gdLst>
                <a:gd name="T0" fmla="*/ 441 w 442"/>
                <a:gd name="T1" fmla="*/ 221 h 442"/>
                <a:gd name="T2" fmla="*/ 441 w 442"/>
                <a:gd name="T3" fmla="*/ 221 h 442"/>
                <a:gd name="T4" fmla="*/ 220 w 442"/>
                <a:gd name="T5" fmla="*/ 441 h 442"/>
                <a:gd name="T6" fmla="*/ 0 w 442"/>
                <a:gd name="T7" fmla="*/ 221 h 442"/>
                <a:gd name="T8" fmla="*/ 220 w 442"/>
                <a:gd name="T9" fmla="*/ 0 h 442"/>
                <a:gd name="T10" fmla="*/ 441 w 442"/>
                <a:gd name="T11" fmla="*/ 221 h 442"/>
              </a:gdLst>
              <a:ahLst/>
              <a:cxnLst>
                <a:cxn ang="0">
                  <a:pos x="T0" y="T1"/>
                </a:cxn>
                <a:cxn ang="0">
                  <a:pos x="T2" y="T3"/>
                </a:cxn>
                <a:cxn ang="0">
                  <a:pos x="T4" y="T5"/>
                </a:cxn>
                <a:cxn ang="0">
                  <a:pos x="T6" y="T7"/>
                </a:cxn>
                <a:cxn ang="0">
                  <a:pos x="T8" y="T9"/>
                </a:cxn>
                <a:cxn ang="0">
                  <a:pos x="T10" y="T11"/>
                </a:cxn>
              </a:cxnLst>
              <a:rect l="0" t="0" r="r" b="b"/>
              <a:pathLst>
                <a:path w="442" h="442">
                  <a:moveTo>
                    <a:pt x="441" y="221"/>
                  </a:moveTo>
                  <a:lnTo>
                    <a:pt x="441" y="221"/>
                  </a:lnTo>
                  <a:cubicBezTo>
                    <a:pt x="441" y="331"/>
                    <a:pt x="331" y="441"/>
                    <a:pt x="220" y="441"/>
                  </a:cubicBezTo>
                  <a:cubicBezTo>
                    <a:pt x="83" y="441"/>
                    <a:pt x="0" y="331"/>
                    <a:pt x="0" y="221"/>
                  </a:cubicBezTo>
                  <a:cubicBezTo>
                    <a:pt x="0" y="110"/>
                    <a:pt x="83" y="0"/>
                    <a:pt x="220" y="0"/>
                  </a:cubicBezTo>
                  <a:cubicBezTo>
                    <a:pt x="331" y="0"/>
                    <a:pt x="441" y="110"/>
                    <a:pt x="441" y="221"/>
                  </a:cubicBezTo>
                </a:path>
              </a:pathLst>
            </a:custGeom>
            <a:noFill/>
            <a:ln w="12700" cap="flat" cmpd="sng">
              <a:solidFill>
                <a:srgbClr val="0B981B"/>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69" name="Freeform 9"/>
            <p:cNvSpPr>
              <a:spLocks noChangeArrowheads="1"/>
            </p:cNvSpPr>
            <p:nvPr/>
          </p:nvSpPr>
          <p:spPr bwMode="auto">
            <a:xfrm>
              <a:off x="3295026" y="3698270"/>
              <a:ext cx="157306" cy="90432"/>
            </a:xfrm>
            <a:custGeom>
              <a:avLst/>
              <a:gdLst>
                <a:gd name="T0" fmla="*/ 0 w 911"/>
                <a:gd name="T1" fmla="*/ 0 h 524"/>
                <a:gd name="T2" fmla="*/ 0 w 911"/>
                <a:gd name="T3" fmla="*/ 82 h 524"/>
                <a:gd name="T4" fmla="*/ 414 w 911"/>
                <a:gd name="T5" fmla="*/ 523 h 524"/>
                <a:gd name="T6" fmla="*/ 496 w 911"/>
                <a:gd name="T7" fmla="*/ 523 h 524"/>
                <a:gd name="T8" fmla="*/ 910 w 911"/>
                <a:gd name="T9" fmla="*/ 82 h 524"/>
                <a:gd name="T10" fmla="*/ 910 w 911"/>
                <a:gd name="T11" fmla="*/ 0 h 524"/>
                <a:gd name="T12" fmla="*/ 0 w 911"/>
                <a:gd name="T13" fmla="*/ 0 h 524"/>
              </a:gdLst>
              <a:ahLst/>
              <a:cxnLst>
                <a:cxn ang="0">
                  <a:pos x="T0" y="T1"/>
                </a:cxn>
                <a:cxn ang="0">
                  <a:pos x="T2" y="T3"/>
                </a:cxn>
                <a:cxn ang="0">
                  <a:pos x="T4" y="T5"/>
                </a:cxn>
                <a:cxn ang="0">
                  <a:pos x="T6" y="T7"/>
                </a:cxn>
                <a:cxn ang="0">
                  <a:pos x="T8" y="T9"/>
                </a:cxn>
                <a:cxn ang="0">
                  <a:pos x="T10" y="T11"/>
                </a:cxn>
                <a:cxn ang="0">
                  <a:pos x="T12" y="T13"/>
                </a:cxn>
              </a:cxnLst>
              <a:rect l="0" t="0" r="r" b="b"/>
              <a:pathLst>
                <a:path w="911" h="524">
                  <a:moveTo>
                    <a:pt x="0" y="0"/>
                  </a:moveTo>
                  <a:lnTo>
                    <a:pt x="0" y="82"/>
                  </a:lnTo>
                  <a:lnTo>
                    <a:pt x="414" y="523"/>
                  </a:lnTo>
                  <a:lnTo>
                    <a:pt x="496" y="523"/>
                  </a:lnTo>
                  <a:lnTo>
                    <a:pt x="910" y="82"/>
                  </a:lnTo>
                  <a:lnTo>
                    <a:pt x="910" y="0"/>
                  </a:lnTo>
                  <a:lnTo>
                    <a:pt x="0" y="0"/>
                  </a:lnTo>
                </a:path>
              </a:pathLst>
            </a:custGeom>
            <a:noFill/>
            <a:ln w="12700" cap="flat" cmpd="sng">
              <a:solidFill>
                <a:srgbClr val="0B981B"/>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70" name="Freeform 10"/>
            <p:cNvSpPr>
              <a:spLocks noChangeArrowheads="1"/>
            </p:cNvSpPr>
            <p:nvPr/>
          </p:nvSpPr>
          <p:spPr bwMode="auto">
            <a:xfrm>
              <a:off x="3295026" y="3978685"/>
              <a:ext cx="157306" cy="90431"/>
            </a:xfrm>
            <a:custGeom>
              <a:avLst/>
              <a:gdLst>
                <a:gd name="T0" fmla="*/ 910 w 911"/>
                <a:gd name="T1" fmla="*/ 524 h 525"/>
                <a:gd name="T2" fmla="*/ 910 w 911"/>
                <a:gd name="T3" fmla="*/ 441 h 525"/>
                <a:gd name="T4" fmla="*/ 496 w 911"/>
                <a:gd name="T5" fmla="*/ 0 h 525"/>
                <a:gd name="T6" fmla="*/ 414 w 911"/>
                <a:gd name="T7" fmla="*/ 0 h 525"/>
                <a:gd name="T8" fmla="*/ 0 w 911"/>
                <a:gd name="T9" fmla="*/ 441 h 525"/>
                <a:gd name="T10" fmla="*/ 0 w 911"/>
                <a:gd name="T11" fmla="*/ 524 h 525"/>
                <a:gd name="T12" fmla="*/ 910 w 911"/>
                <a:gd name="T13" fmla="*/ 524 h 525"/>
              </a:gdLst>
              <a:ahLst/>
              <a:cxnLst>
                <a:cxn ang="0">
                  <a:pos x="T0" y="T1"/>
                </a:cxn>
                <a:cxn ang="0">
                  <a:pos x="T2" y="T3"/>
                </a:cxn>
                <a:cxn ang="0">
                  <a:pos x="T4" y="T5"/>
                </a:cxn>
                <a:cxn ang="0">
                  <a:pos x="T6" y="T7"/>
                </a:cxn>
                <a:cxn ang="0">
                  <a:pos x="T8" y="T9"/>
                </a:cxn>
                <a:cxn ang="0">
                  <a:pos x="T10" y="T11"/>
                </a:cxn>
                <a:cxn ang="0">
                  <a:pos x="T12" y="T13"/>
                </a:cxn>
              </a:cxnLst>
              <a:rect l="0" t="0" r="r" b="b"/>
              <a:pathLst>
                <a:path w="911" h="525">
                  <a:moveTo>
                    <a:pt x="910" y="524"/>
                  </a:moveTo>
                  <a:lnTo>
                    <a:pt x="910" y="441"/>
                  </a:lnTo>
                  <a:lnTo>
                    <a:pt x="496" y="0"/>
                  </a:lnTo>
                  <a:lnTo>
                    <a:pt x="414" y="0"/>
                  </a:lnTo>
                  <a:lnTo>
                    <a:pt x="0" y="441"/>
                  </a:lnTo>
                  <a:lnTo>
                    <a:pt x="0" y="524"/>
                  </a:lnTo>
                  <a:lnTo>
                    <a:pt x="910" y="524"/>
                  </a:lnTo>
                </a:path>
              </a:pathLst>
            </a:custGeom>
            <a:noFill/>
            <a:ln w="12700" cap="flat" cmpd="sng">
              <a:solidFill>
                <a:srgbClr val="0B981B"/>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71" name="Freeform 11"/>
            <p:cNvSpPr>
              <a:spLocks noChangeArrowheads="1"/>
            </p:cNvSpPr>
            <p:nvPr/>
          </p:nvSpPr>
          <p:spPr bwMode="auto">
            <a:xfrm>
              <a:off x="3470570" y="3803141"/>
              <a:ext cx="90431" cy="161865"/>
            </a:xfrm>
            <a:custGeom>
              <a:avLst/>
              <a:gdLst>
                <a:gd name="T0" fmla="*/ 524 w 525"/>
                <a:gd name="T1" fmla="*/ 0 h 939"/>
                <a:gd name="T2" fmla="*/ 441 w 525"/>
                <a:gd name="T3" fmla="*/ 0 h 939"/>
                <a:gd name="T4" fmla="*/ 0 w 525"/>
                <a:gd name="T5" fmla="*/ 441 h 939"/>
                <a:gd name="T6" fmla="*/ 0 w 525"/>
                <a:gd name="T7" fmla="*/ 497 h 939"/>
                <a:gd name="T8" fmla="*/ 441 w 525"/>
                <a:gd name="T9" fmla="*/ 938 h 939"/>
                <a:gd name="T10" fmla="*/ 524 w 525"/>
                <a:gd name="T11" fmla="*/ 938 h 939"/>
                <a:gd name="T12" fmla="*/ 524 w 525"/>
                <a:gd name="T13" fmla="*/ 0 h 939"/>
              </a:gdLst>
              <a:ahLst/>
              <a:cxnLst>
                <a:cxn ang="0">
                  <a:pos x="T0" y="T1"/>
                </a:cxn>
                <a:cxn ang="0">
                  <a:pos x="T2" y="T3"/>
                </a:cxn>
                <a:cxn ang="0">
                  <a:pos x="T4" y="T5"/>
                </a:cxn>
                <a:cxn ang="0">
                  <a:pos x="T6" y="T7"/>
                </a:cxn>
                <a:cxn ang="0">
                  <a:pos x="T8" y="T9"/>
                </a:cxn>
                <a:cxn ang="0">
                  <a:pos x="T10" y="T11"/>
                </a:cxn>
                <a:cxn ang="0">
                  <a:pos x="T12" y="T13"/>
                </a:cxn>
              </a:cxnLst>
              <a:rect l="0" t="0" r="r" b="b"/>
              <a:pathLst>
                <a:path w="525" h="939">
                  <a:moveTo>
                    <a:pt x="524" y="0"/>
                  </a:moveTo>
                  <a:lnTo>
                    <a:pt x="441" y="0"/>
                  </a:lnTo>
                  <a:lnTo>
                    <a:pt x="0" y="441"/>
                  </a:lnTo>
                  <a:lnTo>
                    <a:pt x="0" y="497"/>
                  </a:lnTo>
                  <a:lnTo>
                    <a:pt x="441" y="938"/>
                  </a:lnTo>
                  <a:lnTo>
                    <a:pt x="524" y="938"/>
                  </a:lnTo>
                  <a:lnTo>
                    <a:pt x="524" y="0"/>
                  </a:lnTo>
                </a:path>
              </a:pathLst>
            </a:custGeom>
            <a:noFill/>
            <a:ln w="12700" cap="flat" cmpd="sng">
              <a:solidFill>
                <a:srgbClr val="0B981B"/>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72" name="Freeform 12"/>
            <p:cNvSpPr>
              <a:spLocks noChangeArrowheads="1"/>
            </p:cNvSpPr>
            <p:nvPr/>
          </p:nvSpPr>
          <p:spPr bwMode="auto">
            <a:xfrm>
              <a:off x="3190156" y="3803141"/>
              <a:ext cx="90432" cy="161865"/>
            </a:xfrm>
            <a:custGeom>
              <a:avLst/>
              <a:gdLst>
                <a:gd name="T0" fmla="*/ 0 w 525"/>
                <a:gd name="T1" fmla="*/ 938 h 939"/>
                <a:gd name="T2" fmla="*/ 83 w 525"/>
                <a:gd name="T3" fmla="*/ 938 h 939"/>
                <a:gd name="T4" fmla="*/ 524 w 525"/>
                <a:gd name="T5" fmla="*/ 497 h 939"/>
                <a:gd name="T6" fmla="*/ 524 w 525"/>
                <a:gd name="T7" fmla="*/ 441 h 939"/>
                <a:gd name="T8" fmla="*/ 83 w 525"/>
                <a:gd name="T9" fmla="*/ 0 h 939"/>
                <a:gd name="T10" fmla="*/ 0 w 525"/>
                <a:gd name="T11" fmla="*/ 0 h 939"/>
                <a:gd name="T12" fmla="*/ 0 w 525"/>
                <a:gd name="T13" fmla="*/ 938 h 939"/>
              </a:gdLst>
              <a:ahLst/>
              <a:cxnLst>
                <a:cxn ang="0">
                  <a:pos x="T0" y="T1"/>
                </a:cxn>
                <a:cxn ang="0">
                  <a:pos x="T2" y="T3"/>
                </a:cxn>
                <a:cxn ang="0">
                  <a:pos x="T4" y="T5"/>
                </a:cxn>
                <a:cxn ang="0">
                  <a:pos x="T6" y="T7"/>
                </a:cxn>
                <a:cxn ang="0">
                  <a:pos x="T8" y="T9"/>
                </a:cxn>
                <a:cxn ang="0">
                  <a:pos x="T10" y="T11"/>
                </a:cxn>
                <a:cxn ang="0">
                  <a:pos x="T12" y="T13"/>
                </a:cxn>
              </a:cxnLst>
              <a:rect l="0" t="0" r="r" b="b"/>
              <a:pathLst>
                <a:path w="525" h="939">
                  <a:moveTo>
                    <a:pt x="0" y="938"/>
                  </a:moveTo>
                  <a:lnTo>
                    <a:pt x="83" y="938"/>
                  </a:lnTo>
                  <a:lnTo>
                    <a:pt x="524" y="497"/>
                  </a:lnTo>
                  <a:lnTo>
                    <a:pt x="524" y="441"/>
                  </a:lnTo>
                  <a:lnTo>
                    <a:pt x="83" y="0"/>
                  </a:lnTo>
                  <a:lnTo>
                    <a:pt x="0" y="0"/>
                  </a:lnTo>
                  <a:lnTo>
                    <a:pt x="0" y="938"/>
                  </a:lnTo>
                </a:path>
              </a:pathLst>
            </a:custGeom>
            <a:noFill/>
            <a:ln w="12700" cap="flat" cmpd="sng">
              <a:solidFill>
                <a:srgbClr val="0B981B"/>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grpSp>
      <p:grpSp>
        <p:nvGrpSpPr>
          <p:cNvPr id="2" name="Group 1"/>
          <p:cNvGrpSpPr/>
          <p:nvPr/>
        </p:nvGrpSpPr>
        <p:grpSpPr>
          <a:xfrm>
            <a:off x="377658" y="2895785"/>
            <a:ext cx="551709" cy="550949"/>
            <a:chOff x="377658" y="2895785"/>
            <a:chExt cx="551709" cy="550949"/>
          </a:xfrm>
        </p:grpSpPr>
        <p:sp>
          <p:nvSpPr>
            <p:cNvPr id="64" name="Freeform 4"/>
            <p:cNvSpPr>
              <a:spLocks noChangeArrowheads="1"/>
            </p:cNvSpPr>
            <p:nvPr/>
          </p:nvSpPr>
          <p:spPr bwMode="auto">
            <a:xfrm>
              <a:off x="377658" y="2895785"/>
              <a:ext cx="551709" cy="550949"/>
            </a:xfrm>
            <a:custGeom>
              <a:avLst/>
              <a:gdLst>
                <a:gd name="T0" fmla="*/ 3199 w 3200"/>
                <a:gd name="T1" fmla="*/ 3198 h 3199"/>
                <a:gd name="T2" fmla="*/ 0 w 3200"/>
                <a:gd name="T3" fmla="*/ 3198 h 3199"/>
                <a:gd name="T4" fmla="*/ 0 w 3200"/>
                <a:gd name="T5" fmla="*/ 0 h 3199"/>
                <a:gd name="T6" fmla="*/ 3199 w 3200"/>
                <a:gd name="T7" fmla="*/ 0 h 3199"/>
                <a:gd name="T8" fmla="*/ 3199 w 3200"/>
                <a:gd name="T9" fmla="*/ 3198 h 3199"/>
              </a:gdLst>
              <a:ahLst/>
              <a:cxnLst>
                <a:cxn ang="0">
                  <a:pos x="T0" y="T1"/>
                </a:cxn>
                <a:cxn ang="0">
                  <a:pos x="T2" y="T3"/>
                </a:cxn>
                <a:cxn ang="0">
                  <a:pos x="T4" y="T5"/>
                </a:cxn>
                <a:cxn ang="0">
                  <a:pos x="T6" y="T7"/>
                </a:cxn>
                <a:cxn ang="0">
                  <a:pos x="T8" y="T9"/>
                </a:cxn>
              </a:cxnLst>
              <a:rect l="0" t="0" r="r" b="b"/>
              <a:pathLst>
                <a:path w="3200" h="3199">
                  <a:moveTo>
                    <a:pt x="3199" y="3198"/>
                  </a:moveTo>
                  <a:lnTo>
                    <a:pt x="0" y="3198"/>
                  </a:lnTo>
                  <a:lnTo>
                    <a:pt x="0" y="0"/>
                  </a:lnTo>
                  <a:lnTo>
                    <a:pt x="3199" y="0"/>
                  </a:lnTo>
                  <a:lnTo>
                    <a:pt x="3199" y="3198"/>
                  </a:lnTo>
                </a:path>
              </a:pathLst>
            </a:custGeom>
            <a:noFill/>
            <a:ln w="12700" cap="flat" cmpd="sng">
              <a:solidFill>
                <a:srgbClr val="0069A8"/>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73" name="Freeform 13"/>
            <p:cNvSpPr>
              <a:spLocks noChangeArrowheads="1"/>
            </p:cNvSpPr>
            <p:nvPr/>
          </p:nvSpPr>
          <p:spPr bwMode="auto">
            <a:xfrm>
              <a:off x="515205" y="2971778"/>
              <a:ext cx="275855" cy="170984"/>
            </a:xfrm>
            <a:custGeom>
              <a:avLst/>
              <a:gdLst>
                <a:gd name="T0" fmla="*/ 800 w 1600"/>
                <a:gd name="T1" fmla="*/ 993 h 994"/>
                <a:gd name="T2" fmla="*/ 800 w 1600"/>
                <a:gd name="T3" fmla="*/ 993 h 994"/>
                <a:gd name="T4" fmla="*/ 1075 w 1600"/>
                <a:gd name="T5" fmla="*/ 993 h 994"/>
                <a:gd name="T6" fmla="*/ 1351 w 1600"/>
                <a:gd name="T7" fmla="*/ 938 h 994"/>
                <a:gd name="T8" fmla="*/ 1599 w 1600"/>
                <a:gd name="T9" fmla="*/ 938 h 994"/>
                <a:gd name="T10" fmla="*/ 1599 w 1600"/>
                <a:gd name="T11" fmla="*/ 855 h 994"/>
                <a:gd name="T12" fmla="*/ 1516 w 1600"/>
                <a:gd name="T13" fmla="*/ 772 h 994"/>
                <a:gd name="T14" fmla="*/ 1296 w 1600"/>
                <a:gd name="T15" fmla="*/ 221 h 994"/>
                <a:gd name="T16" fmla="*/ 1185 w 1600"/>
                <a:gd name="T17" fmla="*/ 193 h 994"/>
                <a:gd name="T18" fmla="*/ 1158 w 1600"/>
                <a:gd name="T19" fmla="*/ 110 h 994"/>
                <a:gd name="T20" fmla="*/ 800 w 1600"/>
                <a:gd name="T21" fmla="*/ 0 h 994"/>
                <a:gd name="T22" fmla="*/ 800 w 1600"/>
                <a:gd name="T23" fmla="*/ 0 h 994"/>
                <a:gd name="T24" fmla="*/ 441 w 1600"/>
                <a:gd name="T25" fmla="*/ 110 h 994"/>
                <a:gd name="T26" fmla="*/ 413 w 1600"/>
                <a:gd name="T27" fmla="*/ 193 h 994"/>
                <a:gd name="T28" fmla="*/ 303 w 1600"/>
                <a:gd name="T29" fmla="*/ 221 h 994"/>
                <a:gd name="T30" fmla="*/ 82 w 1600"/>
                <a:gd name="T31" fmla="*/ 772 h 994"/>
                <a:gd name="T32" fmla="*/ 0 w 1600"/>
                <a:gd name="T33" fmla="*/ 855 h 994"/>
                <a:gd name="T34" fmla="*/ 0 w 1600"/>
                <a:gd name="T35" fmla="*/ 938 h 994"/>
                <a:gd name="T36" fmla="*/ 248 w 1600"/>
                <a:gd name="T37" fmla="*/ 938 h 994"/>
                <a:gd name="T38" fmla="*/ 524 w 1600"/>
                <a:gd name="T39" fmla="*/ 993 h 994"/>
                <a:gd name="T40" fmla="*/ 800 w 1600"/>
                <a:gd name="T41"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00" h="994">
                  <a:moveTo>
                    <a:pt x="800" y="993"/>
                  </a:moveTo>
                  <a:lnTo>
                    <a:pt x="800" y="993"/>
                  </a:lnTo>
                  <a:cubicBezTo>
                    <a:pt x="1075" y="993"/>
                    <a:pt x="1075" y="993"/>
                    <a:pt x="1075" y="993"/>
                  </a:cubicBezTo>
                  <a:cubicBezTo>
                    <a:pt x="1268" y="993"/>
                    <a:pt x="1351" y="938"/>
                    <a:pt x="1351" y="938"/>
                  </a:cubicBezTo>
                  <a:cubicBezTo>
                    <a:pt x="1599" y="938"/>
                    <a:pt x="1599" y="938"/>
                    <a:pt x="1599" y="938"/>
                  </a:cubicBezTo>
                  <a:cubicBezTo>
                    <a:pt x="1599" y="938"/>
                    <a:pt x="1599" y="938"/>
                    <a:pt x="1599" y="855"/>
                  </a:cubicBezTo>
                  <a:cubicBezTo>
                    <a:pt x="1599" y="800"/>
                    <a:pt x="1516" y="772"/>
                    <a:pt x="1516" y="772"/>
                  </a:cubicBezTo>
                  <a:cubicBezTo>
                    <a:pt x="1516" y="524"/>
                    <a:pt x="1296" y="221"/>
                    <a:pt x="1296" y="221"/>
                  </a:cubicBezTo>
                  <a:cubicBezTo>
                    <a:pt x="1185" y="193"/>
                    <a:pt x="1185" y="193"/>
                    <a:pt x="1185" y="193"/>
                  </a:cubicBezTo>
                  <a:cubicBezTo>
                    <a:pt x="1185" y="193"/>
                    <a:pt x="1185" y="193"/>
                    <a:pt x="1158" y="110"/>
                  </a:cubicBezTo>
                  <a:cubicBezTo>
                    <a:pt x="1131" y="28"/>
                    <a:pt x="910" y="0"/>
                    <a:pt x="800" y="0"/>
                  </a:cubicBezTo>
                  <a:lnTo>
                    <a:pt x="800" y="0"/>
                  </a:lnTo>
                  <a:cubicBezTo>
                    <a:pt x="689" y="0"/>
                    <a:pt x="469" y="28"/>
                    <a:pt x="441" y="110"/>
                  </a:cubicBezTo>
                  <a:cubicBezTo>
                    <a:pt x="413" y="193"/>
                    <a:pt x="413" y="193"/>
                    <a:pt x="413" y="193"/>
                  </a:cubicBezTo>
                  <a:cubicBezTo>
                    <a:pt x="303" y="221"/>
                    <a:pt x="303" y="221"/>
                    <a:pt x="303" y="221"/>
                  </a:cubicBezTo>
                  <a:cubicBezTo>
                    <a:pt x="303" y="221"/>
                    <a:pt x="82" y="524"/>
                    <a:pt x="82" y="772"/>
                  </a:cubicBezTo>
                  <a:cubicBezTo>
                    <a:pt x="82" y="772"/>
                    <a:pt x="0" y="800"/>
                    <a:pt x="0" y="855"/>
                  </a:cubicBezTo>
                  <a:cubicBezTo>
                    <a:pt x="0" y="938"/>
                    <a:pt x="0" y="938"/>
                    <a:pt x="0" y="938"/>
                  </a:cubicBezTo>
                  <a:cubicBezTo>
                    <a:pt x="248" y="938"/>
                    <a:pt x="248" y="938"/>
                    <a:pt x="248" y="938"/>
                  </a:cubicBezTo>
                  <a:cubicBezTo>
                    <a:pt x="248" y="938"/>
                    <a:pt x="331" y="993"/>
                    <a:pt x="524" y="993"/>
                  </a:cubicBezTo>
                  <a:cubicBezTo>
                    <a:pt x="800" y="993"/>
                    <a:pt x="800" y="993"/>
                    <a:pt x="800" y="993"/>
                  </a:cubicBezTo>
                </a:path>
              </a:pathLst>
            </a:custGeom>
            <a:noFill/>
            <a:ln w="12700" cap="flat" cmpd="sng">
              <a:solidFill>
                <a:srgbClr val="0069A8"/>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74" name="Freeform 14"/>
            <p:cNvSpPr>
              <a:spLocks noChangeArrowheads="1"/>
            </p:cNvSpPr>
            <p:nvPr/>
          </p:nvSpPr>
          <p:spPr bwMode="auto">
            <a:xfrm>
              <a:off x="515205" y="3132883"/>
              <a:ext cx="280414" cy="237858"/>
            </a:xfrm>
            <a:custGeom>
              <a:avLst/>
              <a:gdLst>
                <a:gd name="T0" fmla="*/ 1489 w 1628"/>
                <a:gd name="T1" fmla="*/ 0 h 1379"/>
                <a:gd name="T2" fmla="*/ 1489 w 1628"/>
                <a:gd name="T3" fmla="*/ 0 h 1379"/>
                <a:gd name="T4" fmla="*/ 1489 w 1628"/>
                <a:gd name="T5" fmla="*/ 165 h 1379"/>
                <a:gd name="T6" fmla="*/ 1599 w 1628"/>
                <a:gd name="T7" fmla="*/ 221 h 1379"/>
                <a:gd name="T8" fmla="*/ 1599 w 1628"/>
                <a:gd name="T9" fmla="*/ 385 h 1379"/>
                <a:gd name="T10" fmla="*/ 1516 w 1628"/>
                <a:gd name="T11" fmla="*/ 606 h 1379"/>
                <a:gd name="T12" fmla="*/ 1434 w 1628"/>
                <a:gd name="T13" fmla="*/ 606 h 1379"/>
                <a:gd name="T14" fmla="*/ 1048 w 1628"/>
                <a:gd name="T15" fmla="*/ 1296 h 1379"/>
                <a:gd name="T16" fmla="*/ 800 w 1628"/>
                <a:gd name="T17" fmla="*/ 1378 h 1379"/>
                <a:gd name="T18" fmla="*/ 800 w 1628"/>
                <a:gd name="T19" fmla="*/ 1378 h 1379"/>
                <a:gd name="T20" fmla="*/ 552 w 1628"/>
                <a:gd name="T21" fmla="*/ 1296 h 1379"/>
                <a:gd name="T22" fmla="*/ 165 w 1628"/>
                <a:gd name="T23" fmla="*/ 606 h 1379"/>
                <a:gd name="T24" fmla="*/ 111 w 1628"/>
                <a:gd name="T25" fmla="*/ 606 h 1379"/>
                <a:gd name="T26" fmla="*/ 0 w 1628"/>
                <a:gd name="T27" fmla="*/ 385 h 1379"/>
                <a:gd name="T28" fmla="*/ 0 w 1628"/>
                <a:gd name="T29" fmla="*/ 221 h 1379"/>
                <a:gd name="T30" fmla="*/ 111 w 1628"/>
                <a:gd name="T31" fmla="*/ 165 h 1379"/>
                <a:gd name="T32" fmla="*/ 111 w 1628"/>
                <a:gd name="T33" fmla="*/ 0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28" h="1379">
                  <a:moveTo>
                    <a:pt x="1489" y="0"/>
                  </a:moveTo>
                  <a:lnTo>
                    <a:pt x="1489" y="0"/>
                  </a:lnTo>
                  <a:cubicBezTo>
                    <a:pt x="1489" y="165"/>
                    <a:pt x="1489" y="165"/>
                    <a:pt x="1489" y="165"/>
                  </a:cubicBezTo>
                  <a:cubicBezTo>
                    <a:pt x="1489" y="165"/>
                    <a:pt x="1599" y="138"/>
                    <a:pt x="1599" y="221"/>
                  </a:cubicBezTo>
                  <a:cubicBezTo>
                    <a:pt x="1599" y="275"/>
                    <a:pt x="1627" y="331"/>
                    <a:pt x="1599" y="385"/>
                  </a:cubicBezTo>
                  <a:cubicBezTo>
                    <a:pt x="1599" y="441"/>
                    <a:pt x="1572" y="579"/>
                    <a:pt x="1516" y="606"/>
                  </a:cubicBezTo>
                  <a:cubicBezTo>
                    <a:pt x="1462" y="606"/>
                    <a:pt x="1434" y="606"/>
                    <a:pt x="1434" y="606"/>
                  </a:cubicBezTo>
                  <a:cubicBezTo>
                    <a:pt x="1434" y="606"/>
                    <a:pt x="1323" y="1157"/>
                    <a:pt x="1048" y="1296"/>
                  </a:cubicBezTo>
                  <a:cubicBezTo>
                    <a:pt x="1020" y="1378"/>
                    <a:pt x="854" y="1378"/>
                    <a:pt x="800" y="1378"/>
                  </a:cubicBezTo>
                  <a:lnTo>
                    <a:pt x="800" y="1378"/>
                  </a:lnTo>
                  <a:cubicBezTo>
                    <a:pt x="744" y="1378"/>
                    <a:pt x="579" y="1378"/>
                    <a:pt x="552" y="1296"/>
                  </a:cubicBezTo>
                  <a:cubicBezTo>
                    <a:pt x="276" y="1157"/>
                    <a:pt x="165" y="606"/>
                    <a:pt x="165" y="606"/>
                  </a:cubicBezTo>
                  <a:cubicBezTo>
                    <a:pt x="165" y="606"/>
                    <a:pt x="138" y="606"/>
                    <a:pt x="111" y="606"/>
                  </a:cubicBezTo>
                  <a:cubicBezTo>
                    <a:pt x="55" y="579"/>
                    <a:pt x="0" y="441"/>
                    <a:pt x="0" y="385"/>
                  </a:cubicBezTo>
                  <a:cubicBezTo>
                    <a:pt x="0" y="331"/>
                    <a:pt x="0" y="275"/>
                    <a:pt x="0" y="221"/>
                  </a:cubicBezTo>
                  <a:cubicBezTo>
                    <a:pt x="0" y="138"/>
                    <a:pt x="111" y="165"/>
                    <a:pt x="111" y="165"/>
                  </a:cubicBezTo>
                  <a:cubicBezTo>
                    <a:pt x="111" y="0"/>
                    <a:pt x="111" y="0"/>
                    <a:pt x="111" y="0"/>
                  </a:cubicBezTo>
                </a:path>
              </a:pathLst>
            </a:custGeom>
            <a:noFill/>
            <a:ln w="12700" cap="flat" cmpd="sng">
              <a:solidFill>
                <a:srgbClr val="0069A8"/>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grpSp>
      <p:grpSp>
        <p:nvGrpSpPr>
          <p:cNvPr id="15" name="Group 14"/>
          <p:cNvGrpSpPr/>
          <p:nvPr/>
        </p:nvGrpSpPr>
        <p:grpSpPr>
          <a:xfrm>
            <a:off x="1736412" y="3607839"/>
            <a:ext cx="546389" cy="546389"/>
            <a:chOff x="1736412" y="3607839"/>
            <a:chExt cx="546389" cy="546389"/>
          </a:xfrm>
        </p:grpSpPr>
        <p:sp>
          <p:nvSpPr>
            <p:cNvPr id="65" name="Freeform 5"/>
            <p:cNvSpPr>
              <a:spLocks noChangeArrowheads="1"/>
            </p:cNvSpPr>
            <p:nvPr/>
          </p:nvSpPr>
          <p:spPr bwMode="auto">
            <a:xfrm>
              <a:off x="1736412" y="3607839"/>
              <a:ext cx="546389" cy="546389"/>
            </a:xfrm>
            <a:custGeom>
              <a:avLst/>
              <a:gdLst>
                <a:gd name="T0" fmla="*/ 3170 w 3171"/>
                <a:gd name="T1" fmla="*/ 3171 h 3172"/>
                <a:gd name="T2" fmla="*/ 0 w 3171"/>
                <a:gd name="T3" fmla="*/ 3171 h 3172"/>
                <a:gd name="T4" fmla="*/ 0 w 3171"/>
                <a:gd name="T5" fmla="*/ 0 h 3172"/>
                <a:gd name="T6" fmla="*/ 3170 w 3171"/>
                <a:gd name="T7" fmla="*/ 0 h 3172"/>
                <a:gd name="T8" fmla="*/ 3170 w 3171"/>
                <a:gd name="T9" fmla="*/ 3171 h 3172"/>
              </a:gdLst>
              <a:ahLst/>
              <a:cxnLst>
                <a:cxn ang="0">
                  <a:pos x="T0" y="T1"/>
                </a:cxn>
                <a:cxn ang="0">
                  <a:pos x="T2" y="T3"/>
                </a:cxn>
                <a:cxn ang="0">
                  <a:pos x="T4" y="T5"/>
                </a:cxn>
                <a:cxn ang="0">
                  <a:pos x="T6" y="T7"/>
                </a:cxn>
                <a:cxn ang="0">
                  <a:pos x="T8" y="T9"/>
                </a:cxn>
              </a:cxnLst>
              <a:rect l="0" t="0" r="r" b="b"/>
              <a:pathLst>
                <a:path w="3171" h="3172">
                  <a:moveTo>
                    <a:pt x="3170" y="3171"/>
                  </a:moveTo>
                  <a:lnTo>
                    <a:pt x="0" y="3171"/>
                  </a:lnTo>
                  <a:lnTo>
                    <a:pt x="0" y="0"/>
                  </a:lnTo>
                  <a:lnTo>
                    <a:pt x="3170" y="0"/>
                  </a:lnTo>
                  <a:lnTo>
                    <a:pt x="3170" y="3171"/>
                  </a:lnTo>
                </a:path>
              </a:pathLst>
            </a:custGeom>
            <a:noFill/>
            <a:ln w="12700" cap="flat" cmpd="sng">
              <a:solidFill>
                <a:srgbClr val="2BBB4E"/>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78" name="Freeform 18"/>
            <p:cNvSpPr>
              <a:spLocks noChangeArrowheads="1"/>
            </p:cNvSpPr>
            <p:nvPr/>
          </p:nvSpPr>
          <p:spPr bwMode="auto">
            <a:xfrm>
              <a:off x="1978829" y="3717269"/>
              <a:ext cx="85112" cy="85872"/>
            </a:xfrm>
            <a:custGeom>
              <a:avLst/>
              <a:gdLst>
                <a:gd name="T0" fmla="*/ 247 w 496"/>
                <a:gd name="T1" fmla="*/ 0 h 497"/>
                <a:gd name="T2" fmla="*/ 247 w 496"/>
                <a:gd name="T3" fmla="*/ 0 h 497"/>
                <a:gd name="T4" fmla="*/ 495 w 496"/>
                <a:gd name="T5" fmla="*/ 248 h 497"/>
                <a:gd name="T6" fmla="*/ 247 w 496"/>
                <a:gd name="T7" fmla="*/ 496 h 497"/>
                <a:gd name="T8" fmla="*/ 0 w 496"/>
                <a:gd name="T9" fmla="*/ 248 h 497"/>
                <a:gd name="T10" fmla="*/ 247 w 496"/>
                <a:gd name="T11" fmla="*/ 0 h 497"/>
              </a:gdLst>
              <a:ahLst/>
              <a:cxnLst>
                <a:cxn ang="0">
                  <a:pos x="T0" y="T1"/>
                </a:cxn>
                <a:cxn ang="0">
                  <a:pos x="T2" y="T3"/>
                </a:cxn>
                <a:cxn ang="0">
                  <a:pos x="T4" y="T5"/>
                </a:cxn>
                <a:cxn ang="0">
                  <a:pos x="T6" y="T7"/>
                </a:cxn>
                <a:cxn ang="0">
                  <a:pos x="T8" y="T9"/>
                </a:cxn>
                <a:cxn ang="0">
                  <a:pos x="T10" y="T11"/>
                </a:cxn>
              </a:cxnLst>
              <a:rect l="0" t="0" r="r" b="b"/>
              <a:pathLst>
                <a:path w="496" h="497">
                  <a:moveTo>
                    <a:pt x="247" y="0"/>
                  </a:moveTo>
                  <a:lnTo>
                    <a:pt x="247" y="0"/>
                  </a:lnTo>
                  <a:cubicBezTo>
                    <a:pt x="385" y="0"/>
                    <a:pt x="495" y="111"/>
                    <a:pt x="495" y="248"/>
                  </a:cubicBezTo>
                  <a:cubicBezTo>
                    <a:pt x="495" y="386"/>
                    <a:pt x="385" y="496"/>
                    <a:pt x="247" y="496"/>
                  </a:cubicBezTo>
                  <a:cubicBezTo>
                    <a:pt x="109" y="496"/>
                    <a:pt x="0" y="386"/>
                    <a:pt x="0" y="248"/>
                  </a:cubicBezTo>
                  <a:cubicBezTo>
                    <a:pt x="0" y="111"/>
                    <a:pt x="109" y="0"/>
                    <a:pt x="247" y="0"/>
                  </a:cubicBezTo>
                </a:path>
              </a:pathLst>
            </a:custGeom>
            <a:noFill/>
            <a:ln w="12700" cap="flat" cmpd="sng">
              <a:solidFill>
                <a:srgbClr val="2BBB4E"/>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79" name="Freeform 19"/>
            <p:cNvSpPr>
              <a:spLocks noChangeArrowheads="1"/>
            </p:cNvSpPr>
            <p:nvPr/>
          </p:nvSpPr>
          <p:spPr bwMode="auto">
            <a:xfrm>
              <a:off x="1807845" y="3784143"/>
              <a:ext cx="280414" cy="294853"/>
            </a:xfrm>
            <a:custGeom>
              <a:avLst/>
              <a:gdLst>
                <a:gd name="T0" fmla="*/ 1267 w 1627"/>
                <a:gd name="T1" fmla="*/ 551 h 1711"/>
                <a:gd name="T2" fmla="*/ 1267 w 1627"/>
                <a:gd name="T3" fmla="*/ 551 h 1711"/>
                <a:gd name="T4" fmla="*/ 1267 w 1627"/>
                <a:gd name="T5" fmla="*/ 303 h 1711"/>
                <a:gd name="T6" fmla="*/ 1213 w 1627"/>
                <a:gd name="T7" fmla="*/ 193 h 1711"/>
                <a:gd name="T8" fmla="*/ 937 w 1627"/>
                <a:gd name="T9" fmla="*/ 27 h 1711"/>
                <a:gd name="T10" fmla="*/ 883 w 1627"/>
                <a:gd name="T11" fmla="*/ 0 h 1711"/>
                <a:gd name="T12" fmla="*/ 413 w 1627"/>
                <a:gd name="T13" fmla="*/ 0 h 1711"/>
                <a:gd name="T14" fmla="*/ 359 w 1627"/>
                <a:gd name="T15" fmla="*/ 27 h 1711"/>
                <a:gd name="T16" fmla="*/ 221 w 1627"/>
                <a:gd name="T17" fmla="*/ 276 h 1711"/>
                <a:gd name="T18" fmla="*/ 248 w 1627"/>
                <a:gd name="T19" fmla="*/ 414 h 1711"/>
                <a:gd name="T20" fmla="*/ 248 w 1627"/>
                <a:gd name="T21" fmla="*/ 414 h 1711"/>
                <a:gd name="T22" fmla="*/ 386 w 1627"/>
                <a:gd name="T23" fmla="*/ 358 h 1711"/>
                <a:gd name="T24" fmla="*/ 496 w 1627"/>
                <a:gd name="T25" fmla="*/ 193 h 1711"/>
                <a:gd name="T26" fmla="*/ 800 w 1627"/>
                <a:gd name="T27" fmla="*/ 193 h 1711"/>
                <a:gd name="T28" fmla="*/ 469 w 1627"/>
                <a:gd name="T29" fmla="*/ 717 h 1711"/>
                <a:gd name="T30" fmla="*/ 469 w 1627"/>
                <a:gd name="T31" fmla="*/ 772 h 1711"/>
                <a:gd name="T32" fmla="*/ 469 w 1627"/>
                <a:gd name="T33" fmla="*/ 1130 h 1711"/>
                <a:gd name="T34" fmla="*/ 111 w 1627"/>
                <a:gd name="T35" fmla="*/ 1130 h 1711"/>
                <a:gd name="T36" fmla="*/ 0 w 1627"/>
                <a:gd name="T37" fmla="*/ 1213 h 1711"/>
                <a:gd name="T38" fmla="*/ 0 w 1627"/>
                <a:gd name="T39" fmla="*/ 1269 h 1711"/>
                <a:gd name="T40" fmla="*/ 111 w 1627"/>
                <a:gd name="T41" fmla="*/ 1379 h 1711"/>
                <a:gd name="T42" fmla="*/ 634 w 1627"/>
                <a:gd name="T43" fmla="*/ 1379 h 1711"/>
                <a:gd name="T44" fmla="*/ 717 w 1627"/>
                <a:gd name="T45" fmla="*/ 1296 h 1711"/>
                <a:gd name="T46" fmla="*/ 717 w 1627"/>
                <a:gd name="T47" fmla="*/ 938 h 1711"/>
                <a:gd name="T48" fmla="*/ 965 w 1627"/>
                <a:gd name="T49" fmla="*/ 1103 h 1711"/>
                <a:gd name="T50" fmla="*/ 965 w 1627"/>
                <a:gd name="T51" fmla="*/ 1599 h 1711"/>
                <a:gd name="T52" fmla="*/ 1075 w 1627"/>
                <a:gd name="T53" fmla="*/ 1710 h 1711"/>
                <a:gd name="T54" fmla="*/ 1102 w 1627"/>
                <a:gd name="T55" fmla="*/ 1710 h 1711"/>
                <a:gd name="T56" fmla="*/ 1213 w 1627"/>
                <a:gd name="T57" fmla="*/ 1599 h 1711"/>
                <a:gd name="T58" fmla="*/ 1213 w 1627"/>
                <a:gd name="T59" fmla="*/ 1020 h 1711"/>
                <a:gd name="T60" fmla="*/ 1158 w 1627"/>
                <a:gd name="T61" fmla="*/ 938 h 1711"/>
                <a:gd name="T62" fmla="*/ 883 w 1627"/>
                <a:gd name="T63" fmla="*/ 772 h 1711"/>
                <a:gd name="T64" fmla="*/ 1075 w 1627"/>
                <a:gd name="T65" fmla="*/ 497 h 1711"/>
                <a:gd name="T66" fmla="*/ 1075 w 1627"/>
                <a:gd name="T67" fmla="*/ 689 h 1711"/>
                <a:gd name="T68" fmla="*/ 1131 w 1627"/>
                <a:gd name="T69" fmla="*/ 744 h 1711"/>
                <a:gd name="T70" fmla="*/ 1544 w 1627"/>
                <a:gd name="T71" fmla="*/ 744 h 1711"/>
                <a:gd name="T72" fmla="*/ 1626 w 1627"/>
                <a:gd name="T73" fmla="*/ 662 h 1711"/>
                <a:gd name="T74" fmla="*/ 1626 w 1627"/>
                <a:gd name="T75" fmla="*/ 662 h 1711"/>
                <a:gd name="T76" fmla="*/ 1544 w 1627"/>
                <a:gd name="T77" fmla="*/ 551 h 1711"/>
                <a:gd name="T78" fmla="*/ 1267 w 1627"/>
                <a:gd name="T79" fmla="*/ 551 h 1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27" h="1711">
                  <a:moveTo>
                    <a:pt x="1267" y="551"/>
                  </a:moveTo>
                  <a:lnTo>
                    <a:pt x="1267" y="551"/>
                  </a:lnTo>
                  <a:cubicBezTo>
                    <a:pt x="1267" y="303"/>
                    <a:pt x="1267" y="303"/>
                    <a:pt x="1267" y="303"/>
                  </a:cubicBezTo>
                  <a:cubicBezTo>
                    <a:pt x="1267" y="248"/>
                    <a:pt x="1240" y="220"/>
                    <a:pt x="1213" y="193"/>
                  </a:cubicBezTo>
                  <a:cubicBezTo>
                    <a:pt x="937" y="27"/>
                    <a:pt x="937" y="27"/>
                    <a:pt x="937" y="27"/>
                  </a:cubicBezTo>
                  <a:cubicBezTo>
                    <a:pt x="910" y="0"/>
                    <a:pt x="910" y="0"/>
                    <a:pt x="883" y="0"/>
                  </a:cubicBezTo>
                  <a:cubicBezTo>
                    <a:pt x="413" y="0"/>
                    <a:pt x="413" y="0"/>
                    <a:pt x="413" y="0"/>
                  </a:cubicBezTo>
                  <a:cubicBezTo>
                    <a:pt x="386" y="0"/>
                    <a:pt x="359" y="0"/>
                    <a:pt x="359" y="27"/>
                  </a:cubicBezTo>
                  <a:cubicBezTo>
                    <a:pt x="221" y="276"/>
                    <a:pt x="221" y="276"/>
                    <a:pt x="221" y="276"/>
                  </a:cubicBezTo>
                  <a:cubicBezTo>
                    <a:pt x="193" y="303"/>
                    <a:pt x="193" y="386"/>
                    <a:pt x="248" y="414"/>
                  </a:cubicBezTo>
                  <a:lnTo>
                    <a:pt x="248" y="414"/>
                  </a:lnTo>
                  <a:cubicBezTo>
                    <a:pt x="276" y="441"/>
                    <a:pt x="359" y="414"/>
                    <a:pt x="386" y="358"/>
                  </a:cubicBezTo>
                  <a:cubicBezTo>
                    <a:pt x="496" y="193"/>
                    <a:pt x="496" y="193"/>
                    <a:pt x="496" y="193"/>
                  </a:cubicBezTo>
                  <a:cubicBezTo>
                    <a:pt x="800" y="193"/>
                    <a:pt x="800" y="193"/>
                    <a:pt x="800" y="193"/>
                  </a:cubicBezTo>
                  <a:cubicBezTo>
                    <a:pt x="469" y="717"/>
                    <a:pt x="469" y="717"/>
                    <a:pt x="469" y="717"/>
                  </a:cubicBezTo>
                  <a:cubicBezTo>
                    <a:pt x="469" y="744"/>
                    <a:pt x="469" y="744"/>
                    <a:pt x="469" y="772"/>
                  </a:cubicBezTo>
                  <a:cubicBezTo>
                    <a:pt x="469" y="1130"/>
                    <a:pt x="469" y="1130"/>
                    <a:pt x="469" y="1130"/>
                  </a:cubicBezTo>
                  <a:cubicBezTo>
                    <a:pt x="111" y="1130"/>
                    <a:pt x="111" y="1130"/>
                    <a:pt x="111" y="1130"/>
                  </a:cubicBezTo>
                  <a:cubicBezTo>
                    <a:pt x="55" y="1130"/>
                    <a:pt x="0" y="1158"/>
                    <a:pt x="0" y="1213"/>
                  </a:cubicBezTo>
                  <a:cubicBezTo>
                    <a:pt x="0" y="1269"/>
                    <a:pt x="0" y="1269"/>
                    <a:pt x="0" y="1269"/>
                  </a:cubicBezTo>
                  <a:cubicBezTo>
                    <a:pt x="0" y="1323"/>
                    <a:pt x="55" y="1379"/>
                    <a:pt x="111" y="1379"/>
                  </a:cubicBezTo>
                  <a:cubicBezTo>
                    <a:pt x="634" y="1379"/>
                    <a:pt x="634" y="1379"/>
                    <a:pt x="634" y="1379"/>
                  </a:cubicBezTo>
                  <a:cubicBezTo>
                    <a:pt x="662" y="1379"/>
                    <a:pt x="717" y="1323"/>
                    <a:pt x="717" y="1296"/>
                  </a:cubicBezTo>
                  <a:cubicBezTo>
                    <a:pt x="717" y="938"/>
                    <a:pt x="717" y="938"/>
                    <a:pt x="717" y="938"/>
                  </a:cubicBezTo>
                  <a:cubicBezTo>
                    <a:pt x="965" y="1103"/>
                    <a:pt x="965" y="1103"/>
                    <a:pt x="965" y="1103"/>
                  </a:cubicBezTo>
                  <a:cubicBezTo>
                    <a:pt x="965" y="1599"/>
                    <a:pt x="965" y="1599"/>
                    <a:pt x="965" y="1599"/>
                  </a:cubicBezTo>
                  <a:cubicBezTo>
                    <a:pt x="965" y="1654"/>
                    <a:pt x="993" y="1710"/>
                    <a:pt x="1075" y="1710"/>
                  </a:cubicBezTo>
                  <a:cubicBezTo>
                    <a:pt x="1102" y="1710"/>
                    <a:pt x="1102" y="1710"/>
                    <a:pt x="1102" y="1710"/>
                  </a:cubicBezTo>
                  <a:cubicBezTo>
                    <a:pt x="1158" y="1710"/>
                    <a:pt x="1213" y="1654"/>
                    <a:pt x="1213" y="1599"/>
                  </a:cubicBezTo>
                  <a:cubicBezTo>
                    <a:pt x="1213" y="1020"/>
                    <a:pt x="1213" y="1020"/>
                    <a:pt x="1213" y="1020"/>
                  </a:cubicBezTo>
                  <a:cubicBezTo>
                    <a:pt x="1213" y="992"/>
                    <a:pt x="1185" y="965"/>
                    <a:pt x="1158" y="938"/>
                  </a:cubicBezTo>
                  <a:cubicBezTo>
                    <a:pt x="883" y="772"/>
                    <a:pt x="883" y="772"/>
                    <a:pt x="883" y="772"/>
                  </a:cubicBezTo>
                  <a:cubicBezTo>
                    <a:pt x="1075" y="497"/>
                    <a:pt x="1075" y="497"/>
                    <a:pt x="1075" y="497"/>
                  </a:cubicBezTo>
                  <a:cubicBezTo>
                    <a:pt x="1075" y="689"/>
                    <a:pt x="1075" y="689"/>
                    <a:pt x="1075" y="689"/>
                  </a:cubicBezTo>
                  <a:cubicBezTo>
                    <a:pt x="1075" y="717"/>
                    <a:pt x="1102" y="744"/>
                    <a:pt x="1131" y="744"/>
                  </a:cubicBezTo>
                  <a:cubicBezTo>
                    <a:pt x="1544" y="744"/>
                    <a:pt x="1544" y="744"/>
                    <a:pt x="1544" y="744"/>
                  </a:cubicBezTo>
                  <a:cubicBezTo>
                    <a:pt x="1598" y="744"/>
                    <a:pt x="1626" y="717"/>
                    <a:pt x="1626" y="662"/>
                  </a:cubicBezTo>
                  <a:lnTo>
                    <a:pt x="1626" y="662"/>
                  </a:lnTo>
                  <a:cubicBezTo>
                    <a:pt x="1626" y="607"/>
                    <a:pt x="1598" y="551"/>
                    <a:pt x="1544" y="551"/>
                  </a:cubicBezTo>
                  <a:lnTo>
                    <a:pt x="1267" y="551"/>
                  </a:lnTo>
                </a:path>
              </a:pathLst>
            </a:custGeom>
            <a:noFill/>
            <a:ln w="12700" cap="flat" cmpd="sng">
              <a:solidFill>
                <a:srgbClr val="2BBB4E"/>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80" name="Freeform 20"/>
            <p:cNvSpPr>
              <a:spLocks noChangeArrowheads="1"/>
            </p:cNvSpPr>
            <p:nvPr/>
          </p:nvSpPr>
          <p:spPr bwMode="auto">
            <a:xfrm>
              <a:off x="2130815" y="3831258"/>
              <a:ext cx="81313" cy="100311"/>
            </a:xfrm>
            <a:custGeom>
              <a:avLst/>
              <a:gdLst>
                <a:gd name="T0" fmla="*/ 0 w 470"/>
                <a:gd name="T1" fmla="*/ 0 h 580"/>
                <a:gd name="T2" fmla="*/ 469 w 470"/>
                <a:gd name="T3" fmla="*/ 303 h 580"/>
                <a:gd name="T4" fmla="*/ 0 w 470"/>
                <a:gd name="T5" fmla="*/ 579 h 580"/>
                <a:gd name="T6" fmla="*/ 0 w 470"/>
                <a:gd name="T7" fmla="*/ 0 h 580"/>
              </a:gdLst>
              <a:ahLst/>
              <a:cxnLst>
                <a:cxn ang="0">
                  <a:pos x="T0" y="T1"/>
                </a:cxn>
                <a:cxn ang="0">
                  <a:pos x="T2" y="T3"/>
                </a:cxn>
                <a:cxn ang="0">
                  <a:pos x="T4" y="T5"/>
                </a:cxn>
                <a:cxn ang="0">
                  <a:pos x="T6" y="T7"/>
                </a:cxn>
              </a:cxnLst>
              <a:rect l="0" t="0" r="r" b="b"/>
              <a:pathLst>
                <a:path w="470" h="580">
                  <a:moveTo>
                    <a:pt x="0" y="0"/>
                  </a:moveTo>
                  <a:lnTo>
                    <a:pt x="469" y="303"/>
                  </a:lnTo>
                  <a:lnTo>
                    <a:pt x="0" y="579"/>
                  </a:lnTo>
                  <a:lnTo>
                    <a:pt x="0" y="0"/>
                  </a:lnTo>
                </a:path>
              </a:pathLst>
            </a:custGeom>
            <a:noFill/>
            <a:ln w="12700" cap="flat" cmpd="sng">
              <a:solidFill>
                <a:srgbClr val="2BBB4E"/>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grpSp>
      <p:grpSp>
        <p:nvGrpSpPr>
          <p:cNvPr id="14" name="Group 13"/>
          <p:cNvGrpSpPr/>
          <p:nvPr/>
        </p:nvGrpSpPr>
        <p:grpSpPr>
          <a:xfrm>
            <a:off x="377658" y="3607839"/>
            <a:ext cx="551709" cy="546389"/>
            <a:chOff x="377658" y="3607839"/>
            <a:chExt cx="551709" cy="546389"/>
          </a:xfrm>
        </p:grpSpPr>
        <p:sp>
          <p:nvSpPr>
            <p:cNvPr id="67" name="Freeform 7"/>
            <p:cNvSpPr>
              <a:spLocks noChangeArrowheads="1"/>
            </p:cNvSpPr>
            <p:nvPr/>
          </p:nvSpPr>
          <p:spPr bwMode="auto">
            <a:xfrm>
              <a:off x="377658" y="3607839"/>
              <a:ext cx="551709" cy="546389"/>
            </a:xfrm>
            <a:custGeom>
              <a:avLst/>
              <a:gdLst>
                <a:gd name="T0" fmla="*/ 3199 w 3200"/>
                <a:gd name="T1" fmla="*/ 3171 h 3172"/>
                <a:gd name="T2" fmla="*/ 0 w 3200"/>
                <a:gd name="T3" fmla="*/ 3171 h 3172"/>
                <a:gd name="T4" fmla="*/ 0 w 3200"/>
                <a:gd name="T5" fmla="*/ 0 h 3172"/>
                <a:gd name="T6" fmla="*/ 3199 w 3200"/>
                <a:gd name="T7" fmla="*/ 0 h 3172"/>
                <a:gd name="T8" fmla="*/ 3199 w 3200"/>
                <a:gd name="T9" fmla="*/ 3171 h 3172"/>
              </a:gdLst>
              <a:ahLst/>
              <a:cxnLst>
                <a:cxn ang="0">
                  <a:pos x="T0" y="T1"/>
                </a:cxn>
                <a:cxn ang="0">
                  <a:pos x="T2" y="T3"/>
                </a:cxn>
                <a:cxn ang="0">
                  <a:pos x="T4" y="T5"/>
                </a:cxn>
                <a:cxn ang="0">
                  <a:pos x="T6" y="T7"/>
                </a:cxn>
                <a:cxn ang="0">
                  <a:pos x="T8" y="T9"/>
                </a:cxn>
              </a:cxnLst>
              <a:rect l="0" t="0" r="r" b="b"/>
              <a:pathLst>
                <a:path w="3200" h="3172">
                  <a:moveTo>
                    <a:pt x="3199" y="3171"/>
                  </a:moveTo>
                  <a:lnTo>
                    <a:pt x="0" y="3171"/>
                  </a:lnTo>
                  <a:lnTo>
                    <a:pt x="0" y="0"/>
                  </a:lnTo>
                  <a:lnTo>
                    <a:pt x="3199" y="0"/>
                  </a:lnTo>
                  <a:lnTo>
                    <a:pt x="3199" y="3171"/>
                  </a:lnTo>
                </a:path>
              </a:pathLst>
            </a:custGeom>
            <a:noFill/>
            <a:ln w="12700" cap="flat" cmpd="sng">
              <a:solidFill>
                <a:schemeClr val="accent2"/>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81" name="Freeform 21"/>
            <p:cNvSpPr>
              <a:spLocks noChangeArrowheads="1"/>
            </p:cNvSpPr>
            <p:nvPr/>
          </p:nvSpPr>
          <p:spPr bwMode="auto">
            <a:xfrm>
              <a:off x="605637" y="3693711"/>
              <a:ext cx="237858" cy="237858"/>
            </a:xfrm>
            <a:custGeom>
              <a:avLst/>
              <a:gdLst>
                <a:gd name="T0" fmla="*/ 690 w 1380"/>
                <a:gd name="T1" fmla="*/ 0 h 1380"/>
                <a:gd name="T2" fmla="*/ 690 w 1380"/>
                <a:gd name="T3" fmla="*/ 0 h 1380"/>
                <a:gd name="T4" fmla="*/ 0 w 1380"/>
                <a:gd name="T5" fmla="*/ 690 h 1380"/>
                <a:gd name="T6" fmla="*/ 193 w 1380"/>
                <a:gd name="T7" fmla="*/ 1186 h 1380"/>
                <a:gd name="T8" fmla="*/ 28 w 1380"/>
                <a:gd name="T9" fmla="*/ 1379 h 1380"/>
                <a:gd name="T10" fmla="*/ 441 w 1380"/>
                <a:gd name="T11" fmla="*/ 1351 h 1380"/>
                <a:gd name="T12" fmla="*/ 690 w 1380"/>
                <a:gd name="T13" fmla="*/ 1379 h 1380"/>
                <a:gd name="T14" fmla="*/ 1379 w 1380"/>
                <a:gd name="T15" fmla="*/ 690 h 1380"/>
                <a:gd name="T16" fmla="*/ 690 w 1380"/>
                <a:gd name="T17" fmla="*/ 0 h 1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80" h="1380">
                  <a:moveTo>
                    <a:pt x="690" y="0"/>
                  </a:moveTo>
                  <a:lnTo>
                    <a:pt x="690" y="0"/>
                  </a:lnTo>
                  <a:cubicBezTo>
                    <a:pt x="303" y="0"/>
                    <a:pt x="0" y="303"/>
                    <a:pt x="0" y="690"/>
                  </a:cubicBezTo>
                  <a:cubicBezTo>
                    <a:pt x="0" y="882"/>
                    <a:pt x="82" y="1048"/>
                    <a:pt x="193" y="1186"/>
                  </a:cubicBezTo>
                  <a:cubicBezTo>
                    <a:pt x="28" y="1379"/>
                    <a:pt x="28" y="1379"/>
                    <a:pt x="28" y="1379"/>
                  </a:cubicBezTo>
                  <a:cubicBezTo>
                    <a:pt x="441" y="1351"/>
                    <a:pt x="441" y="1351"/>
                    <a:pt x="441" y="1351"/>
                  </a:cubicBezTo>
                  <a:cubicBezTo>
                    <a:pt x="524" y="1379"/>
                    <a:pt x="607" y="1379"/>
                    <a:pt x="690" y="1379"/>
                  </a:cubicBezTo>
                  <a:cubicBezTo>
                    <a:pt x="1075" y="1379"/>
                    <a:pt x="1379" y="1075"/>
                    <a:pt x="1379" y="690"/>
                  </a:cubicBezTo>
                  <a:cubicBezTo>
                    <a:pt x="1379" y="303"/>
                    <a:pt x="1075" y="0"/>
                    <a:pt x="690" y="0"/>
                  </a:cubicBezTo>
                </a:path>
              </a:pathLst>
            </a:custGeom>
            <a:noFill/>
            <a:ln w="12700" cap="flat" cmpd="sng">
              <a:solidFill>
                <a:schemeClr val="accent2"/>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82" name="Freeform 22"/>
            <p:cNvSpPr>
              <a:spLocks noChangeArrowheads="1"/>
            </p:cNvSpPr>
            <p:nvPr/>
          </p:nvSpPr>
          <p:spPr bwMode="auto">
            <a:xfrm>
              <a:off x="462770" y="3835818"/>
              <a:ext cx="233298" cy="246977"/>
            </a:xfrm>
            <a:custGeom>
              <a:avLst/>
              <a:gdLst>
                <a:gd name="T0" fmla="*/ 248 w 1352"/>
                <a:gd name="T1" fmla="*/ 28 h 1435"/>
                <a:gd name="T2" fmla="*/ 248 w 1352"/>
                <a:gd name="T3" fmla="*/ 28 h 1435"/>
                <a:gd name="T4" fmla="*/ 248 w 1352"/>
                <a:gd name="T5" fmla="*/ 28 h 1435"/>
                <a:gd name="T6" fmla="*/ 220 w 1352"/>
                <a:gd name="T7" fmla="*/ 28 h 1435"/>
                <a:gd name="T8" fmla="*/ 54 w 1352"/>
                <a:gd name="T9" fmla="*/ 194 h 1435"/>
                <a:gd name="T10" fmla="*/ 331 w 1352"/>
                <a:gd name="T11" fmla="*/ 1048 h 1435"/>
                <a:gd name="T12" fmla="*/ 1130 w 1352"/>
                <a:gd name="T13" fmla="*/ 1434 h 1435"/>
                <a:gd name="T14" fmla="*/ 1130 w 1352"/>
                <a:gd name="T15" fmla="*/ 1434 h 1435"/>
                <a:gd name="T16" fmla="*/ 1130 w 1352"/>
                <a:gd name="T17" fmla="*/ 1434 h 1435"/>
                <a:gd name="T18" fmla="*/ 1323 w 1352"/>
                <a:gd name="T19" fmla="*/ 1296 h 1435"/>
                <a:gd name="T20" fmla="*/ 1323 w 1352"/>
                <a:gd name="T21" fmla="*/ 1103 h 1435"/>
                <a:gd name="T22" fmla="*/ 1296 w 1352"/>
                <a:gd name="T23" fmla="*/ 1103 h 1435"/>
                <a:gd name="T24" fmla="*/ 992 w 1352"/>
                <a:gd name="T25" fmla="*/ 966 h 1435"/>
                <a:gd name="T26" fmla="*/ 965 w 1352"/>
                <a:gd name="T27" fmla="*/ 966 h 1435"/>
                <a:gd name="T28" fmla="*/ 799 w 1352"/>
                <a:gd name="T29" fmla="*/ 1076 h 1435"/>
                <a:gd name="T30" fmla="*/ 524 w 1352"/>
                <a:gd name="T31" fmla="*/ 855 h 1435"/>
                <a:gd name="T32" fmla="*/ 331 w 1352"/>
                <a:gd name="T33" fmla="*/ 552 h 1435"/>
                <a:gd name="T34" fmla="*/ 468 w 1352"/>
                <a:gd name="T35" fmla="*/ 386 h 1435"/>
                <a:gd name="T36" fmla="*/ 385 w 1352"/>
                <a:gd name="T37" fmla="*/ 55 h 1435"/>
                <a:gd name="T38" fmla="*/ 385 w 1352"/>
                <a:gd name="T39" fmla="*/ 55 h 1435"/>
                <a:gd name="T40" fmla="*/ 248 w 1352"/>
                <a:gd name="T41" fmla="*/ 28 h 1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2" h="1435">
                  <a:moveTo>
                    <a:pt x="248" y="28"/>
                  </a:moveTo>
                  <a:lnTo>
                    <a:pt x="248" y="28"/>
                  </a:lnTo>
                  <a:lnTo>
                    <a:pt x="248" y="28"/>
                  </a:lnTo>
                  <a:cubicBezTo>
                    <a:pt x="220" y="28"/>
                    <a:pt x="220" y="28"/>
                    <a:pt x="220" y="28"/>
                  </a:cubicBezTo>
                  <a:cubicBezTo>
                    <a:pt x="165" y="55"/>
                    <a:pt x="83" y="111"/>
                    <a:pt x="54" y="194"/>
                  </a:cubicBezTo>
                  <a:cubicBezTo>
                    <a:pt x="27" y="248"/>
                    <a:pt x="0" y="689"/>
                    <a:pt x="331" y="1048"/>
                  </a:cubicBezTo>
                  <a:cubicBezTo>
                    <a:pt x="662" y="1407"/>
                    <a:pt x="1075" y="1434"/>
                    <a:pt x="1130" y="1434"/>
                  </a:cubicBezTo>
                  <a:lnTo>
                    <a:pt x="1130" y="1434"/>
                  </a:lnTo>
                  <a:lnTo>
                    <a:pt x="1130" y="1434"/>
                  </a:lnTo>
                  <a:cubicBezTo>
                    <a:pt x="1213" y="1378"/>
                    <a:pt x="1296" y="1324"/>
                    <a:pt x="1323" y="1296"/>
                  </a:cubicBezTo>
                  <a:cubicBezTo>
                    <a:pt x="1351" y="1213"/>
                    <a:pt x="1323" y="1158"/>
                    <a:pt x="1323" y="1103"/>
                  </a:cubicBezTo>
                  <a:cubicBezTo>
                    <a:pt x="1296" y="1103"/>
                    <a:pt x="1296" y="1103"/>
                    <a:pt x="1296" y="1103"/>
                  </a:cubicBezTo>
                  <a:cubicBezTo>
                    <a:pt x="1296" y="1048"/>
                    <a:pt x="1020" y="966"/>
                    <a:pt x="992" y="966"/>
                  </a:cubicBezTo>
                  <a:cubicBezTo>
                    <a:pt x="992" y="966"/>
                    <a:pt x="992" y="966"/>
                    <a:pt x="965" y="966"/>
                  </a:cubicBezTo>
                  <a:cubicBezTo>
                    <a:pt x="937" y="966"/>
                    <a:pt x="882" y="1020"/>
                    <a:pt x="799" y="1076"/>
                  </a:cubicBezTo>
                  <a:cubicBezTo>
                    <a:pt x="716" y="1048"/>
                    <a:pt x="579" y="910"/>
                    <a:pt x="524" y="855"/>
                  </a:cubicBezTo>
                  <a:cubicBezTo>
                    <a:pt x="468" y="772"/>
                    <a:pt x="358" y="662"/>
                    <a:pt x="331" y="552"/>
                  </a:cubicBezTo>
                  <a:cubicBezTo>
                    <a:pt x="441" y="469"/>
                    <a:pt x="468" y="441"/>
                    <a:pt x="468" y="386"/>
                  </a:cubicBezTo>
                  <a:cubicBezTo>
                    <a:pt x="496" y="359"/>
                    <a:pt x="441" y="83"/>
                    <a:pt x="385" y="55"/>
                  </a:cubicBezTo>
                  <a:lnTo>
                    <a:pt x="385" y="55"/>
                  </a:lnTo>
                  <a:cubicBezTo>
                    <a:pt x="331" y="28"/>
                    <a:pt x="303" y="0"/>
                    <a:pt x="248" y="28"/>
                  </a:cubicBezTo>
                </a:path>
              </a:pathLst>
            </a:custGeom>
            <a:noFill/>
            <a:ln w="12700" cap="flat" cmpd="sng">
              <a:solidFill>
                <a:schemeClr val="accent2"/>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83" name="Freeform 23"/>
            <p:cNvSpPr>
              <a:spLocks noChangeArrowheads="1"/>
            </p:cNvSpPr>
            <p:nvPr/>
          </p:nvSpPr>
          <p:spPr bwMode="auto">
            <a:xfrm>
              <a:off x="662631" y="3736267"/>
              <a:ext cx="119309" cy="151986"/>
            </a:xfrm>
            <a:custGeom>
              <a:avLst/>
              <a:gdLst>
                <a:gd name="T0" fmla="*/ 221 w 691"/>
                <a:gd name="T1" fmla="*/ 882 h 883"/>
                <a:gd name="T2" fmla="*/ 221 w 691"/>
                <a:gd name="T3" fmla="*/ 882 h 883"/>
                <a:gd name="T4" fmla="*/ 0 w 691"/>
                <a:gd name="T5" fmla="*/ 606 h 883"/>
                <a:gd name="T6" fmla="*/ 442 w 691"/>
                <a:gd name="T7" fmla="*/ 0 h 883"/>
                <a:gd name="T8" fmla="*/ 469 w 691"/>
                <a:gd name="T9" fmla="*/ 275 h 883"/>
                <a:gd name="T10" fmla="*/ 690 w 691"/>
                <a:gd name="T11" fmla="*/ 606 h 883"/>
                <a:gd name="T12" fmla="*/ 442 w 691"/>
                <a:gd name="T13" fmla="*/ 882 h 883"/>
                <a:gd name="T14" fmla="*/ 525 w 691"/>
                <a:gd name="T15" fmla="*/ 633 h 883"/>
                <a:gd name="T16" fmla="*/ 360 w 691"/>
                <a:gd name="T17" fmla="*/ 358 h 883"/>
                <a:gd name="T18" fmla="*/ 387 w 691"/>
                <a:gd name="T19" fmla="*/ 551 h 883"/>
                <a:gd name="T20" fmla="*/ 360 w 691"/>
                <a:gd name="T21" fmla="*/ 716 h 883"/>
                <a:gd name="T22" fmla="*/ 249 w 691"/>
                <a:gd name="T23" fmla="*/ 551 h 883"/>
                <a:gd name="T24" fmla="*/ 194 w 691"/>
                <a:gd name="T25" fmla="*/ 743 h 883"/>
                <a:gd name="T26" fmla="*/ 221 w 691"/>
                <a:gd name="T27" fmla="*/ 882 h 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91" h="883">
                  <a:moveTo>
                    <a:pt x="221" y="882"/>
                  </a:moveTo>
                  <a:lnTo>
                    <a:pt x="221" y="882"/>
                  </a:lnTo>
                  <a:cubicBezTo>
                    <a:pt x="221" y="882"/>
                    <a:pt x="0" y="772"/>
                    <a:pt x="0" y="606"/>
                  </a:cubicBezTo>
                  <a:cubicBezTo>
                    <a:pt x="0" y="302"/>
                    <a:pt x="442" y="0"/>
                    <a:pt x="442" y="0"/>
                  </a:cubicBezTo>
                  <a:cubicBezTo>
                    <a:pt x="442" y="0"/>
                    <a:pt x="387" y="165"/>
                    <a:pt x="469" y="275"/>
                  </a:cubicBezTo>
                  <a:cubicBezTo>
                    <a:pt x="525" y="330"/>
                    <a:pt x="690" y="441"/>
                    <a:pt x="690" y="606"/>
                  </a:cubicBezTo>
                  <a:cubicBezTo>
                    <a:pt x="690" y="716"/>
                    <a:pt x="442" y="882"/>
                    <a:pt x="442" y="882"/>
                  </a:cubicBezTo>
                  <a:cubicBezTo>
                    <a:pt x="442" y="882"/>
                    <a:pt x="525" y="716"/>
                    <a:pt x="525" y="633"/>
                  </a:cubicBezTo>
                  <a:cubicBezTo>
                    <a:pt x="525" y="523"/>
                    <a:pt x="360" y="441"/>
                    <a:pt x="360" y="358"/>
                  </a:cubicBezTo>
                  <a:cubicBezTo>
                    <a:pt x="360" y="468"/>
                    <a:pt x="387" y="495"/>
                    <a:pt x="387" y="551"/>
                  </a:cubicBezTo>
                  <a:cubicBezTo>
                    <a:pt x="387" y="633"/>
                    <a:pt x="360" y="716"/>
                    <a:pt x="360" y="716"/>
                  </a:cubicBezTo>
                  <a:cubicBezTo>
                    <a:pt x="360" y="716"/>
                    <a:pt x="249" y="633"/>
                    <a:pt x="249" y="551"/>
                  </a:cubicBezTo>
                  <a:cubicBezTo>
                    <a:pt x="221" y="633"/>
                    <a:pt x="194" y="661"/>
                    <a:pt x="194" y="743"/>
                  </a:cubicBezTo>
                  <a:cubicBezTo>
                    <a:pt x="194" y="799"/>
                    <a:pt x="221" y="882"/>
                    <a:pt x="221" y="882"/>
                  </a:cubicBezTo>
                </a:path>
              </a:pathLst>
            </a:custGeom>
            <a:noFill/>
            <a:ln w="12700" cap="flat" cmpd="sng">
              <a:solidFill>
                <a:schemeClr val="accent2"/>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grpSp>
      <p:grpSp>
        <p:nvGrpSpPr>
          <p:cNvPr id="12" name="Group 11"/>
          <p:cNvGrpSpPr/>
          <p:nvPr/>
        </p:nvGrpSpPr>
        <p:grpSpPr>
          <a:xfrm>
            <a:off x="3095165" y="2895785"/>
            <a:ext cx="551709" cy="550949"/>
            <a:chOff x="3095165" y="2895785"/>
            <a:chExt cx="551709" cy="550949"/>
          </a:xfrm>
        </p:grpSpPr>
        <p:sp>
          <p:nvSpPr>
            <p:cNvPr id="63" name="Freeform 3"/>
            <p:cNvSpPr>
              <a:spLocks noChangeArrowheads="1"/>
            </p:cNvSpPr>
            <p:nvPr/>
          </p:nvSpPr>
          <p:spPr bwMode="auto">
            <a:xfrm>
              <a:off x="3095165" y="2895785"/>
              <a:ext cx="551709" cy="550949"/>
            </a:xfrm>
            <a:custGeom>
              <a:avLst/>
              <a:gdLst>
                <a:gd name="T0" fmla="*/ 3199 w 3200"/>
                <a:gd name="T1" fmla="*/ 3198 h 3199"/>
                <a:gd name="T2" fmla="*/ 0 w 3200"/>
                <a:gd name="T3" fmla="*/ 3198 h 3199"/>
                <a:gd name="T4" fmla="*/ 0 w 3200"/>
                <a:gd name="T5" fmla="*/ 0 h 3199"/>
                <a:gd name="T6" fmla="*/ 3199 w 3200"/>
                <a:gd name="T7" fmla="*/ 0 h 3199"/>
                <a:gd name="T8" fmla="*/ 3199 w 3200"/>
                <a:gd name="T9" fmla="*/ 3198 h 3199"/>
              </a:gdLst>
              <a:ahLst/>
              <a:cxnLst>
                <a:cxn ang="0">
                  <a:pos x="T0" y="T1"/>
                </a:cxn>
                <a:cxn ang="0">
                  <a:pos x="T2" y="T3"/>
                </a:cxn>
                <a:cxn ang="0">
                  <a:pos x="T4" y="T5"/>
                </a:cxn>
                <a:cxn ang="0">
                  <a:pos x="T6" y="T7"/>
                </a:cxn>
                <a:cxn ang="0">
                  <a:pos x="T8" y="T9"/>
                </a:cxn>
              </a:cxnLst>
              <a:rect l="0" t="0" r="r" b="b"/>
              <a:pathLst>
                <a:path w="3200" h="3199">
                  <a:moveTo>
                    <a:pt x="3199" y="3198"/>
                  </a:moveTo>
                  <a:lnTo>
                    <a:pt x="0" y="3198"/>
                  </a:lnTo>
                  <a:lnTo>
                    <a:pt x="0" y="0"/>
                  </a:lnTo>
                  <a:lnTo>
                    <a:pt x="3199" y="0"/>
                  </a:lnTo>
                  <a:lnTo>
                    <a:pt x="3199" y="3198"/>
                  </a:lnTo>
                </a:path>
              </a:pathLst>
            </a:custGeom>
            <a:noFill/>
            <a:ln w="12700" cap="flat" cmpd="sng">
              <a:solidFill>
                <a:srgbClr val="E22E1D"/>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75" name="Freeform 15"/>
            <p:cNvSpPr>
              <a:spLocks noChangeArrowheads="1"/>
            </p:cNvSpPr>
            <p:nvPr/>
          </p:nvSpPr>
          <p:spPr bwMode="auto">
            <a:xfrm>
              <a:off x="3238032" y="3033332"/>
              <a:ext cx="275854" cy="275854"/>
            </a:xfrm>
            <a:custGeom>
              <a:avLst/>
              <a:gdLst>
                <a:gd name="T0" fmla="*/ 1599 w 1600"/>
                <a:gd name="T1" fmla="*/ 800 h 1600"/>
                <a:gd name="T2" fmla="*/ 1599 w 1600"/>
                <a:gd name="T3" fmla="*/ 800 h 1600"/>
                <a:gd name="T4" fmla="*/ 799 w 1600"/>
                <a:gd name="T5" fmla="*/ 1599 h 1600"/>
                <a:gd name="T6" fmla="*/ 0 w 1600"/>
                <a:gd name="T7" fmla="*/ 800 h 1600"/>
                <a:gd name="T8" fmla="*/ 799 w 1600"/>
                <a:gd name="T9" fmla="*/ 0 h 1600"/>
                <a:gd name="T10" fmla="*/ 1599 w 1600"/>
                <a:gd name="T11" fmla="*/ 800 h 1600"/>
              </a:gdLst>
              <a:ahLst/>
              <a:cxnLst>
                <a:cxn ang="0">
                  <a:pos x="T0" y="T1"/>
                </a:cxn>
                <a:cxn ang="0">
                  <a:pos x="T2" y="T3"/>
                </a:cxn>
                <a:cxn ang="0">
                  <a:pos x="T4" y="T5"/>
                </a:cxn>
                <a:cxn ang="0">
                  <a:pos x="T6" y="T7"/>
                </a:cxn>
                <a:cxn ang="0">
                  <a:pos x="T8" y="T9"/>
                </a:cxn>
                <a:cxn ang="0">
                  <a:pos x="T10" y="T11"/>
                </a:cxn>
              </a:cxnLst>
              <a:rect l="0" t="0" r="r" b="b"/>
              <a:pathLst>
                <a:path w="1600" h="1600">
                  <a:moveTo>
                    <a:pt x="1599" y="800"/>
                  </a:moveTo>
                  <a:lnTo>
                    <a:pt x="1599" y="800"/>
                  </a:lnTo>
                  <a:cubicBezTo>
                    <a:pt x="1599" y="1241"/>
                    <a:pt x="1241" y="1599"/>
                    <a:pt x="799" y="1599"/>
                  </a:cubicBezTo>
                  <a:cubicBezTo>
                    <a:pt x="358" y="1599"/>
                    <a:pt x="0" y="1241"/>
                    <a:pt x="0" y="800"/>
                  </a:cubicBezTo>
                  <a:cubicBezTo>
                    <a:pt x="0" y="358"/>
                    <a:pt x="358" y="0"/>
                    <a:pt x="799" y="0"/>
                  </a:cubicBezTo>
                  <a:cubicBezTo>
                    <a:pt x="1241" y="0"/>
                    <a:pt x="1599" y="358"/>
                    <a:pt x="1599" y="800"/>
                  </a:cubicBezTo>
                </a:path>
              </a:pathLst>
            </a:custGeom>
            <a:noFill/>
            <a:ln w="12700" cap="flat" cmpd="sng">
              <a:solidFill>
                <a:srgbClr val="E22E1D"/>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76" name="Freeform 16"/>
            <p:cNvSpPr>
              <a:spLocks noChangeArrowheads="1"/>
            </p:cNvSpPr>
            <p:nvPr/>
          </p:nvSpPr>
          <p:spPr bwMode="auto">
            <a:xfrm>
              <a:off x="3171158" y="3151881"/>
              <a:ext cx="142867" cy="180863"/>
            </a:xfrm>
            <a:custGeom>
              <a:avLst/>
              <a:gdLst>
                <a:gd name="T0" fmla="*/ 194 w 829"/>
                <a:gd name="T1" fmla="*/ 111 h 1048"/>
                <a:gd name="T2" fmla="*/ 194 w 829"/>
                <a:gd name="T3" fmla="*/ 111 h 1048"/>
                <a:gd name="T4" fmla="*/ 194 w 829"/>
                <a:gd name="T5" fmla="*/ 0 h 1048"/>
                <a:gd name="T6" fmla="*/ 139 w 829"/>
                <a:gd name="T7" fmla="*/ 745 h 1048"/>
                <a:gd name="T8" fmla="*/ 828 w 829"/>
                <a:gd name="T9" fmla="*/ 1047 h 1048"/>
                <a:gd name="T10" fmla="*/ 194 w 829"/>
                <a:gd name="T11" fmla="*/ 111 h 1048"/>
              </a:gdLst>
              <a:ahLst/>
              <a:cxnLst>
                <a:cxn ang="0">
                  <a:pos x="T0" y="T1"/>
                </a:cxn>
                <a:cxn ang="0">
                  <a:pos x="T2" y="T3"/>
                </a:cxn>
                <a:cxn ang="0">
                  <a:pos x="T4" y="T5"/>
                </a:cxn>
                <a:cxn ang="0">
                  <a:pos x="T6" y="T7"/>
                </a:cxn>
                <a:cxn ang="0">
                  <a:pos x="T8" y="T9"/>
                </a:cxn>
                <a:cxn ang="0">
                  <a:pos x="T10" y="T11"/>
                </a:cxn>
              </a:cxnLst>
              <a:rect l="0" t="0" r="r" b="b"/>
              <a:pathLst>
                <a:path w="829" h="1048">
                  <a:moveTo>
                    <a:pt x="194" y="111"/>
                  </a:moveTo>
                  <a:lnTo>
                    <a:pt x="194" y="111"/>
                  </a:lnTo>
                  <a:cubicBezTo>
                    <a:pt x="194" y="83"/>
                    <a:pt x="194" y="28"/>
                    <a:pt x="194" y="0"/>
                  </a:cubicBezTo>
                  <a:cubicBezTo>
                    <a:pt x="29" y="248"/>
                    <a:pt x="0" y="524"/>
                    <a:pt x="139" y="745"/>
                  </a:cubicBezTo>
                  <a:cubicBezTo>
                    <a:pt x="249" y="937"/>
                    <a:pt x="525" y="1047"/>
                    <a:pt x="828" y="1047"/>
                  </a:cubicBezTo>
                  <a:cubicBezTo>
                    <a:pt x="442" y="910"/>
                    <a:pt x="194" y="524"/>
                    <a:pt x="194" y="111"/>
                  </a:cubicBezTo>
                </a:path>
              </a:pathLst>
            </a:custGeom>
            <a:noFill/>
            <a:ln w="12700" cap="flat" cmpd="sng">
              <a:solidFill>
                <a:srgbClr val="E22E1D"/>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77" name="Freeform 17"/>
            <p:cNvSpPr>
              <a:spLocks noChangeArrowheads="1"/>
            </p:cNvSpPr>
            <p:nvPr/>
          </p:nvSpPr>
          <p:spPr bwMode="auto">
            <a:xfrm>
              <a:off x="3437893" y="3009774"/>
              <a:ext cx="138307" cy="185423"/>
            </a:xfrm>
            <a:custGeom>
              <a:avLst/>
              <a:gdLst>
                <a:gd name="T0" fmla="*/ 634 w 801"/>
                <a:gd name="T1" fmla="*/ 938 h 1076"/>
                <a:gd name="T2" fmla="*/ 634 w 801"/>
                <a:gd name="T3" fmla="*/ 938 h 1076"/>
                <a:gd name="T4" fmla="*/ 607 w 801"/>
                <a:gd name="T5" fmla="*/ 1075 h 1076"/>
                <a:gd name="T6" fmla="*/ 661 w 801"/>
                <a:gd name="T7" fmla="*/ 331 h 1076"/>
                <a:gd name="T8" fmla="*/ 0 w 801"/>
                <a:gd name="T9" fmla="*/ 28 h 1076"/>
                <a:gd name="T10" fmla="*/ 634 w 801"/>
                <a:gd name="T11" fmla="*/ 938 h 1076"/>
              </a:gdLst>
              <a:ahLst/>
              <a:cxnLst>
                <a:cxn ang="0">
                  <a:pos x="T0" y="T1"/>
                </a:cxn>
                <a:cxn ang="0">
                  <a:pos x="T2" y="T3"/>
                </a:cxn>
                <a:cxn ang="0">
                  <a:pos x="T4" y="T5"/>
                </a:cxn>
                <a:cxn ang="0">
                  <a:pos x="T6" y="T7"/>
                </a:cxn>
                <a:cxn ang="0">
                  <a:pos x="T8" y="T9"/>
                </a:cxn>
                <a:cxn ang="0">
                  <a:pos x="T10" y="T11"/>
                </a:cxn>
              </a:cxnLst>
              <a:rect l="0" t="0" r="r" b="b"/>
              <a:pathLst>
                <a:path w="801" h="1076">
                  <a:moveTo>
                    <a:pt x="634" y="938"/>
                  </a:moveTo>
                  <a:lnTo>
                    <a:pt x="634" y="938"/>
                  </a:lnTo>
                  <a:cubicBezTo>
                    <a:pt x="634" y="992"/>
                    <a:pt x="607" y="1020"/>
                    <a:pt x="607" y="1075"/>
                  </a:cubicBezTo>
                  <a:cubicBezTo>
                    <a:pt x="772" y="800"/>
                    <a:pt x="800" y="524"/>
                    <a:pt x="661" y="331"/>
                  </a:cubicBezTo>
                  <a:cubicBezTo>
                    <a:pt x="551" y="110"/>
                    <a:pt x="276" y="0"/>
                    <a:pt x="0" y="28"/>
                  </a:cubicBezTo>
                  <a:cubicBezTo>
                    <a:pt x="359" y="166"/>
                    <a:pt x="634" y="524"/>
                    <a:pt x="634" y="938"/>
                  </a:cubicBezTo>
                </a:path>
              </a:pathLst>
            </a:custGeom>
            <a:noFill/>
            <a:ln w="12700" cap="flat" cmpd="sng">
              <a:solidFill>
                <a:srgbClr val="E22E1D"/>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84" name="Freeform 24"/>
            <p:cNvSpPr>
              <a:spLocks noChangeArrowheads="1"/>
            </p:cNvSpPr>
            <p:nvPr/>
          </p:nvSpPr>
          <p:spPr bwMode="auto">
            <a:xfrm>
              <a:off x="3285148" y="3085767"/>
              <a:ext cx="166424" cy="180863"/>
            </a:xfrm>
            <a:custGeom>
              <a:avLst/>
              <a:gdLst>
                <a:gd name="T0" fmla="*/ 966 w 967"/>
                <a:gd name="T1" fmla="*/ 855 h 1049"/>
                <a:gd name="T2" fmla="*/ 966 w 967"/>
                <a:gd name="T3" fmla="*/ 855 h 1049"/>
                <a:gd name="T4" fmla="*/ 745 w 967"/>
                <a:gd name="T5" fmla="*/ 607 h 1049"/>
                <a:gd name="T6" fmla="*/ 745 w 967"/>
                <a:gd name="T7" fmla="*/ 386 h 1049"/>
                <a:gd name="T8" fmla="*/ 552 w 967"/>
                <a:gd name="T9" fmla="*/ 138 h 1049"/>
                <a:gd name="T10" fmla="*/ 552 w 967"/>
                <a:gd name="T11" fmla="*/ 83 h 1049"/>
                <a:gd name="T12" fmla="*/ 497 w 967"/>
                <a:gd name="T13" fmla="*/ 0 h 1049"/>
                <a:gd name="T14" fmla="*/ 414 w 967"/>
                <a:gd name="T15" fmla="*/ 83 h 1049"/>
                <a:gd name="T16" fmla="*/ 414 w 967"/>
                <a:gd name="T17" fmla="*/ 138 h 1049"/>
                <a:gd name="T18" fmla="*/ 221 w 967"/>
                <a:gd name="T19" fmla="*/ 386 h 1049"/>
                <a:gd name="T20" fmla="*/ 221 w 967"/>
                <a:gd name="T21" fmla="*/ 607 h 1049"/>
                <a:gd name="T22" fmla="*/ 0 w 967"/>
                <a:gd name="T23" fmla="*/ 855 h 1049"/>
                <a:gd name="T24" fmla="*/ 0 w 967"/>
                <a:gd name="T25" fmla="*/ 910 h 1049"/>
                <a:gd name="T26" fmla="*/ 387 w 967"/>
                <a:gd name="T27" fmla="*/ 910 h 1049"/>
                <a:gd name="T28" fmla="*/ 387 w 967"/>
                <a:gd name="T29" fmla="*/ 938 h 1049"/>
                <a:gd name="T30" fmla="*/ 497 w 967"/>
                <a:gd name="T31" fmla="*/ 1048 h 1049"/>
                <a:gd name="T32" fmla="*/ 580 w 967"/>
                <a:gd name="T33" fmla="*/ 938 h 1049"/>
                <a:gd name="T34" fmla="*/ 580 w 967"/>
                <a:gd name="T35" fmla="*/ 910 h 1049"/>
                <a:gd name="T36" fmla="*/ 966 w 967"/>
                <a:gd name="T37" fmla="*/ 910 h 1049"/>
                <a:gd name="T38" fmla="*/ 966 w 967"/>
                <a:gd name="T39" fmla="*/ 855 h 10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67" h="1049">
                  <a:moveTo>
                    <a:pt x="966" y="855"/>
                  </a:moveTo>
                  <a:lnTo>
                    <a:pt x="966" y="855"/>
                  </a:lnTo>
                  <a:cubicBezTo>
                    <a:pt x="745" y="607"/>
                    <a:pt x="745" y="607"/>
                    <a:pt x="745" y="607"/>
                  </a:cubicBezTo>
                  <a:cubicBezTo>
                    <a:pt x="745" y="386"/>
                    <a:pt x="745" y="386"/>
                    <a:pt x="745" y="386"/>
                  </a:cubicBezTo>
                  <a:cubicBezTo>
                    <a:pt x="745" y="276"/>
                    <a:pt x="662" y="166"/>
                    <a:pt x="552" y="138"/>
                  </a:cubicBezTo>
                  <a:cubicBezTo>
                    <a:pt x="552" y="83"/>
                    <a:pt x="552" y="83"/>
                    <a:pt x="552" y="83"/>
                  </a:cubicBezTo>
                  <a:cubicBezTo>
                    <a:pt x="552" y="28"/>
                    <a:pt x="524" y="0"/>
                    <a:pt x="497" y="0"/>
                  </a:cubicBezTo>
                  <a:cubicBezTo>
                    <a:pt x="441" y="0"/>
                    <a:pt x="414" y="28"/>
                    <a:pt x="414" y="83"/>
                  </a:cubicBezTo>
                  <a:cubicBezTo>
                    <a:pt x="414" y="138"/>
                    <a:pt x="414" y="138"/>
                    <a:pt x="414" y="138"/>
                  </a:cubicBezTo>
                  <a:cubicBezTo>
                    <a:pt x="304" y="166"/>
                    <a:pt x="221" y="276"/>
                    <a:pt x="221" y="386"/>
                  </a:cubicBezTo>
                  <a:cubicBezTo>
                    <a:pt x="221" y="607"/>
                    <a:pt x="221" y="607"/>
                    <a:pt x="221" y="607"/>
                  </a:cubicBezTo>
                  <a:cubicBezTo>
                    <a:pt x="0" y="855"/>
                    <a:pt x="0" y="855"/>
                    <a:pt x="0" y="855"/>
                  </a:cubicBezTo>
                  <a:cubicBezTo>
                    <a:pt x="0" y="910"/>
                    <a:pt x="0" y="910"/>
                    <a:pt x="0" y="910"/>
                  </a:cubicBezTo>
                  <a:cubicBezTo>
                    <a:pt x="387" y="910"/>
                    <a:pt x="387" y="910"/>
                    <a:pt x="387" y="910"/>
                  </a:cubicBezTo>
                  <a:cubicBezTo>
                    <a:pt x="387" y="938"/>
                    <a:pt x="387" y="938"/>
                    <a:pt x="387" y="938"/>
                  </a:cubicBezTo>
                  <a:cubicBezTo>
                    <a:pt x="387" y="992"/>
                    <a:pt x="441" y="1048"/>
                    <a:pt x="497" y="1048"/>
                  </a:cubicBezTo>
                  <a:cubicBezTo>
                    <a:pt x="552" y="1048"/>
                    <a:pt x="580" y="992"/>
                    <a:pt x="580" y="938"/>
                  </a:cubicBezTo>
                  <a:cubicBezTo>
                    <a:pt x="580" y="910"/>
                    <a:pt x="580" y="910"/>
                    <a:pt x="580" y="910"/>
                  </a:cubicBezTo>
                  <a:cubicBezTo>
                    <a:pt x="966" y="910"/>
                    <a:pt x="966" y="910"/>
                    <a:pt x="966" y="910"/>
                  </a:cubicBezTo>
                  <a:lnTo>
                    <a:pt x="966" y="855"/>
                  </a:lnTo>
                </a:path>
              </a:pathLst>
            </a:custGeom>
            <a:noFill/>
            <a:ln w="12700" cap="flat" cmpd="sng">
              <a:solidFill>
                <a:srgbClr val="E22E1D"/>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grpSp>
    </p:spTree>
    <p:extLst>
      <p:ext uri="{BB962C8B-B14F-4D97-AF65-F5344CB8AC3E}">
        <p14:creationId xmlns:p14="http://schemas.microsoft.com/office/powerpoint/2010/main" val="33730622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Ryhmä 28"/>
          <p:cNvGrpSpPr>
            <a:grpSpLocks noChangeAspect="1"/>
          </p:cNvGrpSpPr>
          <p:nvPr/>
        </p:nvGrpSpPr>
        <p:grpSpPr>
          <a:xfrm>
            <a:off x="812439" y="908740"/>
            <a:ext cx="5314190" cy="2989232"/>
            <a:chOff x="251520" y="834557"/>
            <a:chExt cx="5904655" cy="3321369"/>
          </a:xfrm>
        </p:grpSpPr>
        <p:pic>
          <p:nvPicPr>
            <p:cNvPr id="30" name="Kuva 29" descr="sandvik_kartta.png"/>
            <p:cNvPicPr>
              <a:picLocks noChangeAspect="1"/>
            </p:cNvPicPr>
            <p:nvPr/>
          </p:nvPicPr>
          <p:blipFill>
            <a:blip r:embed="rId3" cstate="print"/>
            <a:stretch>
              <a:fillRect/>
            </a:stretch>
          </p:blipFill>
          <p:spPr>
            <a:xfrm>
              <a:off x="251520" y="834557"/>
              <a:ext cx="5904655" cy="3321369"/>
            </a:xfrm>
            <a:prstGeom prst="rect">
              <a:avLst/>
            </a:prstGeom>
          </p:spPr>
        </p:pic>
        <p:sp>
          <p:nvSpPr>
            <p:cNvPr id="31" name="Ellipsi 30"/>
            <p:cNvSpPr>
              <a:spLocks noChangeAspect="1"/>
            </p:cNvSpPr>
            <p:nvPr/>
          </p:nvSpPr>
          <p:spPr>
            <a:xfrm>
              <a:off x="3149848" y="1671662"/>
              <a:ext cx="54000" cy="54000"/>
            </a:xfrm>
            <a:prstGeom prst="ellipse">
              <a:avLst/>
            </a:prstGeom>
            <a:solidFill>
              <a:srgbClr val="0099FF"/>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32" name="Ellipsi 31"/>
            <p:cNvSpPr>
              <a:spLocks noChangeAspect="1"/>
            </p:cNvSpPr>
            <p:nvPr/>
          </p:nvSpPr>
          <p:spPr>
            <a:xfrm>
              <a:off x="3221856" y="1764000"/>
              <a:ext cx="54000" cy="54000"/>
            </a:xfrm>
            <a:prstGeom prst="ellipse">
              <a:avLst/>
            </a:prstGeom>
            <a:solidFill>
              <a:srgbClr val="0099FF"/>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33" name="Ellipsi 32"/>
            <p:cNvSpPr>
              <a:spLocks noChangeAspect="1"/>
            </p:cNvSpPr>
            <p:nvPr/>
          </p:nvSpPr>
          <p:spPr>
            <a:xfrm>
              <a:off x="3203848" y="1836000"/>
              <a:ext cx="54000" cy="54000"/>
            </a:xfrm>
            <a:prstGeom prst="ellipse">
              <a:avLst/>
            </a:prstGeom>
            <a:solidFill>
              <a:srgbClr val="0099FF"/>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34" name="Ellipsi 33"/>
            <p:cNvSpPr>
              <a:spLocks noChangeAspect="1"/>
            </p:cNvSpPr>
            <p:nvPr/>
          </p:nvSpPr>
          <p:spPr>
            <a:xfrm>
              <a:off x="3132000" y="1836000"/>
              <a:ext cx="54000" cy="54000"/>
            </a:xfrm>
            <a:prstGeom prst="ellipse">
              <a:avLst/>
            </a:prstGeom>
            <a:solidFill>
              <a:srgbClr val="0099FF"/>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35" name="Ellipsi 34"/>
            <p:cNvSpPr>
              <a:spLocks noChangeAspect="1"/>
            </p:cNvSpPr>
            <p:nvPr/>
          </p:nvSpPr>
          <p:spPr>
            <a:xfrm>
              <a:off x="3077840" y="1725662"/>
              <a:ext cx="54000" cy="54000"/>
            </a:xfrm>
            <a:prstGeom prst="ellipse">
              <a:avLst/>
            </a:prstGeom>
            <a:solidFill>
              <a:srgbClr val="0099FF"/>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36" name="Ellipsi 35"/>
            <p:cNvSpPr>
              <a:spLocks noChangeAspect="1"/>
            </p:cNvSpPr>
            <p:nvPr/>
          </p:nvSpPr>
          <p:spPr>
            <a:xfrm>
              <a:off x="3059832" y="1869678"/>
              <a:ext cx="54000" cy="54000"/>
            </a:xfrm>
            <a:prstGeom prst="ellipse">
              <a:avLst/>
            </a:prstGeom>
            <a:solidFill>
              <a:srgbClr val="0099FF"/>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37" name="Ellipsi 36"/>
            <p:cNvSpPr>
              <a:spLocks noChangeAspect="1"/>
            </p:cNvSpPr>
            <p:nvPr/>
          </p:nvSpPr>
          <p:spPr>
            <a:xfrm>
              <a:off x="3077840" y="1779662"/>
              <a:ext cx="54000" cy="54000"/>
            </a:xfrm>
            <a:prstGeom prst="ellipse">
              <a:avLst/>
            </a:prstGeom>
            <a:solidFill>
              <a:srgbClr val="0099FF"/>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38" name="Ellipsi 37"/>
            <p:cNvSpPr>
              <a:spLocks noChangeAspect="1"/>
            </p:cNvSpPr>
            <p:nvPr/>
          </p:nvSpPr>
          <p:spPr>
            <a:xfrm>
              <a:off x="2699792" y="2013694"/>
              <a:ext cx="54000" cy="54000"/>
            </a:xfrm>
            <a:prstGeom prst="ellipse">
              <a:avLst/>
            </a:prstGeom>
            <a:solidFill>
              <a:srgbClr val="0099FF"/>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39" name="Ellipsi 38"/>
            <p:cNvSpPr>
              <a:spLocks noChangeAspect="1"/>
            </p:cNvSpPr>
            <p:nvPr/>
          </p:nvSpPr>
          <p:spPr>
            <a:xfrm>
              <a:off x="3221856" y="2661766"/>
              <a:ext cx="54000" cy="54000"/>
            </a:xfrm>
            <a:prstGeom prst="ellipse">
              <a:avLst/>
            </a:prstGeom>
            <a:solidFill>
              <a:srgbClr val="0099FF"/>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40" name="Ellipsi 39"/>
            <p:cNvSpPr>
              <a:spLocks noChangeAspect="1"/>
            </p:cNvSpPr>
            <p:nvPr/>
          </p:nvSpPr>
          <p:spPr>
            <a:xfrm>
              <a:off x="3275856" y="2814166"/>
              <a:ext cx="54000" cy="54000"/>
            </a:xfrm>
            <a:prstGeom prst="ellipse">
              <a:avLst/>
            </a:prstGeom>
            <a:solidFill>
              <a:srgbClr val="0099FF"/>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41" name="Ellipsi 40"/>
            <p:cNvSpPr>
              <a:spLocks noChangeAspect="1"/>
            </p:cNvSpPr>
            <p:nvPr/>
          </p:nvSpPr>
          <p:spPr>
            <a:xfrm>
              <a:off x="3131840" y="3093814"/>
              <a:ext cx="54000" cy="54000"/>
            </a:xfrm>
            <a:prstGeom prst="ellipse">
              <a:avLst/>
            </a:prstGeom>
            <a:solidFill>
              <a:srgbClr val="0099FF"/>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42" name="Ellipsi 41"/>
            <p:cNvSpPr>
              <a:spLocks noChangeAspect="1"/>
            </p:cNvSpPr>
            <p:nvPr/>
          </p:nvSpPr>
          <p:spPr>
            <a:xfrm>
              <a:off x="4932040" y="2661766"/>
              <a:ext cx="54000" cy="54000"/>
            </a:xfrm>
            <a:prstGeom prst="ellipse">
              <a:avLst/>
            </a:prstGeom>
            <a:solidFill>
              <a:srgbClr val="0099FF"/>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43" name="Ellipsi 42"/>
            <p:cNvSpPr>
              <a:spLocks noChangeAspect="1"/>
            </p:cNvSpPr>
            <p:nvPr/>
          </p:nvSpPr>
          <p:spPr>
            <a:xfrm>
              <a:off x="4788024" y="3021806"/>
              <a:ext cx="54000" cy="54000"/>
            </a:xfrm>
            <a:prstGeom prst="ellipse">
              <a:avLst/>
            </a:prstGeom>
            <a:solidFill>
              <a:srgbClr val="0099FF"/>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44" name="Ellipsi 43"/>
            <p:cNvSpPr>
              <a:spLocks noChangeAspect="1"/>
            </p:cNvSpPr>
            <p:nvPr/>
          </p:nvSpPr>
          <p:spPr>
            <a:xfrm>
              <a:off x="4806032" y="3174206"/>
              <a:ext cx="54000" cy="54000"/>
            </a:xfrm>
            <a:prstGeom prst="ellipse">
              <a:avLst/>
            </a:prstGeom>
            <a:solidFill>
              <a:srgbClr val="0099FF"/>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45" name="Ellipsi 44"/>
            <p:cNvSpPr>
              <a:spLocks noChangeAspect="1"/>
            </p:cNvSpPr>
            <p:nvPr/>
          </p:nvSpPr>
          <p:spPr>
            <a:xfrm>
              <a:off x="4860032" y="3075806"/>
              <a:ext cx="54000" cy="54000"/>
            </a:xfrm>
            <a:prstGeom prst="ellipse">
              <a:avLst/>
            </a:prstGeom>
            <a:solidFill>
              <a:srgbClr val="0099FF"/>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46" name="Ellipsi 45"/>
            <p:cNvSpPr>
              <a:spLocks noChangeAspect="1"/>
            </p:cNvSpPr>
            <p:nvPr/>
          </p:nvSpPr>
          <p:spPr>
            <a:xfrm>
              <a:off x="5022056" y="3147814"/>
              <a:ext cx="54000" cy="54000"/>
            </a:xfrm>
            <a:prstGeom prst="ellipse">
              <a:avLst/>
            </a:prstGeom>
            <a:solidFill>
              <a:srgbClr val="0099FF"/>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47" name="Ellipsi 46"/>
            <p:cNvSpPr>
              <a:spLocks noChangeAspect="1"/>
            </p:cNvSpPr>
            <p:nvPr/>
          </p:nvSpPr>
          <p:spPr>
            <a:xfrm>
              <a:off x="5094064" y="3003798"/>
              <a:ext cx="54000" cy="54000"/>
            </a:xfrm>
            <a:prstGeom prst="ellipse">
              <a:avLst/>
            </a:prstGeom>
            <a:solidFill>
              <a:srgbClr val="0099FF"/>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48" name="Ellipsi 47"/>
            <p:cNvSpPr>
              <a:spLocks noChangeAspect="1"/>
            </p:cNvSpPr>
            <p:nvPr/>
          </p:nvSpPr>
          <p:spPr>
            <a:xfrm>
              <a:off x="5238080" y="3165822"/>
              <a:ext cx="54000" cy="54000"/>
            </a:xfrm>
            <a:prstGeom prst="ellipse">
              <a:avLst/>
            </a:prstGeom>
            <a:solidFill>
              <a:srgbClr val="0099FF"/>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49" name="Ellipsi 48"/>
            <p:cNvSpPr>
              <a:spLocks noChangeAspect="1"/>
            </p:cNvSpPr>
            <p:nvPr/>
          </p:nvSpPr>
          <p:spPr>
            <a:xfrm>
              <a:off x="5310088" y="3237830"/>
              <a:ext cx="54000" cy="54000"/>
            </a:xfrm>
            <a:prstGeom prst="ellipse">
              <a:avLst/>
            </a:prstGeom>
            <a:solidFill>
              <a:srgbClr val="0099FF"/>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50" name="Ellipsi 49"/>
            <p:cNvSpPr>
              <a:spLocks noChangeAspect="1"/>
            </p:cNvSpPr>
            <p:nvPr/>
          </p:nvSpPr>
          <p:spPr>
            <a:xfrm>
              <a:off x="1475656" y="3435846"/>
              <a:ext cx="54000" cy="54000"/>
            </a:xfrm>
            <a:prstGeom prst="ellipse">
              <a:avLst/>
            </a:prstGeom>
            <a:solidFill>
              <a:srgbClr val="0099FF"/>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51" name="Ellipsi 50"/>
            <p:cNvSpPr>
              <a:spLocks noChangeAspect="1"/>
            </p:cNvSpPr>
            <p:nvPr/>
          </p:nvSpPr>
          <p:spPr>
            <a:xfrm>
              <a:off x="1547664" y="3147814"/>
              <a:ext cx="54000" cy="54000"/>
            </a:xfrm>
            <a:prstGeom prst="ellipse">
              <a:avLst/>
            </a:prstGeom>
            <a:solidFill>
              <a:srgbClr val="0099FF"/>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52" name="Ellipsi 51"/>
            <p:cNvSpPr>
              <a:spLocks noChangeAspect="1"/>
            </p:cNvSpPr>
            <p:nvPr/>
          </p:nvSpPr>
          <p:spPr>
            <a:xfrm>
              <a:off x="827584" y="1869678"/>
              <a:ext cx="54000" cy="54000"/>
            </a:xfrm>
            <a:prstGeom prst="ellipse">
              <a:avLst/>
            </a:prstGeom>
            <a:solidFill>
              <a:srgbClr val="0099FF"/>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53" name="Ellipsi 52"/>
            <p:cNvSpPr>
              <a:spLocks noChangeAspect="1"/>
            </p:cNvSpPr>
            <p:nvPr/>
          </p:nvSpPr>
          <p:spPr>
            <a:xfrm>
              <a:off x="899592" y="1815678"/>
              <a:ext cx="54000" cy="54000"/>
            </a:xfrm>
            <a:prstGeom prst="ellipse">
              <a:avLst/>
            </a:prstGeom>
            <a:solidFill>
              <a:srgbClr val="0099FF"/>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54" name="Ellipsi 53"/>
            <p:cNvSpPr>
              <a:spLocks noChangeAspect="1"/>
            </p:cNvSpPr>
            <p:nvPr/>
          </p:nvSpPr>
          <p:spPr>
            <a:xfrm>
              <a:off x="1043608" y="2157710"/>
              <a:ext cx="54000" cy="54000"/>
            </a:xfrm>
            <a:prstGeom prst="ellipse">
              <a:avLst/>
            </a:prstGeom>
            <a:solidFill>
              <a:srgbClr val="0099FF"/>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55" name="Ellipsi 54"/>
            <p:cNvSpPr>
              <a:spLocks noChangeAspect="1"/>
            </p:cNvSpPr>
            <p:nvPr/>
          </p:nvSpPr>
          <p:spPr>
            <a:xfrm>
              <a:off x="1493664" y="2013694"/>
              <a:ext cx="54000" cy="54000"/>
            </a:xfrm>
            <a:prstGeom prst="ellipse">
              <a:avLst/>
            </a:prstGeom>
            <a:solidFill>
              <a:srgbClr val="0099FF"/>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56" name="Ellipsi 55"/>
            <p:cNvSpPr>
              <a:spLocks noChangeAspect="1"/>
            </p:cNvSpPr>
            <p:nvPr/>
          </p:nvSpPr>
          <p:spPr>
            <a:xfrm>
              <a:off x="1565672" y="2067694"/>
              <a:ext cx="54000" cy="54000"/>
            </a:xfrm>
            <a:prstGeom prst="ellipse">
              <a:avLst/>
            </a:prstGeom>
            <a:solidFill>
              <a:srgbClr val="0099FF"/>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57" name="Ellipsi 56"/>
            <p:cNvSpPr>
              <a:spLocks noChangeAspect="1"/>
            </p:cNvSpPr>
            <p:nvPr/>
          </p:nvSpPr>
          <p:spPr>
            <a:xfrm>
              <a:off x="1565672" y="1995686"/>
              <a:ext cx="54000" cy="54000"/>
            </a:xfrm>
            <a:prstGeom prst="ellipse">
              <a:avLst/>
            </a:prstGeom>
            <a:solidFill>
              <a:srgbClr val="0099FF"/>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58" name="Ellipsi 57"/>
            <p:cNvSpPr>
              <a:spLocks noChangeAspect="1"/>
            </p:cNvSpPr>
            <p:nvPr/>
          </p:nvSpPr>
          <p:spPr>
            <a:xfrm>
              <a:off x="1619672" y="2013694"/>
              <a:ext cx="54000" cy="54000"/>
            </a:xfrm>
            <a:prstGeom prst="ellipse">
              <a:avLst/>
            </a:prstGeom>
            <a:solidFill>
              <a:srgbClr val="0099FF"/>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60" name="Ellipsi 59"/>
            <p:cNvSpPr>
              <a:spLocks noChangeAspect="1"/>
            </p:cNvSpPr>
            <p:nvPr/>
          </p:nvSpPr>
          <p:spPr>
            <a:xfrm>
              <a:off x="1637680" y="2067694"/>
              <a:ext cx="54000" cy="54000"/>
            </a:xfrm>
            <a:prstGeom prst="ellipse">
              <a:avLst/>
            </a:prstGeom>
            <a:solidFill>
              <a:srgbClr val="0099FF"/>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61" name="Ellipsi 60"/>
            <p:cNvSpPr>
              <a:spLocks noChangeAspect="1"/>
            </p:cNvSpPr>
            <p:nvPr/>
          </p:nvSpPr>
          <p:spPr>
            <a:xfrm>
              <a:off x="1691680" y="1995686"/>
              <a:ext cx="54000" cy="54000"/>
            </a:xfrm>
            <a:prstGeom prst="ellipse">
              <a:avLst/>
            </a:prstGeom>
            <a:solidFill>
              <a:srgbClr val="0099FF"/>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81" name="Ellipsi 80"/>
            <p:cNvSpPr>
              <a:spLocks noChangeAspect="1"/>
            </p:cNvSpPr>
            <p:nvPr/>
          </p:nvSpPr>
          <p:spPr>
            <a:xfrm>
              <a:off x="1728000" y="2052000"/>
              <a:ext cx="54000" cy="54000"/>
            </a:xfrm>
            <a:prstGeom prst="ellipse">
              <a:avLst/>
            </a:prstGeom>
            <a:solidFill>
              <a:srgbClr val="0099FF"/>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grpSp>
      <p:sp>
        <p:nvSpPr>
          <p:cNvPr id="3" name="Title 2"/>
          <p:cNvSpPr>
            <a:spLocks noGrp="1"/>
          </p:cNvSpPr>
          <p:nvPr>
            <p:ph type="title"/>
          </p:nvPr>
        </p:nvSpPr>
        <p:spPr>
          <a:ln>
            <a:solidFill>
              <a:schemeClr val="bg1"/>
            </a:solidFill>
          </a:ln>
        </p:spPr>
        <p:txBody>
          <a:bodyPr/>
          <a:lstStyle/>
          <a:p>
            <a:r>
              <a:rPr lang="en-US" dirty="0"/>
              <a:t>Automine</a:t>
            </a:r>
            <a:r>
              <a:rPr lang="en-US" baseline="30000" dirty="0"/>
              <a:t>™</a:t>
            </a:r>
            <a:r>
              <a:rPr lang="en-US" dirty="0"/>
              <a:t> L&amp;H references</a:t>
            </a:r>
          </a:p>
        </p:txBody>
      </p:sp>
      <p:sp>
        <p:nvSpPr>
          <p:cNvPr id="4" name="Slide Number Placeholder 3"/>
          <p:cNvSpPr>
            <a:spLocks noGrp="1"/>
          </p:cNvSpPr>
          <p:nvPr>
            <p:ph type="sldNum" sz="quarter" idx="12"/>
          </p:nvPr>
        </p:nvSpPr>
        <p:spPr/>
        <p:txBody>
          <a:bodyPr/>
          <a:lstStyle/>
          <a:p>
            <a:fld id="{469B62F1-B431-48B6-8270-02431A1685B7}" type="slidenum">
              <a:rPr lang="en-US" smtClean="0">
                <a:solidFill>
                  <a:srgbClr val="7F7F7F"/>
                </a:solidFill>
              </a:rPr>
              <a:pPr/>
              <a:t>20</a:t>
            </a:fld>
            <a:endParaRPr lang="en-US" dirty="0">
              <a:solidFill>
                <a:srgbClr val="7F7F7F"/>
              </a:solidFill>
            </a:endParaRPr>
          </a:p>
        </p:txBody>
      </p:sp>
      <p:grpSp>
        <p:nvGrpSpPr>
          <p:cNvPr id="108" name="Ryhmä 107"/>
          <p:cNvGrpSpPr/>
          <p:nvPr/>
        </p:nvGrpSpPr>
        <p:grpSpPr>
          <a:xfrm>
            <a:off x="579834" y="3821850"/>
            <a:ext cx="7808590" cy="694116"/>
            <a:chOff x="389983" y="3635978"/>
            <a:chExt cx="7808590" cy="694116"/>
          </a:xfrm>
        </p:grpSpPr>
        <p:pic>
          <p:nvPicPr>
            <p:cNvPr id="64" name="Picture 8" descr="http://3.bp.blogspot.com/-GuA9_4jjZow/T-ZWFsXquXI/AAAAAAAAA3E/DOW89odk6n8/s1600/codelco.pn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6293629" y="3670183"/>
              <a:ext cx="438611" cy="268765"/>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12" descr="http://www.projektstruktur.se/Global/Bilder/LKAB_CMYK.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3472778" y="4138504"/>
              <a:ext cx="418781" cy="127891"/>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67" descr="http://www.mertalainnovations.fi/images/boliden.pn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3319092" y="3728407"/>
              <a:ext cx="814601" cy="261836"/>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3" descr="C:\Users\brcook\Desktop\images.jpg"/>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6845500" y="3670183"/>
              <a:ext cx="606820" cy="287907"/>
            </a:xfrm>
            <a:prstGeom prst="rect">
              <a:avLst/>
            </a:prstGeom>
            <a:noFill/>
            <a:extLst>
              <a:ext uri="{909E8E84-426E-40DD-AFC4-6F175D3DCCD1}">
                <a14:hiddenFill xmlns:a14="http://schemas.microsoft.com/office/drawing/2010/main">
                  <a:solidFill>
                    <a:srgbClr val="FFFFFF"/>
                  </a:solidFill>
                </a14:hiddenFill>
              </a:ext>
            </a:extLst>
          </p:spPr>
        </p:pic>
        <p:pic>
          <p:nvPicPr>
            <p:cNvPr id="72" name="Picture 4" descr="C:\Users\brcook\Desktop\images.jpg"/>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7596336" y="3795886"/>
              <a:ext cx="602237" cy="107248"/>
            </a:xfrm>
            <a:prstGeom prst="rect">
              <a:avLst/>
            </a:prstGeom>
            <a:noFill/>
            <a:extLst>
              <a:ext uri="{909E8E84-426E-40DD-AFC4-6F175D3DCCD1}">
                <a14:hiddenFill xmlns:a14="http://schemas.microsoft.com/office/drawing/2010/main">
                  <a:solidFill>
                    <a:srgbClr val="FFFFFF"/>
                  </a:solidFill>
                </a14:hiddenFill>
              </a:ext>
            </a:extLst>
          </p:spPr>
        </p:pic>
        <p:pic>
          <p:nvPicPr>
            <p:cNvPr id="73" name="Picture 2" descr="http://www.iii.co.uk/i/ir/companylogos/PDL.gif"/>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5463558" y="4075382"/>
              <a:ext cx="620610" cy="243611"/>
            </a:xfrm>
            <a:prstGeom prst="rect">
              <a:avLst/>
            </a:prstGeom>
            <a:noFill/>
            <a:extLst>
              <a:ext uri="{909E8E84-426E-40DD-AFC4-6F175D3DCCD1}">
                <a14:hiddenFill xmlns:a14="http://schemas.microsoft.com/office/drawing/2010/main">
                  <a:solidFill>
                    <a:srgbClr val="FFFFFF"/>
                  </a:solidFill>
                </a14:hiddenFill>
              </a:ext>
            </a:extLst>
          </p:spPr>
        </p:pic>
        <p:pic>
          <p:nvPicPr>
            <p:cNvPr id="74" name="Picture 6" descr="http://www.jagsreport.com/logos/barrick-gold-corp-logo.jpg"/>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2687339" y="3677605"/>
              <a:ext cx="511865" cy="255605"/>
            </a:xfrm>
            <a:prstGeom prst="rect">
              <a:avLst/>
            </a:prstGeom>
            <a:noFill/>
            <a:extLst>
              <a:ext uri="{909E8E84-426E-40DD-AFC4-6F175D3DCCD1}">
                <a14:hiddenFill xmlns:a14="http://schemas.microsoft.com/office/drawing/2010/main">
                  <a:solidFill>
                    <a:srgbClr val="FFFFFF"/>
                  </a:solidFill>
                </a14:hiddenFill>
              </a:ext>
            </a:extLst>
          </p:spPr>
        </p:pic>
        <p:pic>
          <p:nvPicPr>
            <p:cNvPr id="82" name="Picture 2"/>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5531867" y="3643674"/>
              <a:ext cx="408285" cy="3305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2" name="Picture 3"/>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389983" y="4152664"/>
              <a:ext cx="715377" cy="1051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3" name="Picture 2" descr="https://upload.wikimedia.org/wikipedia/en/thumb/d/d6/IAMGOLD.svg/1280px-IAMGOLD.svg.png">
              <a:hlinkClick r:id="rId13"/>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2642479" y="4147975"/>
              <a:ext cx="667270" cy="109856"/>
            </a:xfrm>
            <a:prstGeom prst="rect">
              <a:avLst/>
            </a:prstGeom>
            <a:noFill/>
            <a:extLst>
              <a:ext uri="{909E8E84-426E-40DD-AFC4-6F175D3DCCD1}">
                <a14:hiddenFill xmlns:a14="http://schemas.microsoft.com/office/drawing/2010/main">
                  <a:solidFill>
                    <a:srgbClr val="FFFFFF"/>
                  </a:solidFill>
                </a14:hiddenFill>
              </a:ext>
            </a:extLst>
          </p:spPr>
        </p:pic>
        <p:pic>
          <p:nvPicPr>
            <p:cNvPr id="65" name="Picture 2"/>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527035" y="3635978"/>
              <a:ext cx="494444" cy="2711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6" name="Picture 14"/>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6267834" y="4147975"/>
              <a:ext cx="464406" cy="182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9" name="Content Placeholder 5"/>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4764706" y="4108456"/>
              <a:ext cx="527374" cy="200650"/>
            </a:xfrm>
            <a:prstGeom prst="rect">
              <a:avLst/>
            </a:prstGeom>
          </p:spPr>
        </p:pic>
        <p:pic>
          <p:nvPicPr>
            <p:cNvPr id="70" name="Picture 3"/>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1329656" y="4089662"/>
              <a:ext cx="362024" cy="2338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5" name="Picture 4"/>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1981077" y="3796769"/>
              <a:ext cx="436857" cy="975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6" name="Picture 75"/>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4269473" y="3706457"/>
              <a:ext cx="229853" cy="318881"/>
            </a:xfrm>
            <a:prstGeom prst="rect">
              <a:avLst/>
            </a:prstGeom>
          </p:spPr>
        </p:pic>
        <p:pic>
          <p:nvPicPr>
            <p:cNvPr id="77" name="图片 21" descr="image002"/>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4143320" y="4093707"/>
              <a:ext cx="500688" cy="1926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8" name="Picture 2" descr="HUDBAY">
              <a:hlinkClick r:id="rId22"/>
            </p:cNvPr>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1962024" y="4140976"/>
              <a:ext cx="521744" cy="86958"/>
            </a:xfrm>
            <a:prstGeom prst="rect">
              <a:avLst/>
            </a:prstGeom>
            <a:noFill/>
            <a:extLst>
              <a:ext uri="{909E8E84-426E-40DD-AFC4-6F175D3DCCD1}">
                <a14:hiddenFill xmlns:a14="http://schemas.microsoft.com/office/drawing/2010/main">
                  <a:solidFill>
                    <a:srgbClr val="FFFFFF"/>
                  </a:solidFill>
                </a14:hiddenFill>
              </a:ext>
            </a:extLst>
          </p:spPr>
        </p:pic>
        <p:pic>
          <p:nvPicPr>
            <p:cNvPr id="79" name="Picture 78"/>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7020272" y="4101573"/>
              <a:ext cx="237630" cy="198369"/>
            </a:xfrm>
            <a:prstGeom prst="rect">
              <a:avLst/>
            </a:prstGeom>
          </p:spPr>
        </p:pic>
        <p:pic>
          <p:nvPicPr>
            <p:cNvPr id="80" name="Picture 79"/>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1325984" y="3769937"/>
              <a:ext cx="357975" cy="151195"/>
            </a:xfrm>
            <a:prstGeom prst="rect">
              <a:avLst/>
            </a:prstGeom>
          </p:spPr>
        </p:pic>
        <p:pic>
          <p:nvPicPr>
            <p:cNvPr id="83" name="Picture 2" descr="http://www.coeur.com/images/default-source/2014-Template/template-veritcallogo.png?sfvrsn=6"/>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4918661" y="3764806"/>
              <a:ext cx="164665" cy="170343"/>
            </a:xfrm>
            <a:prstGeom prst="rect">
              <a:avLst/>
            </a:prstGeom>
            <a:noFill/>
            <a:extLst>
              <a:ext uri="{909E8E84-426E-40DD-AFC4-6F175D3DCCD1}">
                <a14:hiddenFill xmlns:a14="http://schemas.microsoft.com/office/drawing/2010/main">
                  <a:solidFill>
                    <a:srgbClr val="FFFFFF"/>
                  </a:solidFill>
                </a14:hiddenFill>
              </a:ext>
            </a:extLst>
          </p:spPr>
        </p:pic>
      </p:grpSp>
      <p:sp>
        <p:nvSpPr>
          <p:cNvPr id="84" name="Rectangle 83"/>
          <p:cNvSpPr/>
          <p:nvPr/>
        </p:nvSpPr>
        <p:spPr>
          <a:xfrm>
            <a:off x="6372200" y="2677682"/>
            <a:ext cx="1980220" cy="461665"/>
          </a:xfrm>
          <a:prstGeom prst="rect">
            <a:avLst/>
          </a:prstGeom>
        </p:spPr>
        <p:txBody>
          <a:bodyPr wrap="square">
            <a:spAutoFit/>
          </a:bodyPr>
          <a:lstStyle/>
          <a:p>
            <a:r>
              <a:rPr lang="sv-SE" sz="2400" b="1" spc="-150" dirty="0">
                <a:solidFill>
                  <a:srgbClr val="FF6E00"/>
                </a:solidFill>
              </a:rPr>
              <a:t>200</a:t>
            </a:r>
            <a:r>
              <a:rPr lang="sv-SE" sz="2400" b="1" dirty="0">
                <a:solidFill>
                  <a:srgbClr val="FF6E00"/>
                </a:solidFill>
              </a:rPr>
              <a:t> </a:t>
            </a:r>
          </a:p>
        </p:txBody>
      </p:sp>
      <p:sp>
        <p:nvSpPr>
          <p:cNvPr id="85" name="Rectangle 84"/>
          <p:cNvSpPr/>
          <p:nvPr/>
        </p:nvSpPr>
        <p:spPr>
          <a:xfrm>
            <a:off x="6372200" y="3066514"/>
            <a:ext cx="2145838" cy="369332"/>
          </a:xfrm>
          <a:prstGeom prst="rect">
            <a:avLst/>
          </a:prstGeom>
        </p:spPr>
        <p:txBody>
          <a:bodyPr wrap="square">
            <a:spAutoFit/>
          </a:bodyPr>
          <a:lstStyle/>
          <a:p>
            <a:r>
              <a:rPr lang="sv-SE" sz="900" dirty="0">
                <a:solidFill>
                  <a:schemeClr val="tx1">
                    <a:lumMod val="75000"/>
                    <a:lumOff val="25000"/>
                  </a:schemeClr>
                </a:solidFill>
              </a:rPr>
              <a:t>AUTOMINE</a:t>
            </a:r>
            <a:r>
              <a:rPr lang="sv-SE" sz="900" baseline="30000" dirty="0">
                <a:solidFill>
                  <a:schemeClr val="tx1">
                    <a:lumMod val="75000"/>
                    <a:lumOff val="25000"/>
                  </a:schemeClr>
                </a:solidFill>
              </a:rPr>
              <a:t>™</a:t>
            </a:r>
            <a:r>
              <a:rPr lang="sv-SE" sz="900" dirty="0">
                <a:solidFill>
                  <a:schemeClr val="tx1">
                    <a:lumMod val="75000"/>
                    <a:lumOff val="25000"/>
                  </a:schemeClr>
                </a:solidFill>
              </a:rPr>
              <a:t> LOADERS </a:t>
            </a:r>
          </a:p>
          <a:p>
            <a:r>
              <a:rPr lang="sv-SE" sz="900" dirty="0">
                <a:solidFill>
                  <a:schemeClr val="tx1">
                    <a:lumMod val="75000"/>
                    <a:lumOff val="25000"/>
                  </a:schemeClr>
                </a:solidFill>
              </a:rPr>
              <a:t>AND TRUCKS</a:t>
            </a:r>
          </a:p>
        </p:txBody>
      </p:sp>
      <p:sp>
        <p:nvSpPr>
          <p:cNvPr id="86" name="Rectangle 85"/>
          <p:cNvSpPr/>
          <p:nvPr/>
        </p:nvSpPr>
        <p:spPr>
          <a:xfrm>
            <a:off x="6584106" y="2047890"/>
            <a:ext cx="216726" cy="230832"/>
          </a:xfrm>
          <a:prstGeom prst="rect">
            <a:avLst/>
          </a:prstGeom>
        </p:spPr>
        <p:txBody>
          <a:bodyPr wrap="none">
            <a:spAutoFit/>
          </a:bodyPr>
          <a:lstStyle/>
          <a:p>
            <a:r>
              <a:rPr lang="sv-SE" sz="900" dirty="0">
                <a:solidFill>
                  <a:srgbClr val="000000"/>
                </a:solidFill>
              </a:rPr>
              <a:t> </a:t>
            </a:r>
            <a:endParaRPr lang="en-US" sz="1050" i="1" dirty="0">
              <a:solidFill>
                <a:srgbClr val="000000"/>
              </a:solidFill>
            </a:endParaRPr>
          </a:p>
        </p:txBody>
      </p:sp>
      <p:sp>
        <p:nvSpPr>
          <p:cNvPr id="88" name="Rectangle 87"/>
          <p:cNvSpPr/>
          <p:nvPr/>
        </p:nvSpPr>
        <p:spPr>
          <a:xfrm>
            <a:off x="6372200" y="1020071"/>
            <a:ext cx="1693092" cy="523220"/>
          </a:xfrm>
          <a:prstGeom prst="rect">
            <a:avLst/>
          </a:prstGeom>
        </p:spPr>
        <p:txBody>
          <a:bodyPr wrap="none">
            <a:spAutoFit/>
          </a:bodyPr>
          <a:lstStyle/>
          <a:p>
            <a:r>
              <a:rPr lang="sv-SE" sz="2800" b="1" spc="-150" dirty="0">
                <a:solidFill>
                  <a:srgbClr val="FF6E00"/>
                </a:solidFill>
              </a:rPr>
              <a:t>1,000 000 </a:t>
            </a:r>
            <a:endParaRPr lang="en-US" sz="2800" b="1" i="1" spc="-150" dirty="0">
              <a:solidFill>
                <a:srgbClr val="FF6E00"/>
              </a:solidFill>
            </a:endParaRPr>
          </a:p>
        </p:txBody>
      </p:sp>
      <p:sp>
        <p:nvSpPr>
          <p:cNvPr id="89" name="Rectangle 88"/>
          <p:cNvSpPr/>
          <p:nvPr/>
        </p:nvSpPr>
        <p:spPr>
          <a:xfrm>
            <a:off x="6372200" y="1476822"/>
            <a:ext cx="1833979" cy="230832"/>
          </a:xfrm>
          <a:prstGeom prst="rect">
            <a:avLst/>
          </a:prstGeom>
        </p:spPr>
        <p:txBody>
          <a:bodyPr wrap="square">
            <a:spAutoFit/>
          </a:bodyPr>
          <a:lstStyle/>
          <a:p>
            <a:r>
              <a:rPr lang="sv-SE" sz="900" dirty="0">
                <a:solidFill>
                  <a:schemeClr val="tx1">
                    <a:lumMod val="75000"/>
                    <a:lumOff val="25000"/>
                  </a:schemeClr>
                </a:solidFill>
              </a:rPr>
              <a:t>HOURS WITH ZERO </a:t>
            </a:r>
            <a:r>
              <a:rPr lang="sv-SE" sz="900" dirty="0" err="1">
                <a:solidFill>
                  <a:schemeClr val="tx1">
                    <a:lumMod val="75000"/>
                    <a:lumOff val="25000"/>
                  </a:schemeClr>
                </a:solidFill>
              </a:rPr>
              <a:t>LTI’s</a:t>
            </a:r>
            <a:r>
              <a:rPr lang="sv-SE" sz="900" dirty="0">
                <a:solidFill>
                  <a:schemeClr val="tx1">
                    <a:lumMod val="75000"/>
                    <a:lumOff val="25000"/>
                  </a:schemeClr>
                </a:solidFill>
              </a:rPr>
              <a:t>   </a:t>
            </a:r>
            <a:endParaRPr lang="en-US" sz="400" dirty="0">
              <a:solidFill>
                <a:schemeClr val="tx1">
                  <a:lumMod val="75000"/>
                  <a:lumOff val="25000"/>
                </a:schemeClr>
              </a:solidFill>
            </a:endParaRPr>
          </a:p>
        </p:txBody>
      </p:sp>
      <p:sp>
        <p:nvSpPr>
          <p:cNvPr id="90" name="Rectangle 89"/>
          <p:cNvSpPr/>
          <p:nvPr/>
        </p:nvSpPr>
        <p:spPr>
          <a:xfrm>
            <a:off x="6372200" y="900758"/>
            <a:ext cx="2266027" cy="230832"/>
          </a:xfrm>
          <a:prstGeom prst="rect">
            <a:avLst/>
          </a:prstGeom>
        </p:spPr>
        <p:txBody>
          <a:bodyPr wrap="square">
            <a:spAutoFit/>
          </a:bodyPr>
          <a:lstStyle/>
          <a:p>
            <a:r>
              <a:rPr lang="sv-SE" sz="900" dirty="0">
                <a:solidFill>
                  <a:schemeClr val="tx1">
                    <a:lumMod val="75000"/>
                    <a:lumOff val="25000"/>
                  </a:schemeClr>
                </a:solidFill>
              </a:rPr>
              <a:t>OVER </a:t>
            </a:r>
            <a:endParaRPr lang="en-US" sz="900" dirty="0">
              <a:solidFill>
                <a:schemeClr val="tx1">
                  <a:lumMod val="75000"/>
                  <a:lumOff val="25000"/>
                </a:schemeClr>
              </a:solidFill>
            </a:endParaRPr>
          </a:p>
        </p:txBody>
      </p:sp>
      <p:sp>
        <p:nvSpPr>
          <p:cNvPr id="94" name="Rectangle 93"/>
          <p:cNvSpPr/>
          <p:nvPr/>
        </p:nvSpPr>
        <p:spPr>
          <a:xfrm>
            <a:off x="6372200" y="2556942"/>
            <a:ext cx="2266027" cy="230832"/>
          </a:xfrm>
          <a:prstGeom prst="rect">
            <a:avLst/>
          </a:prstGeom>
        </p:spPr>
        <p:txBody>
          <a:bodyPr wrap="square">
            <a:spAutoFit/>
          </a:bodyPr>
          <a:lstStyle/>
          <a:p>
            <a:r>
              <a:rPr lang="sv-SE" sz="900" dirty="0">
                <a:solidFill>
                  <a:schemeClr val="tx1">
                    <a:lumMod val="75000"/>
                    <a:lumOff val="25000"/>
                  </a:schemeClr>
                </a:solidFill>
              </a:rPr>
              <a:t>WITH OVER </a:t>
            </a:r>
            <a:endParaRPr lang="en-US" sz="900" dirty="0">
              <a:solidFill>
                <a:schemeClr val="tx1">
                  <a:lumMod val="75000"/>
                  <a:lumOff val="25000"/>
                </a:schemeClr>
              </a:solidFill>
            </a:endParaRPr>
          </a:p>
        </p:txBody>
      </p:sp>
      <p:sp>
        <p:nvSpPr>
          <p:cNvPr id="95" name="Rectangle 94"/>
          <p:cNvSpPr/>
          <p:nvPr/>
        </p:nvSpPr>
        <p:spPr>
          <a:xfrm>
            <a:off x="6372200" y="1836862"/>
            <a:ext cx="2266027" cy="230832"/>
          </a:xfrm>
          <a:prstGeom prst="rect">
            <a:avLst/>
          </a:prstGeom>
        </p:spPr>
        <p:txBody>
          <a:bodyPr wrap="square">
            <a:spAutoFit/>
          </a:bodyPr>
          <a:lstStyle/>
          <a:p>
            <a:r>
              <a:rPr lang="sv-SE" sz="900" dirty="0">
                <a:solidFill>
                  <a:schemeClr val="tx1">
                    <a:lumMod val="75000"/>
                    <a:lumOff val="25000"/>
                  </a:schemeClr>
                </a:solidFill>
              </a:rPr>
              <a:t>SINCE </a:t>
            </a:r>
            <a:endParaRPr lang="en-US" sz="900" dirty="0">
              <a:solidFill>
                <a:schemeClr val="tx1">
                  <a:lumMod val="75000"/>
                  <a:lumOff val="25000"/>
                </a:schemeClr>
              </a:solidFill>
            </a:endParaRPr>
          </a:p>
        </p:txBody>
      </p:sp>
      <p:sp>
        <p:nvSpPr>
          <p:cNvPr id="96" name="Rectangle 95"/>
          <p:cNvSpPr/>
          <p:nvPr/>
        </p:nvSpPr>
        <p:spPr>
          <a:xfrm>
            <a:off x="6372200" y="1966069"/>
            <a:ext cx="1980220" cy="461665"/>
          </a:xfrm>
          <a:prstGeom prst="rect">
            <a:avLst/>
          </a:prstGeom>
        </p:spPr>
        <p:txBody>
          <a:bodyPr wrap="square">
            <a:spAutoFit/>
          </a:bodyPr>
          <a:lstStyle/>
          <a:p>
            <a:r>
              <a:rPr lang="sv-SE" sz="2400" b="1" spc="-150" dirty="0">
                <a:solidFill>
                  <a:srgbClr val="FF6E00"/>
                </a:solidFill>
              </a:rPr>
              <a:t>2004</a:t>
            </a:r>
            <a:r>
              <a:rPr lang="sv-SE" sz="2400" b="1" dirty="0">
                <a:solidFill>
                  <a:srgbClr val="FF6E00"/>
                </a:solidFill>
              </a:rPr>
              <a:t> </a:t>
            </a:r>
          </a:p>
        </p:txBody>
      </p:sp>
      <p:cxnSp>
        <p:nvCxnSpPr>
          <p:cNvPr id="106" name="Suora yhdysviiva 105"/>
          <p:cNvCxnSpPr/>
          <p:nvPr/>
        </p:nvCxnSpPr>
        <p:spPr>
          <a:xfrm>
            <a:off x="6444208" y="1779662"/>
            <a:ext cx="1944216" cy="0"/>
          </a:xfrm>
          <a:prstGeom prst="line">
            <a:avLst/>
          </a:prstGeom>
          <a:ln w="19050">
            <a:solidFill>
              <a:schemeClr val="bg1">
                <a:lumMod val="85000"/>
              </a:schemeClr>
            </a:solidFill>
          </a:ln>
          <a:effectLst/>
        </p:spPr>
        <p:style>
          <a:lnRef idx="3">
            <a:schemeClr val="accent1"/>
          </a:lnRef>
          <a:fillRef idx="0">
            <a:schemeClr val="accent1"/>
          </a:fillRef>
          <a:effectRef idx="2">
            <a:schemeClr val="accent1"/>
          </a:effectRef>
          <a:fontRef idx="minor">
            <a:schemeClr val="tx1"/>
          </a:fontRef>
        </p:style>
      </p:cxnSp>
      <p:cxnSp>
        <p:nvCxnSpPr>
          <p:cNvPr id="107" name="Suora yhdysviiva 106"/>
          <p:cNvCxnSpPr/>
          <p:nvPr/>
        </p:nvCxnSpPr>
        <p:spPr>
          <a:xfrm>
            <a:off x="6444208" y="2499742"/>
            <a:ext cx="1944216" cy="0"/>
          </a:xfrm>
          <a:prstGeom prst="line">
            <a:avLst/>
          </a:prstGeom>
          <a:ln w="19050">
            <a:solidFill>
              <a:schemeClr val="bg1">
                <a:lumMod val="85000"/>
              </a:schemeClr>
            </a:solidFill>
          </a:ln>
          <a:effectLst/>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11602866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err="1"/>
              <a:t>optimine</a:t>
            </a:r>
            <a:r>
              <a:rPr lang="en-US" baseline="30000" dirty="0"/>
              <a:t>®</a:t>
            </a:r>
            <a:r>
              <a:rPr lang="en-US" dirty="0"/>
              <a:t> </a:t>
            </a:r>
            <a:r>
              <a:rPr lang="en-US">
                <a:latin typeface="Arial"/>
                <a:cs typeface="Arial"/>
              </a:rPr>
              <a:t>– </a:t>
            </a:r>
            <a:r>
              <a:rPr lang="en-US"/>
              <a:t>references</a:t>
            </a:r>
            <a:endParaRPr lang="en-US" dirty="0"/>
          </a:p>
        </p:txBody>
      </p:sp>
      <p:sp>
        <p:nvSpPr>
          <p:cNvPr id="4" name="Slide Number Placeholder 3"/>
          <p:cNvSpPr>
            <a:spLocks noGrp="1"/>
          </p:cNvSpPr>
          <p:nvPr>
            <p:ph type="sldNum" sz="quarter" idx="12"/>
          </p:nvPr>
        </p:nvSpPr>
        <p:spPr>
          <a:xfrm>
            <a:off x="356546" y="4725534"/>
            <a:ext cx="719999" cy="134223"/>
          </a:xfrm>
        </p:spPr>
        <p:txBody>
          <a:bodyPr/>
          <a:lstStyle/>
          <a:p>
            <a:fld id="{469B62F1-B431-48B6-8270-02431A1685B7}" type="slidenum">
              <a:rPr lang="en-US" smtClean="0">
                <a:solidFill>
                  <a:srgbClr val="7F7F7F"/>
                </a:solidFill>
              </a:rPr>
              <a:pPr/>
              <a:t>21</a:t>
            </a:fld>
            <a:endParaRPr lang="en-US" dirty="0">
              <a:solidFill>
                <a:srgbClr val="7F7F7F"/>
              </a:solidFill>
            </a:endParaRPr>
          </a:p>
        </p:txBody>
      </p:sp>
      <p:pic>
        <p:nvPicPr>
          <p:cNvPr id="62" name="Picture 61" descr="http://www.mertalainnovations.fi/images/boliden.pn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7160459" y="1864460"/>
            <a:ext cx="609971" cy="196062"/>
          </a:xfrm>
          <a:prstGeom prst="rect">
            <a:avLst/>
          </a:prstGeom>
          <a:noFill/>
          <a:extLst>
            <a:ext uri="{909E8E84-426E-40DD-AFC4-6F175D3DCCD1}">
              <a14:hiddenFill xmlns:a14="http://schemas.microsoft.com/office/drawing/2010/main">
                <a:solidFill>
                  <a:srgbClr val="FFFFFF"/>
                </a:solidFill>
              </a14:hiddenFill>
            </a:ext>
          </a:extLst>
        </p:spPr>
      </p:pic>
      <p:pic>
        <p:nvPicPr>
          <p:cNvPr id="65" name="Picture 4"/>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216678" y="1617964"/>
            <a:ext cx="539330" cy="1204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8" name="Picture 5"/>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124284" y="2496673"/>
            <a:ext cx="778086" cy="1274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0" name="Picture 7"/>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293375" y="3574350"/>
            <a:ext cx="490100" cy="122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8" name="Picture 8"/>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346866" y="3852648"/>
            <a:ext cx="407511" cy="2263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0" name="Picture 10"/>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285426" y="2355014"/>
            <a:ext cx="212189" cy="2167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4" name="Picture 12"/>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145357" y="2190918"/>
            <a:ext cx="492328" cy="1871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5" name="Picture 13"/>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180103" y="2616755"/>
            <a:ext cx="496397" cy="1953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6" name="Picture 14"/>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8198160" y="2887785"/>
            <a:ext cx="478340" cy="1875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7" name="Picture 15"/>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8206932" y="3180826"/>
            <a:ext cx="460796" cy="976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8" name="Picture 17"/>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8261357" y="3964549"/>
            <a:ext cx="434227" cy="1823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9" name="Picture 98"/>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7216678" y="1086585"/>
            <a:ext cx="441945" cy="186660"/>
          </a:xfrm>
          <a:prstGeom prst="rect">
            <a:avLst/>
          </a:prstGeom>
        </p:spPr>
      </p:pic>
      <p:pic>
        <p:nvPicPr>
          <p:cNvPr id="100" name="Picture 3"/>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7360802" y="2725861"/>
            <a:ext cx="297821" cy="2399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1" name="Picture 100"/>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8181217" y="3694519"/>
            <a:ext cx="559372" cy="186936"/>
          </a:xfrm>
          <a:prstGeom prst="rect">
            <a:avLst/>
          </a:prstGeom>
        </p:spPr>
      </p:pic>
      <p:pic>
        <p:nvPicPr>
          <p:cNvPr id="6" name="Picture 5"/>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8275438" y="3386810"/>
            <a:ext cx="376870" cy="228216"/>
          </a:xfrm>
          <a:prstGeom prst="rect">
            <a:avLst/>
          </a:prstGeom>
        </p:spPr>
      </p:pic>
      <p:grpSp>
        <p:nvGrpSpPr>
          <p:cNvPr id="9" name="Group 8"/>
          <p:cNvGrpSpPr/>
          <p:nvPr/>
        </p:nvGrpSpPr>
        <p:grpSpPr>
          <a:xfrm>
            <a:off x="356546" y="1032049"/>
            <a:ext cx="6311950" cy="3387335"/>
            <a:chOff x="510300" y="849600"/>
            <a:chExt cx="7394327" cy="3931749"/>
          </a:xfrm>
        </p:grpSpPr>
        <p:sp>
          <p:nvSpPr>
            <p:cNvPr id="83" name="Ellipsi 101"/>
            <p:cNvSpPr/>
            <p:nvPr/>
          </p:nvSpPr>
          <p:spPr>
            <a:xfrm>
              <a:off x="2465777" y="2117330"/>
              <a:ext cx="72000" cy="72008"/>
            </a:xfrm>
            <a:prstGeom prst="ellipse">
              <a:avLst/>
            </a:prstGeom>
            <a:solidFill>
              <a:schemeClr val="accent4"/>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dirty="0">
                <a:solidFill>
                  <a:prstClr val="white"/>
                </a:solidFill>
              </a:endParaRPr>
            </a:p>
          </p:txBody>
        </p:sp>
        <p:grpSp>
          <p:nvGrpSpPr>
            <p:cNvPr id="2" name="Group 1"/>
            <p:cNvGrpSpPr/>
            <p:nvPr/>
          </p:nvGrpSpPr>
          <p:grpSpPr>
            <a:xfrm>
              <a:off x="510300" y="849600"/>
              <a:ext cx="7394327" cy="3931749"/>
              <a:chOff x="510300" y="849600"/>
              <a:chExt cx="7394327" cy="3931749"/>
            </a:xfrm>
          </p:grpSpPr>
          <p:pic>
            <p:nvPicPr>
              <p:cNvPr id="131" name="Kuva 4" descr="map_only-01.png"/>
              <p:cNvPicPr>
                <a:picLocks noChangeAspect="1"/>
              </p:cNvPicPr>
              <p:nvPr/>
            </p:nvPicPr>
            <p:blipFill>
              <a:blip r:embed="rId18" cstate="screen">
                <a:extLst>
                  <a:ext uri="{28A0092B-C50C-407E-A947-70E740481C1C}">
                    <a14:useLocalDpi xmlns:a14="http://schemas.microsoft.com/office/drawing/2010/main"/>
                  </a:ext>
                </a:extLst>
              </a:blip>
              <a:srcRect/>
              <a:stretch>
                <a:fillRect/>
              </a:stretch>
            </p:blipFill>
            <p:spPr>
              <a:xfrm>
                <a:off x="510300" y="849600"/>
                <a:ext cx="7394327" cy="3931749"/>
              </a:xfrm>
              <a:prstGeom prst="rect">
                <a:avLst/>
              </a:prstGeom>
            </p:spPr>
          </p:pic>
          <p:sp>
            <p:nvSpPr>
              <p:cNvPr id="14" name="Ellipsi 101"/>
              <p:cNvSpPr/>
              <p:nvPr/>
            </p:nvSpPr>
            <p:spPr>
              <a:xfrm>
                <a:off x="2129000" y="2797554"/>
                <a:ext cx="72000" cy="72008"/>
              </a:xfrm>
              <a:prstGeom prst="ellipse">
                <a:avLst/>
              </a:prstGeom>
              <a:solidFill>
                <a:schemeClr val="tx1"/>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dirty="0">
                  <a:solidFill>
                    <a:prstClr val="white"/>
                  </a:solidFill>
                </a:endParaRPr>
              </a:p>
            </p:txBody>
          </p:sp>
          <p:sp>
            <p:nvSpPr>
              <p:cNvPr id="18" name="Ellipsi 101"/>
              <p:cNvSpPr/>
              <p:nvPr/>
            </p:nvSpPr>
            <p:spPr>
              <a:xfrm>
                <a:off x="4307054" y="1686992"/>
                <a:ext cx="72000" cy="72008"/>
              </a:xfrm>
              <a:prstGeom prst="ellipse">
                <a:avLst/>
              </a:prstGeom>
              <a:solidFill>
                <a:schemeClr val="tx1"/>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dirty="0">
                  <a:solidFill>
                    <a:prstClr val="white"/>
                  </a:solidFill>
                </a:endParaRPr>
              </a:p>
            </p:txBody>
          </p:sp>
          <p:sp>
            <p:nvSpPr>
              <p:cNvPr id="15" name="Ellipsi 101"/>
              <p:cNvSpPr/>
              <p:nvPr/>
            </p:nvSpPr>
            <p:spPr>
              <a:xfrm>
                <a:off x="4440361" y="2280008"/>
                <a:ext cx="72000" cy="72008"/>
              </a:xfrm>
              <a:prstGeom prst="ellipse">
                <a:avLst/>
              </a:prstGeom>
              <a:solidFill>
                <a:schemeClr val="tx1"/>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dirty="0">
                  <a:solidFill>
                    <a:prstClr val="white"/>
                  </a:solidFill>
                </a:endParaRPr>
              </a:p>
            </p:txBody>
          </p:sp>
          <p:sp>
            <p:nvSpPr>
              <p:cNvPr id="44" name="Ellipsi 101"/>
              <p:cNvSpPr/>
              <p:nvPr/>
            </p:nvSpPr>
            <p:spPr>
              <a:xfrm>
                <a:off x="4471598" y="3856758"/>
                <a:ext cx="72000" cy="72008"/>
              </a:xfrm>
              <a:prstGeom prst="ellipse">
                <a:avLst/>
              </a:prstGeom>
              <a:solidFill>
                <a:schemeClr val="tx1"/>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dirty="0">
                  <a:solidFill>
                    <a:prstClr val="white"/>
                  </a:solidFill>
                </a:endParaRPr>
              </a:p>
            </p:txBody>
          </p:sp>
          <p:sp>
            <p:nvSpPr>
              <p:cNvPr id="45" name="Ellipsi 101"/>
              <p:cNvSpPr/>
              <p:nvPr/>
            </p:nvSpPr>
            <p:spPr>
              <a:xfrm>
                <a:off x="4361152" y="3901602"/>
                <a:ext cx="72000" cy="72008"/>
              </a:xfrm>
              <a:prstGeom prst="ellipse">
                <a:avLst/>
              </a:prstGeom>
              <a:solidFill>
                <a:schemeClr val="tx1"/>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dirty="0">
                  <a:solidFill>
                    <a:prstClr val="white"/>
                  </a:solidFill>
                </a:endParaRPr>
              </a:p>
            </p:txBody>
          </p:sp>
          <p:sp>
            <p:nvSpPr>
              <p:cNvPr id="47" name="Ellipsi 101"/>
              <p:cNvSpPr/>
              <p:nvPr/>
            </p:nvSpPr>
            <p:spPr>
              <a:xfrm>
                <a:off x="4389852" y="1759000"/>
                <a:ext cx="72000" cy="72008"/>
              </a:xfrm>
              <a:prstGeom prst="ellipse">
                <a:avLst/>
              </a:prstGeom>
              <a:solidFill>
                <a:schemeClr val="tx1"/>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dirty="0">
                  <a:solidFill>
                    <a:prstClr val="white"/>
                  </a:solidFill>
                </a:endParaRPr>
              </a:p>
            </p:txBody>
          </p:sp>
          <p:sp>
            <p:nvSpPr>
              <p:cNvPr id="49" name="Ellipsi 101"/>
              <p:cNvSpPr/>
              <p:nvPr/>
            </p:nvSpPr>
            <p:spPr>
              <a:xfrm>
                <a:off x="4436985" y="3624867"/>
                <a:ext cx="72000" cy="72008"/>
              </a:xfrm>
              <a:prstGeom prst="ellipse">
                <a:avLst/>
              </a:prstGeom>
              <a:solidFill>
                <a:schemeClr val="tx1"/>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dirty="0">
                  <a:solidFill>
                    <a:prstClr val="white"/>
                  </a:solidFill>
                </a:endParaRPr>
              </a:p>
            </p:txBody>
          </p:sp>
          <p:sp>
            <p:nvSpPr>
              <p:cNvPr id="104" name="Ellipsi 101"/>
              <p:cNvSpPr/>
              <p:nvPr/>
            </p:nvSpPr>
            <p:spPr>
              <a:xfrm>
                <a:off x="3798338" y="2036772"/>
                <a:ext cx="72000" cy="72008"/>
              </a:xfrm>
              <a:prstGeom prst="ellipse">
                <a:avLst/>
              </a:prstGeom>
              <a:solidFill>
                <a:schemeClr val="tx1"/>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dirty="0">
                  <a:solidFill>
                    <a:prstClr val="white"/>
                  </a:solidFill>
                </a:endParaRPr>
              </a:p>
            </p:txBody>
          </p:sp>
          <p:sp>
            <p:nvSpPr>
              <p:cNvPr id="48" name="Ellipsi 101"/>
              <p:cNvSpPr/>
              <p:nvPr/>
            </p:nvSpPr>
            <p:spPr>
              <a:xfrm>
                <a:off x="2688051" y="4069393"/>
                <a:ext cx="72000" cy="72008"/>
              </a:xfrm>
              <a:prstGeom prst="ellipse">
                <a:avLst/>
              </a:prstGeom>
              <a:solidFill>
                <a:schemeClr val="tx1"/>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dirty="0">
                  <a:solidFill>
                    <a:prstClr val="white"/>
                  </a:solidFill>
                </a:endParaRPr>
              </a:p>
            </p:txBody>
          </p:sp>
          <p:sp>
            <p:nvSpPr>
              <p:cNvPr id="50" name="Ellipsi 101"/>
              <p:cNvSpPr/>
              <p:nvPr/>
            </p:nvSpPr>
            <p:spPr>
              <a:xfrm>
                <a:off x="6210190" y="3741880"/>
                <a:ext cx="72000" cy="72008"/>
              </a:xfrm>
              <a:prstGeom prst="ellipse">
                <a:avLst/>
              </a:prstGeom>
              <a:solidFill>
                <a:schemeClr val="tx1"/>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dirty="0">
                  <a:solidFill>
                    <a:prstClr val="white"/>
                  </a:solidFill>
                </a:endParaRPr>
              </a:p>
            </p:txBody>
          </p:sp>
          <p:sp>
            <p:nvSpPr>
              <p:cNvPr id="53" name="Ellipsi 101"/>
              <p:cNvSpPr/>
              <p:nvPr/>
            </p:nvSpPr>
            <p:spPr>
              <a:xfrm>
                <a:off x="6237185" y="3849892"/>
                <a:ext cx="72000" cy="72008"/>
              </a:xfrm>
              <a:prstGeom prst="ellipse">
                <a:avLst/>
              </a:prstGeom>
              <a:solidFill>
                <a:schemeClr val="tx1"/>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dirty="0">
                  <a:solidFill>
                    <a:prstClr val="white"/>
                  </a:solidFill>
                </a:endParaRPr>
              </a:p>
            </p:txBody>
          </p:sp>
          <p:sp>
            <p:nvSpPr>
              <p:cNvPr id="57" name="Ellipsi 101"/>
              <p:cNvSpPr/>
              <p:nvPr/>
            </p:nvSpPr>
            <p:spPr>
              <a:xfrm>
                <a:off x="6531972" y="3382740"/>
                <a:ext cx="72000" cy="72008"/>
              </a:xfrm>
              <a:prstGeom prst="ellipse">
                <a:avLst/>
              </a:prstGeom>
              <a:solidFill>
                <a:schemeClr val="tx1"/>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dirty="0">
                  <a:solidFill>
                    <a:prstClr val="white"/>
                  </a:solidFill>
                </a:endParaRPr>
              </a:p>
            </p:txBody>
          </p:sp>
          <p:sp>
            <p:nvSpPr>
              <p:cNvPr id="58" name="Ellipsi 101"/>
              <p:cNvSpPr/>
              <p:nvPr/>
            </p:nvSpPr>
            <p:spPr>
              <a:xfrm>
                <a:off x="4228534" y="1869535"/>
                <a:ext cx="72000" cy="72008"/>
              </a:xfrm>
              <a:prstGeom prst="ellipse">
                <a:avLst/>
              </a:prstGeom>
              <a:solidFill>
                <a:schemeClr val="tx1"/>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dirty="0">
                  <a:solidFill>
                    <a:prstClr val="white"/>
                  </a:solidFill>
                </a:endParaRPr>
              </a:p>
            </p:txBody>
          </p:sp>
          <p:sp>
            <p:nvSpPr>
              <p:cNvPr id="63" name="Ellipsi 101"/>
              <p:cNvSpPr/>
              <p:nvPr/>
            </p:nvSpPr>
            <p:spPr>
              <a:xfrm>
                <a:off x="6615235" y="4011910"/>
                <a:ext cx="72000" cy="72008"/>
              </a:xfrm>
              <a:prstGeom prst="ellipse">
                <a:avLst/>
              </a:prstGeom>
              <a:solidFill>
                <a:schemeClr val="tx1"/>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dirty="0">
                  <a:solidFill>
                    <a:prstClr val="white"/>
                  </a:solidFill>
                </a:endParaRPr>
              </a:p>
            </p:txBody>
          </p:sp>
          <p:sp>
            <p:nvSpPr>
              <p:cNvPr id="64" name="Ellipsi 101"/>
              <p:cNvSpPr/>
              <p:nvPr/>
            </p:nvSpPr>
            <p:spPr>
              <a:xfrm>
                <a:off x="6237185" y="3921900"/>
                <a:ext cx="72000" cy="72008"/>
              </a:xfrm>
              <a:prstGeom prst="ellipse">
                <a:avLst/>
              </a:prstGeom>
              <a:solidFill>
                <a:schemeClr val="tx1"/>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dirty="0">
                  <a:solidFill>
                    <a:prstClr val="white"/>
                  </a:solidFill>
                </a:endParaRPr>
              </a:p>
            </p:txBody>
          </p:sp>
          <p:sp>
            <p:nvSpPr>
              <p:cNvPr id="66" name="Ellipsi 101"/>
              <p:cNvSpPr/>
              <p:nvPr/>
            </p:nvSpPr>
            <p:spPr>
              <a:xfrm>
                <a:off x="6650106" y="3945440"/>
                <a:ext cx="72000" cy="72008"/>
              </a:xfrm>
              <a:prstGeom prst="ellipse">
                <a:avLst/>
              </a:prstGeom>
              <a:solidFill>
                <a:schemeClr val="tx1"/>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dirty="0">
                  <a:solidFill>
                    <a:prstClr val="white"/>
                  </a:solidFill>
                </a:endParaRPr>
              </a:p>
            </p:txBody>
          </p:sp>
          <p:sp>
            <p:nvSpPr>
              <p:cNvPr id="67" name="Ellipsi 101"/>
              <p:cNvSpPr/>
              <p:nvPr/>
            </p:nvSpPr>
            <p:spPr>
              <a:xfrm>
                <a:off x="6705245" y="3984907"/>
                <a:ext cx="72000" cy="72008"/>
              </a:xfrm>
              <a:prstGeom prst="ellipse">
                <a:avLst/>
              </a:prstGeom>
              <a:solidFill>
                <a:schemeClr val="tx1"/>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dirty="0">
                  <a:solidFill>
                    <a:prstClr val="white"/>
                  </a:solidFill>
                </a:endParaRPr>
              </a:p>
            </p:txBody>
          </p:sp>
          <p:sp>
            <p:nvSpPr>
              <p:cNvPr id="69" name="Ellipsi 101"/>
              <p:cNvSpPr/>
              <p:nvPr/>
            </p:nvSpPr>
            <p:spPr>
              <a:xfrm>
                <a:off x="6321898" y="3657539"/>
                <a:ext cx="72000" cy="72008"/>
              </a:xfrm>
              <a:prstGeom prst="ellipse">
                <a:avLst/>
              </a:prstGeom>
              <a:solidFill>
                <a:schemeClr val="tx1"/>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dirty="0">
                  <a:solidFill>
                    <a:prstClr val="white"/>
                  </a:solidFill>
                </a:endParaRPr>
              </a:p>
            </p:txBody>
          </p:sp>
          <p:sp>
            <p:nvSpPr>
              <p:cNvPr id="54" name="Ellipsi 101"/>
              <p:cNvSpPr/>
              <p:nvPr/>
            </p:nvSpPr>
            <p:spPr>
              <a:xfrm>
                <a:off x="6480220" y="3929076"/>
                <a:ext cx="72000" cy="72008"/>
              </a:xfrm>
              <a:prstGeom prst="ellipse">
                <a:avLst/>
              </a:prstGeom>
              <a:solidFill>
                <a:schemeClr val="tx1"/>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dirty="0">
                  <a:solidFill>
                    <a:prstClr val="white"/>
                  </a:solidFill>
                </a:endParaRPr>
              </a:p>
            </p:txBody>
          </p:sp>
          <p:sp>
            <p:nvSpPr>
              <p:cNvPr id="55" name="Ellipsi 101"/>
              <p:cNvSpPr/>
              <p:nvPr/>
            </p:nvSpPr>
            <p:spPr>
              <a:xfrm>
                <a:off x="6692781" y="3936910"/>
                <a:ext cx="72000" cy="72008"/>
              </a:xfrm>
              <a:prstGeom prst="ellipse">
                <a:avLst/>
              </a:prstGeom>
              <a:solidFill>
                <a:schemeClr val="tx1"/>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dirty="0">
                  <a:solidFill>
                    <a:prstClr val="white"/>
                  </a:solidFill>
                </a:endParaRPr>
              </a:p>
            </p:txBody>
          </p:sp>
          <p:sp>
            <p:nvSpPr>
              <p:cNvPr id="52" name="Ellipsi 101"/>
              <p:cNvSpPr/>
              <p:nvPr/>
            </p:nvSpPr>
            <p:spPr>
              <a:xfrm>
                <a:off x="6615235" y="4074917"/>
                <a:ext cx="72000" cy="72008"/>
              </a:xfrm>
              <a:prstGeom prst="ellipse">
                <a:avLst/>
              </a:prstGeom>
              <a:solidFill>
                <a:schemeClr val="tx1"/>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dirty="0">
                  <a:solidFill>
                    <a:prstClr val="white"/>
                  </a:solidFill>
                </a:endParaRPr>
              </a:p>
            </p:txBody>
          </p:sp>
          <p:sp>
            <p:nvSpPr>
              <p:cNvPr id="71" name="Ellipsi 101"/>
              <p:cNvSpPr/>
              <p:nvPr/>
            </p:nvSpPr>
            <p:spPr>
              <a:xfrm>
                <a:off x="6390210" y="3606865"/>
                <a:ext cx="72000" cy="72008"/>
              </a:xfrm>
              <a:prstGeom prst="ellipse">
                <a:avLst/>
              </a:prstGeom>
              <a:solidFill>
                <a:schemeClr val="tx1"/>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dirty="0">
                  <a:solidFill>
                    <a:prstClr val="white"/>
                  </a:solidFill>
                </a:endParaRPr>
              </a:p>
            </p:txBody>
          </p:sp>
          <p:sp>
            <p:nvSpPr>
              <p:cNvPr id="59" name="Ellipsi 101"/>
              <p:cNvSpPr/>
              <p:nvPr/>
            </p:nvSpPr>
            <p:spPr>
              <a:xfrm>
                <a:off x="2474775" y="2121700"/>
                <a:ext cx="72000" cy="72008"/>
              </a:xfrm>
              <a:prstGeom prst="ellipse">
                <a:avLst/>
              </a:prstGeom>
              <a:solidFill>
                <a:schemeClr val="tx1"/>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dirty="0">
                  <a:solidFill>
                    <a:prstClr val="white"/>
                  </a:solidFill>
                </a:endParaRPr>
              </a:p>
            </p:txBody>
          </p:sp>
          <p:sp>
            <p:nvSpPr>
              <p:cNvPr id="60" name="Ellipsi 101"/>
              <p:cNvSpPr/>
              <p:nvPr/>
            </p:nvSpPr>
            <p:spPr>
              <a:xfrm>
                <a:off x="4500000" y="3606865"/>
                <a:ext cx="72000" cy="72008"/>
              </a:xfrm>
              <a:prstGeom prst="ellipse">
                <a:avLst/>
              </a:prstGeom>
              <a:solidFill>
                <a:schemeClr val="tx1"/>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dirty="0">
                  <a:solidFill>
                    <a:prstClr val="white"/>
                  </a:solidFill>
                </a:endParaRPr>
              </a:p>
            </p:txBody>
          </p:sp>
        </p:grpSp>
        <p:sp>
          <p:nvSpPr>
            <p:cNvPr id="56" name="Ellipsi 101"/>
            <p:cNvSpPr/>
            <p:nvPr/>
          </p:nvSpPr>
          <p:spPr>
            <a:xfrm>
              <a:off x="4094955" y="2139702"/>
              <a:ext cx="72000" cy="72008"/>
            </a:xfrm>
            <a:prstGeom prst="ellipse">
              <a:avLst/>
            </a:prstGeom>
            <a:solidFill>
              <a:schemeClr val="tx1"/>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dirty="0">
                <a:solidFill>
                  <a:prstClr val="white"/>
                </a:solidFill>
              </a:endParaRPr>
            </a:p>
          </p:txBody>
        </p:sp>
        <p:sp>
          <p:nvSpPr>
            <p:cNvPr id="72" name="Ellipsi 101"/>
            <p:cNvSpPr/>
            <p:nvPr/>
          </p:nvSpPr>
          <p:spPr>
            <a:xfrm>
              <a:off x="6417205" y="3921900"/>
              <a:ext cx="72000" cy="72008"/>
            </a:xfrm>
            <a:prstGeom prst="ellipse">
              <a:avLst/>
            </a:prstGeom>
            <a:solidFill>
              <a:schemeClr val="tx1"/>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dirty="0">
                <a:solidFill>
                  <a:prstClr val="white"/>
                </a:solidFill>
              </a:endParaRPr>
            </a:p>
          </p:txBody>
        </p:sp>
        <p:sp>
          <p:nvSpPr>
            <p:cNvPr id="76" name="Ellipsi 101"/>
            <p:cNvSpPr/>
            <p:nvPr/>
          </p:nvSpPr>
          <p:spPr>
            <a:xfrm>
              <a:off x="1376645" y="1824667"/>
              <a:ext cx="72000" cy="72008"/>
            </a:xfrm>
            <a:prstGeom prst="ellipse">
              <a:avLst/>
            </a:prstGeom>
            <a:solidFill>
              <a:schemeClr val="tx1"/>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dirty="0">
                <a:solidFill>
                  <a:prstClr val="white"/>
                </a:solidFill>
              </a:endParaRPr>
            </a:p>
          </p:txBody>
        </p:sp>
        <p:sp>
          <p:nvSpPr>
            <p:cNvPr id="73" name="Ellipsi 101"/>
            <p:cNvSpPr/>
            <p:nvPr/>
          </p:nvSpPr>
          <p:spPr>
            <a:xfrm>
              <a:off x="6192180" y="3894897"/>
              <a:ext cx="72000" cy="72008"/>
            </a:xfrm>
            <a:prstGeom prst="ellipse">
              <a:avLst/>
            </a:prstGeom>
            <a:solidFill>
              <a:schemeClr val="tx1"/>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dirty="0">
                <a:solidFill>
                  <a:prstClr val="white"/>
                </a:solidFill>
              </a:endParaRPr>
            </a:p>
          </p:txBody>
        </p:sp>
        <p:sp>
          <p:nvSpPr>
            <p:cNvPr id="77" name="Ellipsi 101"/>
            <p:cNvSpPr/>
            <p:nvPr/>
          </p:nvSpPr>
          <p:spPr>
            <a:xfrm>
              <a:off x="6210190" y="3939902"/>
              <a:ext cx="72000" cy="72008"/>
            </a:xfrm>
            <a:prstGeom prst="ellipse">
              <a:avLst/>
            </a:prstGeom>
            <a:solidFill>
              <a:schemeClr val="tx1"/>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dirty="0">
                <a:solidFill>
                  <a:prstClr val="white"/>
                </a:solidFill>
              </a:endParaRPr>
            </a:p>
          </p:txBody>
        </p:sp>
        <p:sp>
          <p:nvSpPr>
            <p:cNvPr id="79" name="Ellipsi 101"/>
            <p:cNvSpPr/>
            <p:nvPr/>
          </p:nvSpPr>
          <p:spPr>
            <a:xfrm>
              <a:off x="6283810" y="3936910"/>
              <a:ext cx="72000" cy="72008"/>
            </a:xfrm>
            <a:prstGeom prst="ellipse">
              <a:avLst/>
            </a:prstGeom>
            <a:solidFill>
              <a:schemeClr val="tx1"/>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dirty="0">
                <a:solidFill>
                  <a:prstClr val="white"/>
                </a:solidFill>
              </a:endParaRPr>
            </a:p>
          </p:txBody>
        </p:sp>
        <p:sp>
          <p:nvSpPr>
            <p:cNvPr id="80" name="Ellipsi 101"/>
            <p:cNvSpPr/>
            <p:nvPr/>
          </p:nvSpPr>
          <p:spPr>
            <a:xfrm>
              <a:off x="6660240" y="3984907"/>
              <a:ext cx="72000" cy="72008"/>
            </a:xfrm>
            <a:prstGeom prst="ellipse">
              <a:avLst/>
            </a:prstGeom>
            <a:solidFill>
              <a:schemeClr val="tx1"/>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dirty="0">
                <a:solidFill>
                  <a:prstClr val="white"/>
                </a:solidFill>
              </a:endParaRPr>
            </a:p>
          </p:txBody>
        </p:sp>
        <p:sp>
          <p:nvSpPr>
            <p:cNvPr id="81" name="Ellipsi 101"/>
            <p:cNvSpPr/>
            <p:nvPr/>
          </p:nvSpPr>
          <p:spPr>
            <a:xfrm>
              <a:off x="5310090" y="2724767"/>
              <a:ext cx="72000" cy="72008"/>
            </a:xfrm>
            <a:prstGeom prst="ellipse">
              <a:avLst/>
            </a:prstGeom>
            <a:solidFill>
              <a:schemeClr val="tx1"/>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dirty="0">
                <a:solidFill>
                  <a:prstClr val="white"/>
                </a:solidFill>
              </a:endParaRPr>
            </a:p>
          </p:txBody>
        </p:sp>
        <p:sp>
          <p:nvSpPr>
            <p:cNvPr id="82" name="Ellipsi 101"/>
            <p:cNvSpPr/>
            <p:nvPr/>
          </p:nvSpPr>
          <p:spPr>
            <a:xfrm>
              <a:off x="6300200" y="3264827"/>
              <a:ext cx="72000" cy="72008"/>
            </a:xfrm>
            <a:prstGeom prst="ellipse">
              <a:avLst/>
            </a:prstGeom>
            <a:solidFill>
              <a:schemeClr val="tx1"/>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dirty="0">
                <a:solidFill>
                  <a:prstClr val="white"/>
                </a:solidFill>
              </a:endParaRPr>
            </a:p>
          </p:txBody>
        </p:sp>
      </p:grpSp>
      <p:pic>
        <p:nvPicPr>
          <p:cNvPr id="8" name="Picture 7"/>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7890371" y="1266605"/>
            <a:ext cx="908712" cy="238537"/>
          </a:xfrm>
          <a:prstGeom prst="rect">
            <a:avLst/>
          </a:prstGeom>
        </p:spPr>
      </p:pic>
      <p:sp>
        <p:nvSpPr>
          <p:cNvPr id="75" name="Slide Number Placeholder 3"/>
          <p:cNvSpPr txBox="1">
            <a:spLocks/>
          </p:cNvSpPr>
          <p:nvPr/>
        </p:nvSpPr>
        <p:spPr>
          <a:xfrm>
            <a:off x="356546" y="4725534"/>
            <a:ext cx="719999" cy="134223"/>
          </a:xfrm>
          <a:prstGeom prst="rect">
            <a:avLst/>
          </a:prstGeom>
        </p:spPr>
        <p:txBody>
          <a:bodyPr vert="horz" lIns="0" tIns="0" rIns="0" bIns="0" rtlCol="0" anchor="b" anchorCtr="0"/>
          <a:lstStyle>
            <a:defPPr>
              <a:defRPr lang="en-US"/>
            </a:defPPr>
            <a:lvl1pPr marL="0" algn="l" defTabSz="914296" rtl="0" eaLnBrk="1" latinLnBrk="0" hangingPunct="1">
              <a:defRPr sz="700" kern="1200">
                <a:solidFill>
                  <a:schemeClr val="bg2"/>
                </a:solidFill>
                <a:latin typeface="+mn-lt"/>
                <a:ea typeface="+mn-ea"/>
                <a:cs typeface="+mn-cs"/>
              </a:defRPr>
            </a:lvl1pPr>
            <a:lvl2pPr marL="457148" algn="l" defTabSz="914296" rtl="0" eaLnBrk="1" latinLnBrk="0" hangingPunct="1">
              <a:defRPr sz="1800" kern="1200">
                <a:solidFill>
                  <a:schemeClr val="tx1"/>
                </a:solidFill>
                <a:latin typeface="+mn-lt"/>
                <a:ea typeface="+mn-ea"/>
                <a:cs typeface="+mn-cs"/>
              </a:defRPr>
            </a:lvl2pPr>
            <a:lvl3pPr marL="914296" algn="l" defTabSz="914296" rtl="0" eaLnBrk="1" latinLnBrk="0" hangingPunct="1">
              <a:defRPr sz="1800" kern="1200">
                <a:solidFill>
                  <a:schemeClr val="tx1"/>
                </a:solidFill>
                <a:latin typeface="+mn-lt"/>
                <a:ea typeface="+mn-ea"/>
                <a:cs typeface="+mn-cs"/>
              </a:defRPr>
            </a:lvl3pPr>
            <a:lvl4pPr marL="1371444" algn="l" defTabSz="914296" rtl="0" eaLnBrk="1" latinLnBrk="0" hangingPunct="1">
              <a:defRPr sz="1800" kern="1200">
                <a:solidFill>
                  <a:schemeClr val="tx1"/>
                </a:solidFill>
                <a:latin typeface="+mn-lt"/>
                <a:ea typeface="+mn-ea"/>
                <a:cs typeface="+mn-cs"/>
              </a:defRPr>
            </a:lvl4pPr>
            <a:lvl5pPr marL="1828592" algn="l" defTabSz="914296" rtl="0" eaLnBrk="1" latinLnBrk="0" hangingPunct="1">
              <a:defRPr sz="1800" kern="1200">
                <a:solidFill>
                  <a:schemeClr val="tx1"/>
                </a:solidFill>
                <a:latin typeface="+mn-lt"/>
                <a:ea typeface="+mn-ea"/>
                <a:cs typeface="+mn-cs"/>
              </a:defRPr>
            </a:lvl5pPr>
            <a:lvl6pPr marL="2285740" algn="l" defTabSz="914296" rtl="0" eaLnBrk="1" latinLnBrk="0" hangingPunct="1">
              <a:defRPr sz="1800" kern="1200">
                <a:solidFill>
                  <a:schemeClr val="tx1"/>
                </a:solidFill>
                <a:latin typeface="+mn-lt"/>
                <a:ea typeface="+mn-ea"/>
                <a:cs typeface="+mn-cs"/>
              </a:defRPr>
            </a:lvl6pPr>
            <a:lvl7pPr marL="2742888" algn="l" defTabSz="914296" rtl="0" eaLnBrk="1" latinLnBrk="0" hangingPunct="1">
              <a:defRPr sz="1800" kern="1200">
                <a:solidFill>
                  <a:schemeClr val="tx1"/>
                </a:solidFill>
                <a:latin typeface="+mn-lt"/>
                <a:ea typeface="+mn-ea"/>
                <a:cs typeface="+mn-cs"/>
              </a:defRPr>
            </a:lvl7pPr>
            <a:lvl8pPr marL="3200036" algn="l" defTabSz="914296" rtl="0" eaLnBrk="1" latinLnBrk="0" hangingPunct="1">
              <a:defRPr sz="1800" kern="1200">
                <a:solidFill>
                  <a:schemeClr val="tx1"/>
                </a:solidFill>
                <a:latin typeface="+mn-lt"/>
                <a:ea typeface="+mn-ea"/>
                <a:cs typeface="+mn-cs"/>
              </a:defRPr>
            </a:lvl8pPr>
            <a:lvl9pPr marL="3657184" algn="l" defTabSz="914296" rtl="0" eaLnBrk="1" latinLnBrk="0" hangingPunct="1">
              <a:defRPr sz="1800" kern="1200">
                <a:solidFill>
                  <a:schemeClr val="tx1"/>
                </a:solidFill>
                <a:latin typeface="+mn-lt"/>
                <a:ea typeface="+mn-ea"/>
                <a:cs typeface="+mn-cs"/>
              </a:defRPr>
            </a:lvl9pPr>
          </a:lstStyle>
          <a:p>
            <a:fld id="{469B62F1-B431-48B6-8270-02431A1685B7}" type="slidenum">
              <a:rPr lang="en-US" smtClean="0">
                <a:solidFill>
                  <a:srgbClr val="7F7F7F"/>
                </a:solidFill>
              </a:rPr>
              <a:pPr/>
              <a:t>21</a:t>
            </a:fld>
            <a:endParaRPr lang="en-US" dirty="0">
              <a:solidFill>
                <a:srgbClr val="7F7F7F"/>
              </a:solidFill>
            </a:endParaRPr>
          </a:p>
        </p:txBody>
      </p:sp>
      <p:pic>
        <p:nvPicPr>
          <p:cNvPr id="84" name="Picture 2"/>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7246477" y="1298022"/>
            <a:ext cx="412146" cy="2260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5" name="Picture 6"/>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7378778" y="3053651"/>
            <a:ext cx="319294" cy="1969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6" name="Picture 85"/>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7397360" y="2116791"/>
            <a:ext cx="231935" cy="321769"/>
          </a:xfrm>
          <a:prstGeom prst="rect">
            <a:avLst/>
          </a:prstGeom>
        </p:spPr>
      </p:pic>
      <p:pic>
        <p:nvPicPr>
          <p:cNvPr id="87" name="Picture 86"/>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7338199" y="3673469"/>
            <a:ext cx="526233" cy="187613"/>
          </a:xfrm>
          <a:prstGeom prst="rect">
            <a:avLst/>
          </a:prstGeom>
        </p:spPr>
      </p:pic>
      <p:pic>
        <p:nvPicPr>
          <p:cNvPr id="102" name="Picture 101"/>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8046543" y="2024723"/>
            <a:ext cx="658549" cy="75198"/>
          </a:xfrm>
          <a:prstGeom prst="rect">
            <a:avLst/>
          </a:prstGeom>
        </p:spPr>
      </p:pic>
      <p:pic>
        <p:nvPicPr>
          <p:cNvPr id="103" name="图片 21" descr="image002"/>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8046543" y="1705201"/>
            <a:ext cx="596369" cy="2294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5" name="Picture 104"/>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7889985" y="1088033"/>
            <a:ext cx="1002495" cy="117292"/>
          </a:xfrm>
          <a:prstGeom prst="rect">
            <a:avLst/>
          </a:prstGeom>
        </p:spPr>
      </p:pic>
      <p:pic>
        <p:nvPicPr>
          <p:cNvPr id="106" name="Picture 105"/>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7935565" y="1536635"/>
            <a:ext cx="911910" cy="140049"/>
          </a:xfrm>
          <a:prstGeom prst="rect">
            <a:avLst/>
          </a:prstGeom>
        </p:spPr>
      </p:pic>
      <p:pic>
        <p:nvPicPr>
          <p:cNvPr id="107" name="Picture 2" descr="http://www.coeur.com/images/default-source/2014-Template/template-veritcallogo.png?sfvrsn=6"/>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452320" y="3306555"/>
            <a:ext cx="203290" cy="2103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13546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Bildobjekt 24"/>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0" y="0"/>
            <a:ext cx="2566416" cy="2577600"/>
          </a:xfrm>
          <a:prstGeom prst="rect">
            <a:avLst/>
          </a:prstGeom>
        </p:spPr>
      </p:pic>
      <p:sp>
        <p:nvSpPr>
          <p:cNvPr id="12" name="Rektangel 11"/>
          <p:cNvSpPr/>
          <p:nvPr/>
        </p:nvSpPr>
        <p:spPr>
          <a:xfrm>
            <a:off x="2556873" y="0"/>
            <a:ext cx="1440328" cy="2575859"/>
          </a:xfrm>
          <a:prstGeom prst="rect">
            <a:avLst/>
          </a:prstGeom>
          <a:solidFill>
            <a:schemeClr val="tx2"/>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pic>
        <p:nvPicPr>
          <p:cNvPr id="15" name="Bildobjekt 14"/>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3998259" y="0"/>
            <a:ext cx="2595501" cy="2577600"/>
          </a:xfrm>
          <a:prstGeom prst="rect">
            <a:avLst/>
          </a:prstGeom>
        </p:spPr>
      </p:pic>
      <p:sp>
        <p:nvSpPr>
          <p:cNvPr id="14" name="Rektangel 13"/>
          <p:cNvSpPr/>
          <p:nvPr/>
        </p:nvSpPr>
        <p:spPr>
          <a:xfrm>
            <a:off x="5165384" y="2625600"/>
            <a:ext cx="1396781" cy="2513328"/>
          </a:xfrm>
          <a:prstGeom prst="rect">
            <a:avLst/>
          </a:prstGeom>
          <a:solidFill>
            <a:schemeClr val="accent2"/>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pic>
        <p:nvPicPr>
          <p:cNvPr id="19" name="Bildobjekt 18"/>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553993" y="0"/>
            <a:ext cx="2590007" cy="2577600"/>
          </a:xfrm>
          <a:prstGeom prst="rect">
            <a:avLst/>
          </a:prstGeom>
        </p:spPr>
      </p:pic>
      <p:pic>
        <p:nvPicPr>
          <p:cNvPr id="20" name="Picture 2" descr="http://cwmags.com/cw-1-3/ed-pix/Sandvik_LH51_4E.jpg"/>
          <p:cNvPicPr>
            <a:picLocks noChangeAspect="1" noChangeArrowheads="1"/>
          </p:cNvPicPr>
          <p:nvPr/>
        </p:nvPicPr>
        <p:blipFill rotWithShape="1">
          <a:blip r:embed="rId6" cstate="print">
            <a:extLst>
              <a:ext uri="{28A0092B-C50C-407E-A947-70E740481C1C}">
                <a14:useLocalDpi xmlns:a14="http://schemas.microsoft.com/office/drawing/2010/main"/>
              </a:ext>
            </a:extLst>
          </a:blip>
          <a:srcRect/>
          <a:stretch/>
        </p:blipFill>
        <p:spPr bwMode="auto">
          <a:xfrm>
            <a:off x="-12701" y="2625600"/>
            <a:ext cx="2554007" cy="2513328"/>
          </a:xfrm>
          <a:prstGeom prst="rect">
            <a:avLst/>
          </a:prstGeom>
          <a:noFill/>
          <a:ln>
            <a:noFill/>
          </a:ln>
          <a:extLst>
            <a:ext uri="{909E8E84-426E-40DD-AFC4-6F175D3DCCD1}">
              <a14:hiddenFill xmlns:a14="http://schemas.microsoft.com/office/drawing/2010/main">
                <a:solidFill>
                  <a:srgbClr val="FFFFFF"/>
                </a:solidFill>
              </a14:hiddenFill>
            </a:ext>
          </a:extLst>
        </p:spPr>
      </p:pic>
      <p:grpSp>
        <p:nvGrpSpPr>
          <p:cNvPr id="40" name="Grupp 39"/>
          <p:cNvGrpSpPr/>
          <p:nvPr/>
        </p:nvGrpSpPr>
        <p:grpSpPr>
          <a:xfrm>
            <a:off x="0" y="-6096"/>
            <a:ext cx="9137904" cy="5149596"/>
            <a:chOff x="0" y="-6096"/>
            <a:chExt cx="9137904" cy="5149596"/>
          </a:xfrm>
        </p:grpSpPr>
        <p:sp>
          <p:nvSpPr>
            <p:cNvPr id="34" name="Frihandsfigur 33"/>
            <p:cNvSpPr/>
            <p:nvPr/>
          </p:nvSpPr>
          <p:spPr>
            <a:xfrm>
              <a:off x="0" y="2572512"/>
              <a:ext cx="9137904" cy="0"/>
            </a:xfrm>
            <a:custGeom>
              <a:avLst/>
              <a:gdLst>
                <a:gd name="connsiteX0" fmla="*/ 0 w 9137904"/>
                <a:gd name="connsiteY0" fmla="*/ 0 h 0"/>
                <a:gd name="connsiteX1" fmla="*/ 9137904 w 9137904"/>
                <a:gd name="connsiteY1" fmla="*/ 0 h 0"/>
              </a:gdLst>
              <a:ahLst/>
              <a:cxnLst>
                <a:cxn ang="0">
                  <a:pos x="connsiteX0" y="connsiteY0"/>
                </a:cxn>
                <a:cxn ang="0">
                  <a:pos x="connsiteX1" y="connsiteY1"/>
                </a:cxn>
              </a:cxnLst>
              <a:rect l="l" t="t" r="r" b="b"/>
              <a:pathLst>
                <a:path w="9137904">
                  <a:moveTo>
                    <a:pt x="0" y="0"/>
                  </a:moveTo>
                  <a:lnTo>
                    <a:pt x="9137904" y="0"/>
                  </a:lnTo>
                </a:path>
              </a:pathLst>
            </a:custGeom>
            <a:noFill/>
            <a:ln w="571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5" name="Frihandsfigur 34"/>
            <p:cNvSpPr/>
            <p:nvPr/>
          </p:nvSpPr>
          <p:spPr>
            <a:xfrm>
              <a:off x="2560320" y="-6096"/>
              <a:ext cx="0" cy="5145024"/>
            </a:xfrm>
            <a:custGeom>
              <a:avLst/>
              <a:gdLst>
                <a:gd name="connsiteX0" fmla="*/ 0 w 0"/>
                <a:gd name="connsiteY0" fmla="*/ 0 h 5145024"/>
                <a:gd name="connsiteX1" fmla="*/ 0 w 0"/>
                <a:gd name="connsiteY1" fmla="*/ 5145024 h 5145024"/>
              </a:gdLst>
              <a:ahLst/>
              <a:cxnLst>
                <a:cxn ang="0">
                  <a:pos x="connsiteX0" y="connsiteY0"/>
                </a:cxn>
                <a:cxn ang="0">
                  <a:pos x="connsiteX1" y="connsiteY1"/>
                </a:cxn>
              </a:cxnLst>
              <a:rect l="l" t="t" r="r" b="b"/>
              <a:pathLst>
                <a:path h="5145024">
                  <a:moveTo>
                    <a:pt x="0" y="0"/>
                  </a:moveTo>
                  <a:lnTo>
                    <a:pt x="0" y="5145024"/>
                  </a:lnTo>
                </a:path>
              </a:pathLst>
            </a:custGeom>
            <a:noFill/>
            <a:ln w="571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6" name="Frihandsfigur 35"/>
            <p:cNvSpPr/>
            <p:nvPr/>
          </p:nvSpPr>
          <p:spPr>
            <a:xfrm>
              <a:off x="6547104" y="-6096"/>
              <a:ext cx="0" cy="5145024"/>
            </a:xfrm>
            <a:custGeom>
              <a:avLst/>
              <a:gdLst>
                <a:gd name="connsiteX0" fmla="*/ 0 w 0"/>
                <a:gd name="connsiteY0" fmla="*/ 0 h 5145024"/>
                <a:gd name="connsiteX1" fmla="*/ 0 w 0"/>
                <a:gd name="connsiteY1" fmla="*/ 5145024 h 5145024"/>
              </a:gdLst>
              <a:ahLst/>
              <a:cxnLst>
                <a:cxn ang="0">
                  <a:pos x="connsiteX0" y="connsiteY0"/>
                </a:cxn>
                <a:cxn ang="0">
                  <a:pos x="connsiteX1" y="connsiteY1"/>
                </a:cxn>
              </a:cxnLst>
              <a:rect l="l" t="t" r="r" b="b"/>
              <a:pathLst>
                <a:path h="5145024">
                  <a:moveTo>
                    <a:pt x="0" y="0"/>
                  </a:moveTo>
                  <a:lnTo>
                    <a:pt x="0" y="5145024"/>
                  </a:lnTo>
                </a:path>
              </a:pathLst>
            </a:custGeom>
            <a:noFill/>
            <a:ln w="571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8" name="Frihandsfigur 37"/>
            <p:cNvSpPr/>
            <p:nvPr/>
          </p:nvSpPr>
          <p:spPr>
            <a:xfrm>
              <a:off x="3998976" y="0"/>
              <a:ext cx="0" cy="2556000"/>
            </a:xfrm>
            <a:custGeom>
              <a:avLst/>
              <a:gdLst>
                <a:gd name="connsiteX0" fmla="*/ 0 w 0"/>
                <a:gd name="connsiteY0" fmla="*/ 0 h 2542032"/>
                <a:gd name="connsiteX1" fmla="*/ 0 w 0"/>
                <a:gd name="connsiteY1" fmla="*/ 2542032 h 2542032"/>
              </a:gdLst>
              <a:ahLst/>
              <a:cxnLst>
                <a:cxn ang="0">
                  <a:pos x="connsiteX0" y="connsiteY0"/>
                </a:cxn>
                <a:cxn ang="0">
                  <a:pos x="connsiteX1" y="connsiteY1"/>
                </a:cxn>
              </a:cxnLst>
              <a:rect l="l" t="t" r="r" b="b"/>
              <a:pathLst>
                <a:path h="2542032">
                  <a:moveTo>
                    <a:pt x="0" y="0"/>
                  </a:moveTo>
                  <a:lnTo>
                    <a:pt x="0" y="2542032"/>
                  </a:lnTo>
                </a:path>
              </a:pathLst>
            </a:custGeom>
            <a:noFill/>
            <a:ln w="571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9" name="Frihandsfigur 38"/>
            <p:cNvSpPr/>
            <p:nvPr/>
          </p:nvSpPr>
          <p:spPr>
            <a:xfrm>
              <a:off x="5169408" y="2587500"/>
              <a:ext cx="0" cy="2556000"/>
            </a:xfrm>
            <a:custGeom>
              <a:avLst/>
              <a:gdLst>
                <a:gd name="connsiteX0" fmla="*/ 0 w 0"/>
                <a:gd name="connsiteY0" fmla="*/ 0 h 2542032"/>
                <a:gd name="connsiteX1" fmla="*/ 0 w 0"/>
                <a:gd name="connsiteY1" fmla="*/ 2542032 h 2542032"/>
              </a:gdLst>
              <a:ahLst/>
              <a:cxnLst>
                <a:cxn ang="0">
                  <a:pos x="connsiteX0" y="connsiteY0"/>
                </a:cxn>
                <a:cxn ang="0">
                  <a:pos x="connsiteX1" y="connsiteY1"/>
                </a:cxn>
              </a:cxnLst>
              <a:rect l="l" t="t" r="r" b="b"/>
              <a:pathLst>
                <a:path h="2542032">
                  <a:moveTo>
                    <a:pt x="0" y="0"/>
                  </a:moveTo>
                  <a:lnTo>
                    <a:pt x="0" y="2542032"/>
                  </a:lnTo>
                </a:path>
              </a:pathLst>
            </a:custGeom>
            <a:noFill/>
            <a:ln w="571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grpSp>
      <p:pic>
        <p:nvPicPr>
          <p:cNvPr id="2" name="Picture 1"/>
          <p:cNvPicPr>
            <a:picLocks noChangeAspect="1"/>
          </p:cNvPicPr>
          <p:nvPr/>
        </p:nvPicPr>
        <p:blipFill rotWithShape="1">
          <a:blip r:embed="rId7" cstate="print">
            <a:extLst>
              <a:ext uri="{28A0092B-C50C-407E-A947-70E740481C1C}">
                <a14:useLocalDpi xmlns:a14="http://schemas.microsoft.com/office/drawing/2010/main"/>
              </a:ext>
            </a:extLst>
          </a:blip>
          <a:srcRect l="-774"/>
          <a:stretch/>
        </p:blipFill>
        <p:spPr>
          <a:xfrm>
            <a:off x="6547104" y="2625600"/>
            <a:ext cx="2596896" cy="2513328"/>
          </a:xfrm>
          <a:prstGeom prst="rect">
            <a:avLst/>
          </a:prstGeom>
        </p:spPr>
      </p:pic>
      <p:pic>
        <p:nvPicPr>
          <p:cNvPr id="3" name="Picture 2"/>
          <p:cNvPicPr>
            <a:picLocks noChangeAspect="1"/>
          </p:cNvPicPr>
          <p:nvPr/>
        </p:nvPicPr>
        <p:blipFill rotWithShape="1">
          <a:blip r:embed="rId8" cstate="print">
            <a:extLst>
              <a:ext uri="{28A0092B-C50C-407E-A947-70E740481C1C}">
                <a14:useLocalDpi xmlns:a14="http://schemas.microsoft.com/office/drawing/2010/main"/>
              </a:ext>
            </a:extLst>
          </a:blip>
          <a:srcRect r="-1"/>
          <a:stretch/>
        </p:blipFill>
        <p:spPr>
          <a:xfrm>
            <a:off x="2578772" y="2625600"/>
            <a:ext cx="2588584" cy="2517900"/>
          </a:xfrm>
          <a:prstGeom prst="rect">
            <a:avLst/>
          </a:prstGeom>
        </p:spPr>
      </p:pic>
    </p:spTree>
    <p:extLst>
      <p:ext uri="{BB962C8B-B14F-4D97-AF65-F5344CB8AC3E}">
        <p14:creationId xmlns:p14="http://schemas.microsoft.com/office/powerpoint/2010/main" val="28290793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19"/>
          <p:cNvSpPr>
            <a:spLocks noGrp="1"/>
          </p:cNvSpPr>
          <p:nvPr>
            <p:ph type="title"/>
          </p:nvPr>
        </p:nvSpPr>
        <p:spPr>
          <a:xfrm>
            <a:off x="442131" y="1566048"/>
            <a:ext cx="8423275" cy="1439863"/>
          </a:xfrm>
        </p:spPr>
        <p:txBody>
          <a:bodyPr/>
          <a:lstStyle/>
          <a:p>
            <a:r>
              <a:rPr lang="en-GB" dirty="0"/>
              <a:t>Thank you!</a:t>
            </a:r>
            <a:br>
              <a:rPr lang="en-GB" dirty="0"/>
            </a:br>
            <a:br>
              <a:rPr lang="en-GB" dirty="0"/>
            </a:br>
            <a:br>
              <a:rPr lang="en-GB" sz="1800" dirty="0"/>
            </a:br>
            <a:r>
              <a:rPr lang="en-GB" sz="1800" dirty="0"/>
              <a:t>				</a:t>
            </a:r>
            <a:br>
              <a:rPr lang="en-GB" sz="1600" dirty="0"/>
            </a:br>
            <a:endParaRPr lang="en-GB" dirty="0"/>
          </a:p>
        </p:txBody>
      </p:sp>
      <p:sp>
        <p:nvSpPr>
          <p:cNvPr id="56323" name="Slide Number Placeholder 3"/>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fld id="{6088CF1E-42DE-4304-BFEA-81ACF1A5EB48}" type="slidenum">
              <a:rPr lang="en-US">
                <a:solidFill>
                  <a:schemeClr val="tx2"/>
                </a:solidFill>
              </a:rPr>
              <a:pPr eaLnBrk="1" hangingPunct="1"/>
              <a:t>23</a:t>
            </a:fld>
            <a:endParaRPr lang="en-US" dirty="0">
              <a:solidFill>
                <a:schemeClr val="tx2"/>
              </a:solidFill>
            </a:endParaRPr>
          </a:p>
        </p:txBody>
      </p:sp>
      <p:pic>
        <p:nvPicPr>
          <p:cNvPr id="3" name="Picture 2">
            <a:extLst>
              <a:ext uri="{FF2B5EF4-FFF2-40B4-BE49-F238E27FC236}">
                <a16:creationId xmlns:a16="http://schemas.microsoft.com/office/drawing/2014/main" id="{AFF6E2F0-15D6-44F6-AA03-CD1140AABAF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556965" y="951570"/>
            <a:ext cx="4127918" cy="2526745"/>
          </a:xfrm>
          <a:prstGeom prst="rect">
            <a:avLst/>
          </a:prstGeom>
        </p:spPr>
      </p:pic>
      <p:sp>
        <p:nvSpPr>
          <p:cNvPr id="4" name="TextBox 3">
            <a:extLst>
              <a:ext uri="{FF2B5EF4-FFF2-40B4-BE49-F238E27FC236}">
                <a16:creationId xmlns:a16="http://schemas.microsoft.com/office/drawing/2014/main" id="{17F31C4B-1C06-4B17-8243-CF03DB9FC2B2}"/>
              </a:ext>
            </a:extLst>
          </p:cNvPr>
          <p:cNvSpPr txBox="1"/>
          <p:nvPr/>
        </p:nvSpPr>
        <p:spPr>
          <a:xfrm>
            <a:off x="4387033" y="3478315"/>
            <a:ext cx="3650352" cy="400110"/>
          </a:xfrm>
          <a:prstGeom prst="rect">
            <a:avLst/>
          </a:prstGeom>
          <a:noFill/>
        </p:spPr>
        <p:txBody>
          <a:bodyPr wrap="square" rtlCol="0">
            <a:spAutoFit/>
          </a:bodyPr>
          <a:lstStyle/>
          <a:p>
            <a:r>
              <a:rPr lang="en-GB" sz="2000" dirty="0"/>
              <a:t> </a:t>
            </a:r>
            <a:r>
              <a:rPr lang="en-GB" dirty="0">
                <a:solidFill>
                  <a:schemeClr val="tx2"/>
                </a:solidFill>
              </a:rPr>
              <a:t>Sandvik Portlaoise </a:t>
            </a:r>
            <a:r>
              <a:rPr lang="en-GB" sz="1400" i="1" dirty="0">
                <a:solidFill>
                  <a:schemeClr val="tx2"/>
                </a:solidFill>
              </a:rPr>
              <a:t>(R32 EP03)</a:t>
            </a:r>
            <a:endParaRPr lang="en-IE" i="1" dirty="0">
              <a:solidFill>
                <a:schemeClr val="tx2"/>
              </a:solidFill>
            </a:endParaRPr>
          </a:p>
        </p:txBody>
      </p:sp>
      <p:sp>
        <p:nvSpPr>
          <p:cNvPr id="12" name="TextBox 11">
            <a:extLst>
              <a:ext uri="{FF2B5EF4-FFF2-40B4-BE49-F238E27FC236}">
                <a16:creationId xmlns:a16="http://schemas.microsoft.com/office/drawing/2014/main" id="{B76A6BF3-E33B-4C86-9938-E4B8E0A14D52}"/>
              </a:ext>
            </a:extLst>
          </p:cNvPr>
          <p:cNvSpPr txBox="1"/>
          <p:nvPr/>
        </p:nvSpPr>
        <p:spPr>
          <a:xfrm>
            <a:off x="435916" y="4092793"/>
            <a:ext cx="8004876" cy="646331"/>
          </a:xfrm>
          <a:prstGeom prst="rect">
            <a:avLst/>
          </a:prstGeom>
          <a:noFill/>
        </p:spPr>
        <p:txBody>
          <a:bodyPr wrap="square" rtlCol="0">
            <a:spAutoFit/>
          </a:bodyPr>
          <a:lstStyle/>
          <a:p>
            <a:r>
              <a:rPr lang="en-GB" dirty="0">
                <a:solidFill>
                  <a:schemeClr val="tx2"/>
                </a:solidFill>
              </a:rPr>
              <a:t>I can give further details on any questions or queries at the Sandvik stand or via email @ </a:t>
            </a:r>
            <a:r>
              <a:rPr lang="en-GB" dirty="0">
                <a:hlinkClick r:id="rId3"/>
              </a:rPr>
              <a:t>brian.carroll@sandvik.com</a:t>
            </a:r>
            <a:endParaRPr lang="en-IE" dirty="0"/>
          </a:p>
        </p:txBody>
      </p:sp>
    </p:spTree>
    <p:extLst>
      <p:ext uri="{BB962C8B-B14F-4D97-AF65-F5344CB8AC3E}">
        <p14:creationId xmlns:p14="http://schemas.microsoft.com/office/powerpoint/2010/main" val="3312456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grpId="0" nodeType="withEffect">
                                  <p:stCondLst>
                                    <p:cond delay="500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par>
                                <p:cTn id="11" presetID="10" presetClass="entr" presetSubtype="0" fill="hold" grpId="0" nodeType="withEffect">
                                  <p:stCondLst>
                                    <p:cond delay="10000"/>
                                  </p:stCondLst>
                                  <p:childTnLst>
                                    <p:set>
                                      <p:cBhvr>
                                        <p:cTn id="12" dur="1" fill="hold">
                                          <p:stCondLst>
                                            <p:cond delay="0"/>
                                          </p:stCondLst>
                                        </p:cTn>
                                        <p:tgtEl>
                                          <p:spTgt spid="12"/>
                                        </p:tgtEl>
                                        <p:attrNameLst>
                                          <p:attrName>style.visibility</p:attrName>
                                        </p:attrNameLst>
                                      </p:cBhvr>
                                      <p:to>
                                        <p:strVal val="visible"/>
                                      </p:to>
                                    </p:set>
                                    <p:animEffect transition="in" filter="fade">
                                      <p:cBhvr>
                                        <p:cTn id="13"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12"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469B62F1-B431-48B6-8270-02431A1685B7}" type="slidenum">
              <a:rPr lang="en-US" smtClean="0"/>
              <a:t>3</a:t>
            </a:fld>
            <a:endParaRPr lang="en-US" dirty="0"/>
          </a:p>
        </p:txBody>
      </p:sp>
      <p:pic>
        <p:nvPicPr>
          <p:cNvPr id="6" name="Bildobjekt 6"/>
          <p:cNvPicPr>
            <a:picLocks noChangeAspect="1"/>
          </p:cNvPicPr>
          <p:nvPr/>
        </p:nvPicPr>
        <p:blipFill>
          <a:blip r:embed="rId3">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bwMode="auto">
          <a:xfrm>
            <a:off x="0" y="0"/>
            <a:ext cx="9144000" cy="4443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Rubrik 5"/>
          <p:cNvSpPr txBox="1">
            <a:spLocks/>
          </p:cNvSpPr>
          <p:nvPr/>
        </p:nvSpPr>
        <p:spPr>
          <a:xfrm>
            <a:off x="630238" y="195263"/>
            <a:ext cx="8280400" cy="771525"/>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2800" kern="1200" cap="all" baseline="0">
                <a:solidFill>
                  <a:schemeClr val="tx2"/>
                </a:solidFill>
                <a:latin typeface="+mj-lt"/>
                <a:ea typeface="+mj-ea"/>
                <a:cs typeface="+mj-cs"/>
              </a:defRPr>
            </a:lvl1pPr>
          </a:lstStyle>
          <a:p>
            <a:r>
              <a:rPr lang="en-US" dirty="0">
                <a:solidFill>
                  <a:schemeClr val="accent2"/>
                </a:solidFill>
              </a:rPr>
              <a:t>5 years LTI free – 5</a:t>
            </a:r>
            <a:r>
              <a:rPr lang="en-US" baseline="30000" dirty="0">
                <a:solidFill>
                  <a:schemeClr val="accent2"/>
                </a:solidFill>
              </a:rPr>
              <a:t>th</a:t>
            </a:r>
            <a:r>
              <a:rPr lang="en-US" dirty="0">
                <a:solidFill>
                  <a:schemeClr val="accent2"/>
                </a:solidFill>
              </a:rPr>
              <a:t> Dec 2017</a:t>
            </a:r>
          </a:p>
          <a:p>
            <a:r>
              <a:rPr lang="en-US" sz="2000" dirty="0">
                <a:solidFill>
                  <a:schemeClr val="accent2"/>
                </a:solidFill>
              </a:rPr>
              <a:t>2,122 days to date</a:t>
            </a:r>
          </a:p>
        </p:txBody>
      </p:sp>
      <p:sp>
        <p:nvSpPr>
          <p:cNvPr id="17" name="Rectangle 17"/>
          <p:cNvSpPr>
            <a:spLocks noChangeArrowheads="1"/>
          </p:cNvSpPr>
          <p:nvPr/>
        </p:nvSpPr>
        <p:spPr bwMode="auto">
          <a:xfrm>
            <a:off x="6336196" y="3255826"/>
            <a:ext cx="2952750"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spcAft>
                <a:spcPts val="600"/>
              </a:spcAft>
              <a:buClr>
                <a:schemeClr val="tx2"/>
              </a:buClr>
              <a:buSzPct val="100000"/>
            </a:pPr>
            <a:r>
              <a:rPr lang="en-US" sz="1600" dirty="0" err="1">
                <a:solidFill>
                  <a:schemeClr val="accent1">
                    <a:lumMod val="60000"/>
                    <a:lumOff val="40000"/>
                  </a:schemeClr>
                </a:solidFill>
              </a:rPr>
              <a:t>Sandvik’s</a:t>
            </a:r>
            <a:r>
              <a:rPr lang="en-US" sz="1600" dirty="0">
                <a:solidFill>
                  <a:schemeClr val="accent1">
                    <a:lumMod val="60000"/>
                    <a:lumOff val="40000"/>
                  </a:schemeClr>
                </a:solidFill>
              </a:rPr>
              <a:t> objective is zero harm to our people, the environment we work in, our customers and our suppliers</a:t>
            </a:r>
          </a:p>
        </p:txBody>
      </p:sp>
      <p:sp>
        <p:nvSpPr>
          <p:cNvPr id="2" name="TextBox 1">
            <a:extLst>
              <a:ext uri="{FF2B5EF4-FFF2-40B4-BE49-F238E27FC236}">
                <a16:creationId xmlns:a16="http://schemas.microsoft.com/office/drawing/2014/main" id="{54D486E9-7DC8-469C-8F45-C6F3B7737F1B}"/>
              </a:ext>
            </a:extLst>
          </p:cNvPr>
          <p:cNvSpPr txBox="1"/>
          <p:nvPr/>
        </p:nvSpPr>
        <p:spPr>
          <a:xfrm flipH="1">
            <a:off x="4436985" y="4508045"/>
            <a:ext cx="5476640" cy="261610"/>
          </a:xfrm>
          <a:prstGeom prst="rect">
            <a:avLst/>
          </a:prstGeom>
          <a:noFill/>
        </p:spPr>
        <p:txBody>
          <a:bodyPr wrap="square" rtlCol="0">
            <a:spAutoFit/>
          </a:bodyPr>
          <a:lstStyle/>
          <a:p>
            <a:r>
              <a:rPr lang="en-GB" sz="1100" dirty="0"/>
              <a:t>**Oliver Boland and Tom Pollard missing from photo</a:t>
            </a:r>
            <a:endParaRPr lang="en-IE" sz="1100" dirty="0"/>
          </a:p>
        </p:txBody>
      </p:sp>
    </p:spTree>
    <p:extLst>
      <p:ext uri="{BB962C8B-B14F-4D97-AF65-F5344CB8AC3E}">
        <p14:creationId xmlns:p14="http://schemas.microsoft.com/office/powerpoint/2010/main" val="1556873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469B62F1-B431-48B6-8270-02431A1685B7}" type="slidenum">
              <a:rPr lang="en-US" smtClean="0"/>
              <a:t>4</a:t>
            </a:fld>
            <a:endParaRPr lang="en-US"/>
          </a:p>
        </p:txBody>
      </p:sp>
      <p:sp>
        <p:nvSpPr>
          <p:cNvPr id="8" name="Rectangle 7"/>
          <p:cNvSpPr/>
          <p:nvPr/>
        </p:nvSpPr>
        <p:spPr>
          <a:xfrm>
            <a:off x="215516" y="916721"/>
            <a:ext cx="7776864" cy="4031873"/>
          </a:xfrm>
          <a:prstGeom prst="rect">
            <a:avLst/>
          </a:prstGeom>
        </p:spPr>
        <p:txBody>
          <a:bodyPr wrap="square">
            <a:spAutoFit/>
          </a:bodyPr>
          <a:lstStyle/>
          <a:p>
            <a:pPr marL="285750" lvl="0" indent="-285750">
              <a:spcAft>
                <a:spcPts val="0"/>
              </a:spcAft>
              <a:buFont typeface="Arial" panose="020B0604020202020204" pitchFamily="34" charset="0"/>
              <a:buChar char="•"/>
            </a:pPr>
            <a:r>
              <a:rPr lang="sv-SE" dirty="0">
                <a:latin typeface="+mj-lt"/>
                <a:ea typeface="Times New Roman" panose="02020603050405020304" pitchFamily="18" charset="0"/>
              </a:rPr>
              <a:t>Parts, Service &amp; </a:t>
            </a:r>
            <a:r>
              <a:rPr lang="sv-SE" dirty="0" err="1">
                <a:latin typeface="+mj-lt"/>
                <a:ea typeface="Times New Roman" panose="02020603050405020304" pitchFamily="18" charset="0"/>
              </a:rPr>
              <a:t>Warranty</a:t>
            </a:r>
            <a:r>
              <a:rPr lang="sv-SE" dirty="0">
                <a:latin typeface="+mj-lt"/>
                <a:ea typeface="Times New Roman" panose="02020603050405020304" pitchFamily="18" charset="0"/>
              </a:rPr>
              <a:t> </a:t>
            </a:r>
            <a:r>
              <a:rPr lang="sv-SE" dirty="0" err="1">
                <a:latin typeface="+mj-lt"/>
                <a:ea typeface="Times New Roman" panose="02020603050405020304" pitchFamily="18" charset="0"/>
              </a:rPr>
              <a:t>Lead</a:t>
            </a:r>
            <a:r>
              <a:rPr lang="sv-SE" dirty="0">
                <a:latin typeface="+mj-lt"/>
                <a:ea typeface="Times New Roman" panose="02020603050405020304" pitchFamily="18" charset="0"/>
              </a:rPr>
              <a:t> Ireland</a:t>
            </a:r>
          </a:p>
          <a:p>
            <a:pPr marL="285750" lvl="0" indent="-285750">
              <a:spcAft>
                <a:spcPts val="0"/>
              </a:spcAft>
              <a:buFont typeface="Arial" panose="020B0604020202020204" pitchFamily="34" charset="0"/>
              <a:buChar char="•"/>
            </a:pPr>
            <a:r>
              <a:rPr lang="sv-SE" dirty="0">
                <a:latin typeface="+mj-lt"/>
                <a:ea typeface="Times New Roman" panose="02020603050405020304" pitchFamily="18" charset="0"/>
              </a:rPr>
              <a:t>Sales Manager Mining Ireland</a:t>
            </a:r>
          </a:p>
          <a:p>
            <a:pPr marL="285750" lvl="0" indent="-285750">
              <a:spcAft>
                <a:spcPts val="0"/>
              </a:spcAft>
              <a:buFont typeface="Arial" panose="020B0604020202020204" pitchFamily="34" charset="0"/>
              <a:buChar char="•"/>
            </a:pPr>
            <a:endParaRPr lang="sv-SE" sz="1000" dirty="0">
              <a:latin typeface="+mj-lt"/>
              <a:ea typeface="Times New Roman" panose="02020603050405020304" pitchFamily="18" charset="0"/>
            </a:endParaRPr>
          </a:p>
          <a:p>
            <a:pPr marL="285750" lvl="0" indent="-285750">
              <a:spcAft>
                <a:spcPts val="0"/>
              </a:spcAft>
              <a:buFont typeface="Arial" panose="020B0604020202020204" pitchFamily="34" charset="0"/>
              <a:buChar char="•"/>
            </a:pPr>
            <a:r>
              <a:rPr lang="sv-SE" sz="1400" dirty="0">
                <a:latin typeface="+mj-lt"/>
                <a:ea typeface="Times New Roman" panose="02020603050405020304" pitchFamily="18" charset="0"/>
              </a:rPr>
              <a:t>**</a:t>
            </a:r>
            <a:r>
              <a:rPr lang="sv-SE" sz="1400" dirty="0" err="1">
                <a:latin typeface="+mj-lt"/>
                <a:ea typeface="Times New Roman" panose="02020603050405020304" pitchFamily="18" charset="0"/>
              </a:rPr>
              <a:t>Account</a:t>
            </a:r>
            <a:r>
              <a:rPr lang="sv-SE" sz="1400" dirty="0">
                <a:latin typeface="+mj-lt"/>
                <a:ea typeface="Times New Roman" panose="02020603050405020304" pitchFamily="18" charset="0"/>
              </a:rPr>
              <a:t> Manager Boliden </a:t>
            </a:r>
            <a:r>
              <a:rPr lang="en-GB" sz="1400" dirty="0">
                <a:latin typeface="+mj-lt"/>
                <a:ea typeface="Times New Roman" panose="02020603050405020304" pitchFamily="18" charset="0"/>
              </a:rPr>
              <a:t>Tara Mines</a:t>
            </a:r>
          </a:p>
          <a:p>
            <a:pPr marL="285750" lvl="0" indent="-285750">
              <a:spcAft>
                <a:spcPts val="0"/>
              </a:spcAft>
              <a:buFont typeface="Arial" panose="020B0604020202020204" pitchFamily="34" charset="0"/>
              <a:buChar char="•"/>
            </a:pPr>
            <a:r>
              <a:rPr lang="en-GB" sz="1400" dirty="0">
                <a:latin typeface="+mj-lt"/>
                <a:ea typeface="Times New Roman" panose="02020603050405020304" pitchFamily="18" charset="0"/>
              </a:rPr>
              <a:t>**Portlaoise Facility Manager </a:t>
            </a:r>
          </a:p>
          <a:p>
            <a:pPr marL="285750" lvl="0" indent="-285750">
              <a:spcAft>
                <a:spcPts val="0"/>
              </a:spcAft>
              <a:buFont typeface="Arial" panose="020B0604020202020204" pitchFamily="34" charset="0"/>
              <a:buChar char="•"/>
            </a:pPr>
            <a:endParaRPr lang="en-GB" sz="1000" dirty="0">
              <a:latin typeface="+mj-lt"/>
              <a:ea typeface="Times New Roman" panose="02020603050405020304" pitchFamily="18" charset="0"/>
            </a:endParaRPr>
          </a:p>
          <a:p>
            <a:pPr marL="285750" lvl="0" indent="-285750">
              <a:spcAft>
                <a:spcPts val="0"/>
              </a:spcAft>
              <a:buFont typeface="Arial" panose="020B0604020202020204" pitchFamily="34" charset="0"/>
              <a:buChar char="•"/>
            </a:pPr>
            <a:r>
              <a:rPr lang="en-GB" dirty="0">
                <a:latin typeface="+mj-lt"/>
                <a:ea typeface="Times New Roman" panose="02020603050405020304" pitchFamily="18" charset="0"/>
              </a:rPr>
              <a:t>Crosspatrick, Kilkenny </a:t>
            </a:r>
          </a:p>
          <a:p>
            <a:pPr lvl="0">
              <a:spcAft>
                <a:spcPts val="0"/>
              </a:spcAft>
            </a:pPr>
            <a:r>
              <a:rPr lang="en-GB" sz="1400" dirty="0">
                <a:latin typeface="+mj-lt"/>
                <a:ea typeface="Times New Roman" panose="02020603050405020304" pitchFamily="18" charset="0"/>
              </a:rPr>
              <a:t>	(close to The Lisheen Mine and Galmoy Mines projects)</a:t>
            </a:r>
          </a:p>
          <a:p>
            <a:pPr marL="285750" lvl="0" indent="-285750">
              <a:spcAft>
                <a:spcPts val="0"/>
              </a:spcAft>
              <a:buFont typeface="Arial" panose="020B0604020202020204" pitchFamily="34" charset="0"/>
              <a:buChar char="•"/>
            </a:pPr>
            <a:endParaRPr lang="en-GB" sz="1000" dirty="0">
              <a:latin typeface="+mj-lt"/>
              <a:ea typeface="Times New Roman" panose="02020603050405020304" pitchFamily="18" charset="0"/>
            </a:endParaRPr>
          </a:p>
          <a:p>
            <a:pPr marL="285750" lvl="0" indent="-285750">
              <a:spcAft>
                <a:spcPts val="0"/>
              </a:spcAft>
              <a:buFont typeface="Arial" panose="020B0604020202020204" pitchFamily="34" charset="0"/>
              <a:buChar char="•"/>
            </a:pPr>
            <a:r>
              <a:rPr lang="en-GB" dirty="0">
                <a:latin typeface="+mj-lt"/>
                <a:ea typeface="Times New Roman" panose="02020603050405020304" pitchFamily="18" charset="0"/>
              </a:rPr>
              <a:t>Career: </a:t>
            </a:r>
          </a:p>
          <a:p>
            <a:pPr marL="742898" lvl="1" indent="-285750">
              <a:buFont typeface="Arial" panose="020B0604020202020204" pitchFamily="34" charset="0"/>
              <a:buChar char="•"/>
            </a:pPr>
            <a:r>
              <a:rPr lang="en-GB" sz="1400" dirty="0">
                <a:latin typeface="+mj-lt"/>
                <a:ea typeface="Times New Roman" panose="02020603050405020304" pitchFamily="18" charset="0"/>
              </a:rPr>
              <a:t>1999 – Tamrock (Sandvik) – Apprentice Plant Fitter</a:t>
            </a:r>
          </a:p>
          <a:p>
            <a:pPr marL="742898" lvl="1" indent="-285750">
              <a:buFont typeface="Arial" panose="020B0604020202020204" pitchFamily="34" charset="0"/>
              <a:buChar char="•"/>
            </a:pPr>
            <a:r>
              <a:rPr lang="en-GB" sz="1400" dirty="0">
                <a:latin typeface="+mj-lt"/>
                <a:ea typeface="Times New Roman" panose="02020603050405020304" pitchFamily="18" charset="0"/>
              </a:rPr>
              <a:t>2003 – Sandvik –Plant Fitter</a:t>
            </a:r>
          </a:p>
          <a:p>
            <a:pPr marL="742898" lvl="1" indent="-285750">
              <a:buFont typeface="Arial" panose="020B0604020202020204" pitchFamily="34" charset="0"/>
              <a:buChar char="•"/>
            </a:pPr>
            <a:r>
              <a:rPr lang="en-GB" sz="1400" dirty="0">
                <a:latin typeface="+mj-lt"/>
                <a:ea typeface="Times New Roman" panose="02020603050405020304" pitchFamily="18" charset="0"/>
              </a:rPr>
              <a:t>2005 – Sandvik – Rebuild Facility Workshop Supervisor</a:t>
            </a:r>
          </a:p>
          <a:p>
            <a:pPr marL="742898" lvl="1" indent="-285750">
              <a:buFont typeface="Arial" panose="020B0604020202020204" pitchFamily="34" charset="0"/>
              <a:buChar char="•"/>
            </a:pPr>
            <a:r>
              <a:rPr lang="en-GB" sz="1400" dirty="0">
                <a:latin typeface="+mj-lt"/>
                <a:ea typeface="Times New Roman" panose="02020603050405020304" pitchFamily="18" charset="0"/>
              </a:rPr>
              <a:t>2009 – Sandvik – Workshop Manager </a:t>
            </a:r>
          </a:p>
          <a:p>
            <a:pPr marL="742898" lvl="1" indent="-285750">
              <a:buFont typeface="Arial" panose="020B0604020202020204" pitchFamily="34" charset="0"/>
              <a:buChar char="•"/>
            </a:pPr>
            <a:r>
              <a:rPr lang="en-GB" sz="1400" dirty="0">
                <a:latin typeface="+mj-lt"/>
                <a:ea typeface="Times New Roman" panose="02020603050405020304" pitchFamily="18" charset="0"/>
              </a:rPr>
              <a:t>2012 – Sandvik – Works Manager Ireland</a:t>
            </a:r>
          </a:p>
          <a:p>
            <a:pPr marL="742898" lvl="1" indent="-285750">
              <a:buFont typeface="Arial" panose="020B0604020202020204" pitchFamily="34" charset="0"/>
              <a:buChar char="•"/>
            </a:pPr>
            <a:r>
              <a:rPr lang="en-GB" sz="1400" dirty="0">
                <a:latin typeface="+mj-lt"/>
                <a:ea typeface="Times New Roman" panose="02020603050405020304" pitchFamily="18" charset="0"/>
              </a:rPr>
              <a:t>2015 – Sandvik – Parts Service &amp; Warranty Lead and Sales Manager Mining Ireland</a:t>
            </a:r>
            <a:endParaRPr lang="sv-SE" sz="1400" dirty="0">
              <a:latin typeface="+mj-lt"/>
              <a:ea typeface="Times New Roman" panose="02020603050405020304" pitchFamily="18" charset="0"/>
            </a:endParaRPr>
          </a:p>
          <a:p>
            <a:pPr lvl="0">
              <a:spcAft>
                <a:spcPts val="0"/>
              </a:spcAft>
            </a:pPr>
            <a:endParaRPr lang="sv-SE" sz="1000" dirty="0">
              <a:latin typeface="+mj-lt"/>
              <a:ea typeface="Times New Roman" panose="02020603050405020304" pitchFamily="18" charset="0"/>
            </a:endParaRPr>
          </a:p>
          <a:p>
            <a:pPr lvl="0">
              <a:spcAft>
                <a:spcPts val="0"/>
              </a:spcAft>
            </a:pPr>
            <a:endParaRPr lang="sv-SE" dirty="0">
              <a:latin typeface="+mj-lt"/>
              <a:ea typeface="Times New Roman" panose="02020603050405020304" pitchFamily="18" charset="0"/>
            </a:endParaRPr>
          </a:p>
        </p:txBody>
      </p:sp>
      <p:sp>
        <p:nvSpPr>
          <p:cNvPr id="17" name="Title 1"/>
          <p:cNvSpPr>
            <a:spLocks noGrp="1"/>
          </p:cNvSpPr>
          <p:nvPr>
            <p:ph type="title"/>
          </p:nvPr>
        </p:nvSpPr>
        <p:spPr>
          <a:xfrm>
            <a:off x="360000" y="414000"/>
            <a:ext cx="8424000" cy="360000"/>
          </a:xfrm>
        </p:spPr>
        <p:txBody>
          <a:bodyPr/>
          <a:lstStyle/>
          <a:p>
            <a:r>
              <a:rPr lang="sv-SE" dirty="0"/>
              <a:t>Brian Carroll</a:t>
            </a:r>
          </a:p>
        </p:txBody>
      </p:sp>
      <p:pic>
        <p:nvPicPr>
          <p:cNvPr id="4" name="Picture 3">
            <a:extLst>
              <a:ext uri="{FF2B5EF4-FFF2-40B4-BE49-F238E27FC236}">
                <a16:creationId xmlns:a16="http://schemas.microsoft.com/office/drawing/2014/main" id="{5DCACF14-5795-4BD4-BE4E-718D637C317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850472" y="996575"/>
            <a:ext cx="1928550" cy="1937646"/>
          </a:xfrm>
          <a:prstGeom prst="rect">
            <a:avLst/>
          </a:prstGeom>
        </p:spPr>
      </p:pic>
      <p:sp>
        <p:nvSpPr>
          <p:cNvPr id="5" name="Rectangle 4">
            <a:hlinkClick r:id="rId4" action="ppaction://hlinkfile"/>
            <a:extLst>
              <a:ext uri="{FF2B5EF4-FFF2-40B4-BE49-F238E27FC236}">
                <a16:creationId xmlns:a16="http://schemas.microsoft.com/office/drawing/2014/main" id="{BC19CE75-D029-4B6A-92D6-DC877CD3DDBA}"/>
              </a:ext>
            </a:extLst>
          </p:cNvPr>
          <p:cNvSpPr/>
          <p:nvPr/>
        </p:nvSpPr>
        <p:spPr>
          <a:xfrm>
            <a:off x="6327195" y="464589"/>
            <a:ext cx="1845205" cy="309411"/>
          </a:xfrm>
          <a:prstGeom prst="rect">
            <a:avLst/>
          </a:prstGeom>
          <a:solidFill>
            <a:schemeClr val="accent1">
              <a:lumMod val="20000"/>
              <a:lumOff val="80000"/>
            </a:schemeClr>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tx1"/>
                </a:solidFill>
              </a:rPr>
              <a:t>Employee Stories Video</a:t>
            </a:r>
            <a:endParaRPr lang="en-IE" sz="1200" dirty="0">
              <a:solidFill>
                <a:schemeClr val="tx1"/>
              </a:solidFill>
            </a:endParaRPr>
          </a:p>
        </p:txBody>
      </p:sp>
    </p:spTree>
    <p:extLst>
      <p:ext uri="{BB962C8B-B14F-4D97-AF65-F5344CB8AC3E}">
        <p14:creationId xmlns:p14="http://schemas.microsoft.com/office/powerpoint/2010/main" val="660807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8">
                                            <p:txEl>
                                              <p:pRg st="0" end="0"/>
                                            </p:txEl>
                                          </p:spTgt>
                                        </p:tgtEl>
                                        <p:attrNameLst>
                                          <p:attrName>style.visibility</p:attrName>
                                        </p:attrNameLst>
                                      </p:cBhvr>
                                      <p:to>
                                        <p:strVal val="visible"/>
                                      </p:to>
                                    </p:set>
                                    <p:animEffect transition="in" filter="fade">
                                      <p:cBhvr>
                                        <p:cTn id="22" dur="500"/>
                                        <p:tgtEl>
                                          <p:spTgt spid="8">
                                            <p:txEl>
                                              <p:pRg st="0" end="0"/>
                                            </p:txEl>
                                          </p:spTgt>
                                        </p:tgtEl>
                                      </p:cBhvr>
                                    </p:animEffect>
                                  </p:childTnLst>
                                </p:cTn>
                              </p:par>
                              <p:par>
                                <p:cTn id="23" presetID="10" presetClass="entr" presetSubtype="0" fill="hold" nodeType="withEffect">
                                  <p:stCondLst>
                                    <p:cond delay="0"/>
                                  </p:stCondLst>
                                  <p:childTnLst>
                                    <p:set>
                                      <p:cBhvr>
                                        <p:cTn id="24" dur="1" fill="hold">
                                          <p:stCondLst>
                                            <p:cond delay="0"/>
                                          </p:stCondLst>
                                        </p:cTn>
                                        <p:tgtEl>
                                          <p:spTgt spid="8">
                                            <p:txEl>
                                              <p:pRg st="1" end="1"/>
                                            </p:txEl>
                                          </p:spTgt>
                                        </p:tgtEl>
                                        <p:attrNameLst>
                                          <p:attrName>style.visibility</p:attrName>
                                        </p:attrNameLst>
                                      </p:cBhvr>
                                      <p:to>
                                        <p:strVal val="visible"/>
                                      </p:to>
                                    </p:set>
                                    <p:animEffect transition="in" filter="fade">
                                      <p:cBhvr>
                                        <p:cTn id="25" dur="500"/>
                                        <p:tgtEl>
                                          <p:spTgt spid="8">
                                            <p:txEl>
                                              <p:pRg st="1" end="1"/>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8">
                                            <p:txEl>
                                              <p:pRg st="3" end="3"/>
                                            </p:txEl>
                                          </p:spTgt>
                                        </p:tgtEl>
                                        <p:attrNameLst>
                                          <p:attrName>style.visibility</p:attrName>
                                        </p:attrNameLst>
                                      </p:cBhvr>
                                      <p:to>
                                        <p:strVal val="visible"/>
                                      </p:to>
                                    </p:set>
                                    <p:animEffect transition="in" filter="fade">
                                      <p:cBhvr>
                                        <p:cTn id="30" dur="500"/>
                                        <p:tgtEl>
                                          <p:spTgt spid="8">
                                            <p:txEl>
                                              <p:pRg st="3" end="3"/>
                                            </p:txEl>
                                          </p:spTgt>
                                        </p:tgtEl>
                                      </p:cBhvr>
                                    </p:animEffect>
                                  </p:childTnLst>
                                </p:cTn>
                              </p:par>
                              <p:par>
                                <p:cTn id="31" presetID="10" presetClass="entr" presetSubtype="0" fill="hold" nodeType="withEffect">
                                  <p:stCondLst>
                                    <p:cond delay="0"/>
                                  </p:stCondLst>
                                  <p:childTnLst>
                                    <p:set>
                                      <p:cBhvr>
                                        <p:cTn id="32" dur="1" fill="hold">
                                          <p:stCondLst>
                                            <p:cond delay="0"/>
                                          </p:stCondLst>
                                        </p:cTn>
                                        <p:tgtEl>
                                          <p:spTgt spid="8">
                                            <p:txEl>
                                              <p:pRg st="4" end="4"/>
                                            </p:txEl>
                                          </p:spTgt>
                                        </p:tgtEl>
                                        <p:attrNameLst>
                                          <p:attrName>style.visibility</p:attrName>
                                        </p:attrNameLst>
                                      </p:cBhvr>
                                      <p:to>
                                        <p:strVal val="visible"/>
                                      </p:to>
                                    </p:set>
                                    <p:animEffect transition="in" filter="fade">
                                      <p:cBhvr>
                                        <p:cTn id="33" dur="500"/>
                                        <p:tgtEl>
                                          <p:spTgt spid="8">
                                            <p:txEl>
                                              <p:pRg st="4" end="4"/>
                                            </p:txEl>
                                          </p:spTgt>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nodeType="clickEffect">
                                  <p:stCondLst>
                                    <p:cond delay="0"/>
                                  </p:stCondLst>
                                  <p:childTnLst>
                                    <p:set>
                                      <p:cBhvr>
                                        <p:cTn id="37" dur="1" fill="hold">
                                          <p:stCondLst>
                                            <p:cond delay="0"/>
                                          </p:stCondLst>
                                        </p:cTn>
                                        <p:tgtEl>
                                          <p:spTgt spid="8">
                                            <p:txEl>
                                              <p:pRg st="6" end="6"/>
                                            </p:txEl>
                                          </p:spTgt>
                                        </p:tgtEl>
                                        <p:attrNameLst>
                                          <p:attrName>style.visibility</p:attrName>
                                        </p:attrNameLst>
                                      </p:cBhvr>
                                      <p:to>
                                        <p:strVal val="visible"/>
                                      </p:to>
                                    </p:set>
                                    <p:animEffect transition="in" filter="fade">
                                      <p:cBhvr>
                                        <p:cTn id="38" dur="500"/>
                                        <p:tgtEl>
                                          <p:spTgt spid="8">
                                            <p:txEl>
                                              <p:pRg st="6" end="6"/>
                                            </p:txEl>
                                          </p:spTgt>
                                        </p:tgtEl>
                                      </p:cBhvr>
                                    </p:animEffect>
                                  </p:childTnLst>
                                </p:cTn>
                              </p:par>
                              <p:par>
                                <p:cTn id="39" presetID="10" presetClass="entr" presetSubtype="0" fill="hold" nodeType="withEffect">
                                  <p:stCondLst>
                                    <p:cond delay="0"/>
                                  </p:stCondLst>
                                  <p:childTnLst>
                                    <p:set>
                                      <p:cBhvr>
                                        <p:cTn id="40" dur="1" fill="hold">
                                          <p:stCondLst>
                                            <p:cond delay="0"/>
                                          </p:stCondLst>
                                        </p:cTn>
                                        <p:tgtEl>
                                          <p:spTgt spid="8">
                                            <p:txEl>
                                              <p:pRg st="7" end="7"/>
                                            </p:txEl>
                                          </p:spTgt>
                                        </p:tgtEl>
                                        <p:attrNameLst>
                                          <p:attrName>style.visibility</p:attrName>
                                        </p:attrNameLst>
                                      </p:cBhvr>
                                      <p:to>
                                        <p:strVal val="visible"/>
                                      </p:to>
                                    </p:set>
                                    <p:animEffect transition="in" filter="fade">
                                      <p:cBhvr>
                                        <p:cTn id="41" dur="500"/>
                                        <p:tgtEl>
                                          <p:spTgt spid="8">
                                            <p:txEl>
                                              <p:pRg st="7" end="7"/>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nodeType="clickEffect">
                                  <p:stCondLst>
                                    <p:cond delay="0"/>
                                  </p:stCondLst>
                                  <p:childTnLst>
                                    <p:set>
                                      <p:cBhvr>
                                        <p:cTn id="45" dur="1" fill="hold">
                                          <p:stCondLst>
                                            <p:cond delay="0"/>
                                          </p:stCondLst>
                                        </p:cTn>
                                        <p:tgtEl>
                                          <p:spTgt spid="8">
                                            <p:txEl>
                                              <p:pRg st="9" end="9"/>
                                            </p:txEl>
                                          </p:spTgt>
                                        </p:tgtEl>
                                        <p:attrNameLst>
                                          <p:attrName>style.visibility</p:attrName>
                                        </p:attrNameLst>
                                      </p:cBhvr>
                                      <p:to>
                                        <p:strVal val="visible"/>
                                      </p:to>
                                    </p:set>
                                    <p:animEffect transition="in" filter="fade">
                                      <p:cBhvr>
                                        <p:cTn id="46" dur="500"/>
                                        <p:tgtEl>
                                          <p:spTgt spid="8">
                                            <p:txEl>
                                              <p:pRg st="9" end="9"/>
                                            </p:txEl>
                                          </p:spTgt>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nodeType="clickEffect">
                                  <p:stCondLst>
                                    <p:cond delay="0"/>
                                  </p:stCondLst>
                                  <p:childTnLst>
                                    <p:set>
                                      <p:cBhvr>
                                        <p:cTn id="50" dur="1" fill="hold">
                                          <p:stCondLst>
                                            <p:cond delay="0"/>
                                          </p:stCondLst>
                                        </p:cTn>
                                        <p:tgtEl>
                                          <p:spTgt spid="8">
                                            <p:txEl>
                                              <p:pRg st="10" end="10"/>
                                            </p:txEl>
                                          </p:spTgt>
                                        </p:tgtEl>
                                        <p:attrNameLst>
                                          <p:attrName>style.visibility</p:attrName>
                                        </p:attrNameLst>
                                      </p:cBhvr>
                                      <p:to>
                                        <p:strVal val="visible"/>
                                      </p:to>
                                    </p:set>
                                    <p:animEffect transition="in" filter="fade">
                                      <p:cBhvr>
                                        <p:cTn id="51" dur="500"/>
                                        <p:tgtEl>
                                          <p:spTgt spid="8">
                                            <p:txEl>
                                              <p:pRg st="10" end="10"/>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10" presetClass="entr" presetSubtype="0" fill="hold" nodeType="clickEffect">
                                  <p:stCondLst>
                                    <p:cond delay="0"/>
                                  </p:stCondLst>
                                  <p:childTnLst>
                                    <p:set>
                                      <p:cBhvr>
                                        <p:cTn id="55" dur="1" fill="hold">
                                          <p:stCondLst>
                                            <p:cond delay="0"/>
                                          </p:stCondLst>
                                        </p:cTn>
                                        <p:tgtEl>
                                          <p:spTgt spid="8">
                                            <p:txEl>
                                              <p:pRg st="11" end="11"/>
                                            </p:txEl>
                                          </p:spTgt>
                                        </p:tgtEl>
                                        <p:attrNameLst>
                                          <p:attrName>style.visibility</p:attrName>
                                        </p:attrNameLst>
                                      </p:cBhvr>
                                      <p:to>
                                        <p:strVal val="visible"/>
                                      </p:to>
                                    </p:set>
                                    <p:animEffect transition="in" filter="fade">
                                      <p:cBhvr>
                                        <p:cTn id="56" dur="500"/>
                                        <p:tgtEl>
                                          <p:spTgt spid="8">
                                            <p:txEl>
                                              <p:pRg st="11" end="11"/>
                                            </p:txEl>
                                          </p:spTgt>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nodeType="clickEffect">
                                  <p:stCondLst>
                                    <p:cond delay="0"/>
                                  </p:stCondLst>
                                  <p:childTnLst>
                                    <p:set>
                                      <p:cBhvr>
                                        <p:cTn id="60" dur="1" fill="hold">
                                          <p:stCondLst>
                                            <p:cond delay="0"/>
                                          </p:stCondLst>
                                        </p:cTn>
                                        <p:tgtEl>
                                          <p:spTgt spid="8">
                                            <p:txEl>
                                              <p:pRg st="12" end="12"/>
                                            </p:txEl>
                                          </p:spTgt>
                                        </p:tgtEl>
                                        <p:attrNameLst>
                                          <p:attrName>style.visibility</p:attrName>
                                        </p:attrNameLst>
                                      </p:cBhvr>
                                      <p:to>
                                        <p:strVal val="visible"/>
                                      </p:to>
                                    </p:set>
                                    <p:animEffect transition="in" filter="fade">
                                      <p:cBhvr>
                                        <p:cTn id="61" dur="500"/>
                                        <p:tgtEl>
                                          <p:spTgt spid="8">
                                            <p:txEl>
                                              <p:pRg st="12" end="12"/>
                                            </p:txEl>
                                          </p:spTgt>
                                        </p:tgtEl>
                                      </p:cBhvr>
                                    </p:animEffect>
                                  </p:childTnLst>
                                </p:cTn>
                              </p:par>
                            </p:childTnLst>
                          </p:cTn>
                        </p:par>
                      </p:childTnLst>
                    </p:cTn>
                  </p:par>
                  <p:par>
                    <p:cTn id="62" fill="hold">
                      <p:stCondLst>
                        <p:cond delay="indefinite"/>
                      </p:stCondLst>
                      <p:childTnLst>
                        <p:par>
                          <p:cTn id="63" fill="hold">
                            <p:stCondLst>
                              <p:cond delay="0"/>
                            </p:stCondLst>
                            <p:childTnLst>
                              <p:par>
                                <p:cTn id="64" presetID="10" presetClass="entr" presetSubtype="0" fill="hold" nodeType="clickEffect">
                                  <p:stCondLst>
                                    <p:cond delay="0"/>
                                  </p:stCondLst>
                                  <p:childTnLst>
                                    <p:set>
                                      <p:cBhvr>
                                        <p:cTn id="65" dur="1" fill="hold">
                                          <p:stCondLst>
                                            <p:cond delay="0"/>
                                          </p:stCondLst>
                                        </p:cTn>
                                        <p:tgtEl>
                                          <p:spTgt spid="8">
                                            <p:txEl>
                                              <p:pRg st="13" end="13"/>
                                            </p:txEl>
                                          </p:spTgt>
                                        </p:tgtEl>
                                        <p:attrNameLst>
                                          <p:attrName>style.visibility</p:attrName>
                                        </p:attrNameLst>
                                      </p:cBhvr>
                                      <p:to>
                                        <p:strVal val="visible"/>
                                      </p:to>
                                    </p:set>
                                    <p:animEffect transition="in" filter="fade">
                                      <p:cBhvr>
                                        <p:cTn id="66" dur="500"/>
                                        <p:tgtEl>
                                          <p:spTgt spid="8">
                                            <p:txEl>
                                              <p:pRg st="13" end="13"/>
                                            </p:txEl>
                                          </p:spTgt>
                                        </p:tgtEl>
                                      </p:cBhvr>
                                    </p:animEffect>
                                  </p:childTnLst>
                                </p:cTn>
                              </p:par>
                            </p:childTnLst>
                          </p:cTn>
                        </p:par>
                      </p:childTnLst>
                    </p:cTn>
                  </p:par>
                  <p:par>
                    <p:cTn id="67" fill="hold">
                      <p:stCondLst>
                        <p:cond delay="indefinite"/>
                      </p:stCondLst>
                      <p:childTnLst>
                        <p:par>
                          <p:cTn id="68" fill="hold">
                            <p:stCondLst>
                              <p:cond delay="0"/>
                            </p:stCondLst>
                            <p:childTnLst>
                              <p:par>
                                <p:cTn id="69" presetID="10" presetClass="entr" presetSubtype="0" fill="hold" nodeType="clickEffect">
                                  <p:stCondLst>
                                    <p:cond delay="0"/>
                                  </p:stCondLst>
                                  <p:childTnLst>
                                    <p:set>
                                      <p:cBhvr>
                                        <p:cTn id="70" dur="1" fill="hold">
                                          <p:stCondLst>
                                            <p:cond delay="0"/>
                                          </p:stCondLst>
                                        </p:cTn>
                                        <p:tgtEl>
                                          <p:spTgt spid="8">
                                            <p:txEl>
                                              <p:pRg st="14" end="14"/>
                                            </p:txEl>
                                          </p:spTgt>
                                        </p:tgtEl>
                                        <p:attrNameLst>
                                          <p:attrName>style.visibility</p:attrName>
                                        </p:attrNameLst>
                                      </p:cBhvr>
                                      <p:to>
                                        <p:strVal val="visible"/>
                                      </p:to>
                                    </p:set>
                                    <p:animEffect transition="in" filter="fade">
                                      <p:cBhvr>
                                        <p:cTn id="71" dur="500"/>
                                        <p:tgtEl>
                                          <p:spTgt spid="8">
                                            <p:txEl>
                                              <p:pRg st="14" end="14"/>
                                            </p:txEl>
                                          </p:spTgt>
                                        </p:tgtEl>
                                      </p:cBhvr>
                                    </p:animEffect>
                                  </p:childTnLst>
                                </p:cTn>
                              </p:par>
                            </p:childTnLst>
                          </p:cTn>
                        </p:par>
                      </p:childTnLst>
                    </p:cTn>
                  </p:par>
                  <p:par>
                    <p:cTn id="72" fill="hold">
                      <p:stCondLst>
                        <p:cond delay="indefinite"/>
                      </p:stCondLst>
                      <p:childTnLst>
                        <p:par>
                          <p:cTn id="73" fill="hold">
                            <p:stCondLst>
                              <p:cond delay="0"/>
                            </p:stCondLst>
                            <p:childTnLst>
                              <p:par>
                                <p:cTn id="74" presetID="10" presetClass="entr" presetSubtype="0" fill="hold" nodeType="clickEffect">
                                  <p:stCondLst>
                                    <p:cond delay="0"/>
                                  </p:stCondLst>
                                  <p:childTnLst>
                                    <p:set>
                                      <p:cBhvr>
                                        <p:cTn id="75" dur="1" fill="hold">
                                          <p:stCondLst>
                                            <p:cond delay="0"/>
                                          </p:stCondLst>
                                        </p:cTn>
                                        <p:tgtEl>
                                          <p:spTgt spid="8">
                                            <p:txEl>
                                              <p:pRg st="15" end="15"/>
                                            </p:txEl>
                                          </p:spTgt>
                                        </p:tgtEl>
                                        <p:attrNameLst>
                                          <p:attrName>style.visibility</p:attrName>
                                        </p:attrNameLst>
                                      </p:cBhvr>
                                      <p:to>
                                        <p:strVal val="visible"/>
                                      </p:to>
                                    </p:set>
                                    <p:animEffect transition="in" filter="fade">
                                      <p:cBhvr>
                                        <p:cTn id="76" dur="500"/>
                                        <p:tgtEl>
                                          <p:spTgt spid="8">
                                            <p:txEl>
                                              <p:pRg st="15" end="1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5"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2"/>
          <p:cNvSpPr txBox="1">
            <a:spLocks/>
          </p:cNvSpPr>
          <p:nvPr/>
        </p:nvSpPr>
        <p:spPr>
          <a:xfrm>
            <a:off x="251520" y="4729947"/>
            <a:ext cx="1440000" cy="180000"/>
          </a:xfrm>
          <a:prstGeom prst="rect">
            <a:avLst/>
          </a:prstGeom>
        </p:spPr>
        <p:txBody>
          <a:bodyPr vert="horz" lIns="0" tIns="0" rIns="0" bIns="0" rtlCol="0" anchor="b" anchorCtr="0"/>
          <a:lstStyle>
            <a:defPPr>
              <a:defRPr lang="en-US"/>
            </a:defPPr>
            <a:lvl1pPr marL="0" algn="l" defTabSz="914400" rtl="0" eaLnBrk="1" latinLnBrk="0" hangingPunct="1">
              <a:defRPr sz="7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69B62F1-B431-48B6-8270-02431A1685B7}" type="slidenum">
              <a:rPr lang="en-US" smtClean="0">
                <a:solidFill>
                  <a:srgbClr val="7F7F7F"/>
                </a:solidFill>
              </a:rPr>
              <a:pPr/>
              <a:t>5</a:t>
            </a:fld>
            <a:endParaRPr lang="en-US" dirty="0">
              <a:solidFill>
                <a:srgbClr val="7F7F7F"/>
              </a:solidFill>
            </a:endParaRPr>
          </a:p>
        </p:txBody>
      </p:sp>
      <p:sp>
        <p:nvSpPr>
          <p:cNvPr id="5" name="Rektangel 6"/>
          <p:cNvSpPr/>
          <p:nvPr/>
        </p:nvSpPr>
        <p:spPr>
          <a:xfrm>
            <a:off x="2677894" y="1419060"/>
            <a:ext cx="2160662" cy="390242"/>
          </a:xfrm>
          <a:prstGeom prst="rect">
            <a:avLst/>
          </a:prstGeom>
          <a:noFill/>
          <a:ln w="12700">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1992" tIns="45715" rIns="71992" bIns="45715" rtlCol="0" anchor="ctr" anchorCtr="0"/>
          <a:lstStyle/>
          <a:p>
            <a:pPr algn="ctr" defTabSz="914400"/>
            <a:r>
              <a:rPr lang="nl-NL" sz="700" b="1" dirty="0">
                <a:solidFill>
                  <a:prstClr val="black"/>
                </a:solidFill>
                <a:cs typeface="Arial" pitchFamily="34" charset="0"/>
              </a:rPr>
              <a:t>SERVICE, PARTS &amp; WARRANTY LEAD</a:t>
            </a:r>
          </a:p>
          <a:p>
            <a:pPr algn="ctr" defTabSz="914400"/>
            <a:r>
              <a:rPr lang="nl-NL" sz="700" b="1" dirty="0">
                <a:solidFill>
                  <a:prstClr val="black"/>
                </a:solidFill>
                <a:cs typeface="Arial" pitchFamily="34" charset="0"/>
              </a:rPr>
              <a:t>SALES MANAGER UG MINING</a:t>
            </a:r>
          </a:p>
          <a:p>
            <a:pPr algn="ctr" defTabSz="914400"/>
            <a:r>
              <a:rPr lang="en-AU" sz="700" dirty="0">
                <a:solidFill>
                  <a:prstClr val="black"/>
                </a:solidFill>
              </a:rPr>
              <a:t>BRIAN CARROLL</a:t>
            </a:r>
          </a:p>
        </p:txBody>
      </p:sp>
      <p:sp>
        <p:nvSpPr>
          <p:cNvPr id="7" name="Rektangel 6"/>
          <p:cNvSpPr/>
          <p:nvPr/>
        </p:nvSpPr>
        <p:spPr>
          <a:xfrm>
            <a:off x="1377846" y="1990181"/>
            <a:ext cx="1655982" cy="432521"/>
          </a:xfrm>
          <a:prstGeom prst="rect">
            <a:avLst/>
          </a:prstGeom>
          <a:noFill/>
          <a:ln w="12700">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1992" tIns="45715" rIns="71992" bIns="45715" rtlCol="0" anchor="ctr" anchorCtr="0"/>
          <a:lstStyle/>
          <a:p>
            <a:pPr algn="ctr" defTabSz="914400"/>
            <a:r>
              <a:rPr lang="en-US" sz="700" b="1" dirty="0">
                <a:solidFill>
                  <a:prstClr val="black"/>
                </a:solidFill>
                <a:cs typeface="Arial" pitchFamily="34" charset="0"/>
              </a:rPr>
              <a:t>BUSINESS SUPPORT ADMINISTRATOR (</a:t>
            </a:r>
            <a:r>
              <a:rPr lang="en-US" sz="700" b="1" i="1" u="sng" dirty="0">
                <a:solidFill>
                  <a:prstClr val="black"/>
                </a:solidFill>
                <a:cs typeface="Arial" pitchFamily="34" charset="0"/>
              </a:rPr>
              <a:t>3 DAY WEEK</a:t>
            </a:r>
            <a:r>
              <a:rPr lang="en-US" sz="700" b="1" dirty="0">
                <a:solidFill>
                  <a:prstClr val="black"/>
                </a:solidFill>
                <a:cs typeface="Arial" pitchFamily="34" charset="0"/>
              </a:rPr>
              <a:t>)</a:t>
            </a:r>
            <a:endParaRPr lang="en-US" sz="700" dirty="0">
              <a:solidFill>
                <a:prstClr val="black"/>
              </a:solidFill>
              <a:cs typeface="Arial" pitchFamily="34" charset="0"/>
            </a:endParaRPr>
          </a:p>
          <a:p>
            <a:pPr algn="ctr" defTabSz="914400"/>
            <a:r>
              <a:rPr lang="nl-NL" sz="700" dirty="0">
                <a:solidFill>
                  <a:prstClr val="black"/>
                </a:solidFill>
                <a:cs typeface="Arial" pitchFamily="34" charset="0"/>
              </a:rPr>
              <a:t>ELEANOR RYAN-CARROLL</a:t>
            </a:r>
          </a:p>
        </p:txBody>
      </p:sp>
      <p:sp>
        <p:nvSpPr>
          <p:cNvPr id="10" name="Rektangel 6"/>
          <p:cNvSpPr/>
          <p:nvPr/>
        </p:nvSpPr>
        <p:spPr>
          <a:xfrm>
            <a:off x="4155639" y="3183438"/>
            <a:ext cx="1697932" cy="532800"/>
          </a:xfrm>
          <a:prstGeom prst="rect">
            <a:avLst/>
          </a:prstGeom>
          <a:noFill/>
          <a:ln w="12700">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1992" tIns="45715" rIns="71992" bIns="45715" rtlCol="0" anchor="ctr" anchorCtr="0"/>
          <a:lstStyle/>
          <a:p>
            <a:pPr algn="ctr" defTabSz="914400"/>
            <a:r>
              <a:rPr lang="nl-NL" sz="700" b="1" dirty="0">
                <a:solidFill>
                  <a:prstClr val="black"/>
                </a:solidFill>
                <a:cs typeface="Arial" pitchFamily="34" charset="0"/>
              </a:rPr>
              <a:t>UG DRILL AND BOLT TECHNICIAN</a:t>
            </a:r>
          </a:p>
          <a:p>
            <a:pPr algn="ctr" defTabSz="914400"/>
            <a:r>
              <a:rPr lang="nl-NL" sz="700" b="1" dirty="0">
                <a:solidFill>
                  <a:prstClr val="black"/>
                </a:solidFill>
                <a:cs typeface="Arial" pitchFamily="34" charset="0"/>
              </a:rPr>
              <a:t>iSURE SPECIALIST</a:t>
            </a:r>
          </a:p>
          <a:p>
            <a:pPr algn="ctr" defTabSz="914400"/>
            <a:r>
              <a:rPr lang="nl-NL" sz="700" b="1" dirty="0">
                <a:solidFill>
                  <a:prstClr val="black"/>
                </a:solidFill>
                <a:cs typeface="Arial" pitchFamily="34" charset="0"/>
              </a:rPr>
              <a:t>(TARA MINES)</a:t>
            </a:r>
          </a:p>
          <a:p>
            <a:pPr algn="ctr" defTabSz="914400"/>
            <a:r>
              <a:rPr lang="nl-NL" sz="700" dirty="0">
                <a:solidFill>
                  <a:prstClr val="black"/>
                </a:solidFill>
                <a:cs typeface="Arial" pitchFamily="34" charset="0"/>
              </a:rPr>
              <a:t>    SEAN LOUGHMAN</a:t>
            </a:r>
            <a:endParaRPr lang="nl-NL" sz="700" b="1" dirty="0">
              <a:solidFill>
                <a:prstClr val="black"/>
              </a:solidFill>
              <a:cs typeface="Arial" pitchFamily="34" charset="0"/>
            </a:endParaRPr>
          </a:p>
        </p:txBody>
      </p:sp>
      <p:sp>
        <p:nvSpPr>
          <p:cNvPr id="13" name="Rektangel 6">
            <a:hlinkClick r:id="" action="ppaction://noaction"/>
          </p:cNvPr>
          <p:cNvSpPr/>
          <p:nvPr/>
        </p:nvSpPr>
        <p:spPr>
          <a:xfrm>
            <a:off x="2557145" y="3179133"/>
            <a:ext cx="1386781" cy="532800"/>
          </a:xfrm>
          <a:prstGeom prst="rect">
            <a:avLst/>
          </a:prstGeom>
          <a:noFill/>
          <a:ln w="12700">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1992" tIns="45715" rIns="71992" bIns="45715" rtlCol="0" anchor="ctr" anchorCtr="0"/>
          <a:lstStyle/>
          <a:p>
            <a:pPr algn="ctr" defTabSz="914400"/>
            <a:r>
              <a:rPr lang="nl-NL" sz="700" b="1" dirty="0">
                <a:solidFill>
                  <a:prstClr val="black"/>
                </a:solidFill>
                <a:cs typeface="Arial" pitchFamily="34" charset="0"/>
              </a:rPr>
              <a:t>ROCK TOOLS SPECIALIST</a:t>
            </a:r>
          </a:p>
          <a:p>
            <a:pPr algn="ctr" defTabSz="914400"/>
            <a:r>
              <a:rPr lang="nl-NL" sz="700" b="1" dirty="0">
                <a:solidFill>
                  <a:prstClr val="black"/>
                </a:solidFill>
                <a:cs typeface="Arial" pitchFamily="34" charset="0"/>
              </a:rPr>
              <a:t>(TARA MINES)</a:t>
            </a:r>
          </a:p>
          <a:p>
            <a:pPr algn="ctr" defTabSz="914400"/>
            <a:r>
              <a:rPr lang="nl-NL" sz="700" dirty="0">
                <a:solidFill>
                  <a:prstClr val="black"/>
                </a:solidFill>
                <a:cs typeface="Arial" pitchFamily="34" charset="0"/>
              </a:rPr>
              <a:t>DWIGHET MEURSING</a:t>
            </a:r>
            <a:endParaRPr lang="en-US" sz="700" dirty="0">
              <a:solidFill>
                <a:prstClr val="black"/>
              </a:solidFill>
              <a:cs typeface="Arial" pitchFamily="34" charset="0"/>
            </a:endParaRPr>
          </a:p>
        </p:txBody>
      </p:sp>
      <p:sp>
        <p:nvSpPr>
          <p:cNvPr id="15" name="Rektangel 6">
            <a:hlinkClick r:id="" action="ppaction://noaction"/>
          </p:cNvPr>
          <p:cNvSpPr/>
          <p:nvPr/>
        </p:nvSpPr>
        <p:spPr>
          <a:xfrm>
            <a:off x="454984" y="3146907"/>
            <a:ext cx="2001161" cy="564604"/>
          </a:xfrm>
          <a:prstGeom prst="rect">
            <a:avLst/>
          </a:prstGeom>
          <a:noFill/>
          <a:ln w="12700">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1992" tIns="45715" rIns="71992" bIns="45715" rtlCol="0" anchor="ctr" anchorCtr="0"/>
          <a:lstStyle/>
          <a:p>
            <a:pPr algn="ctr" defTabSz="914400"/>
            <a:r>
              <a:rPr lang="nl-NL" sz="700" b="1" dirty="0">
                <a:solidFill>
                  <a:prstClr val="black"/>
                </a:solidFill>
                <a:cs typeface="Arial" pitchFamily="34" charset="0"/>
              </a:rPr>
              <a:t>LOAD AND HAUL TECHNICIAN</a:t>
            </a:r>
          </a:p>
          <a:p>
            <a:pPr algn="ctr" defTabSz="914400"/>
            <a:r>
              <a:rPr lang="nl-NL" sz="700" b="1" dirty="0">
                <a:solidFill>
                  <a:prstClr val="black"/>
                </a:solidFill>
                <a:cs typeface="Arial" pitchFamily="34" charset="0"/>
              </a:rPr>
              <a:t>SERVICE &amp; AUTOMATION SUPERVISOR</a:t>
            </a:r>
          </a:p>
          <a:p>
            <a:pPr algn="ctr" defTabSz="914400"/>
            <a:r>
              <a:rPr lang="nl-NL" sz="700" b="1" dirty="0">
                <a:solidFill>
                  <a:prstClr val="black"/>
                </a:solidFill>
                <a:cs typeface="Arial" pitchFamily="34" charset="0"/>
              </a:rPr>
              <a:t>(TARA MINES)</a:t>
            </a:r>
          </a:p>
          <a:p>
            <a:pPr algn="ctr" defTabSz="914400"/>
            <a:r>
              <a:rPr lang="nl-NL" sz="700" dirty="0">
                <a:solidFill>
                  <a:prstClr val="black"/>
                </a:solidFill>
                <a:cs typeface="Arial" pitchFamily="34" charset="0"/>
              </a:rPr>
              <a:t>OLIVER BOLAND</a:t>
            </a:r>
            <a:endParaRPr lang="en-US" sz="700" dirty="0">
              <a:solidFill>
                <a:prstClr val="black"/>
              </a:solidFill>
              <a:cs typeface="Arial" pitchFamily="34" charset="0"/>
            </a:endParaRPr>
          </a:p>
        </p:txBody>
      </p:sp>
      <p:sp>
        <p:nvSpPr>
          <p:cNvPr id="18" name="Rektangel 6"/>
          <p:cNvSpPr/>
          <p:nvPr/>
        </p:nvSpPr>
        <p:spPr>
          <a:xfrm>
            <a:off x="4294632" y="2099878"/>
            <a:ext cx="1656000" cy="431736"/>
          </a:xfrm>
          <a:prstGeom prst="rect">
            <a:avLst/>
          </a:prstGeom>
          <a:solidFill>
            <a:schemeClr val="tx2">
              <a:lumMod val="20000"/>
              <a:lumOff val="80000"/>
            </a:schemeClr>
          </a:solidFill>
          <a:ln w="12700">
            <a:solidFill>
              <a:schemeClr val="tx2"/>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lIns="71992" tIns="45715" rIns="71992" bIns="45715" rtlCol="0" anchor="ctr" anchorCtr="0"/>
          <a:lstStyle/>
          <a:p>
            <a:pPr algn="ctr" defTabSz="914400"/>
            <a:endParaRPr lang="nl-NL" sz="700" dirty="0">
              <a:solidFill>
                <a:prstClr val="black"/>
              </a:solidFill>
              <a:cs typeface="Arial" pitchFamily="34" charset="0"/>
            </a:endParaRPr>
          </a:p>
          <a:p>
            <a:pPr algn="ctr" defTabSz="914400"/>
            <a:r>
              <a:rPr lang="nl-NL" sz="700" b="1" dirty="0">
                <a:solidFill>
                  <a:prstClr val="black"/>
                </a:solidFill>
                <a:cs typeface="Arial" pitchFamily="34" charset="0"/>
              </a:rPr>
              <a:t>PRODUCT MASTER LOAD &amp; HAUL</a:t>
            </a:r>
          </a:p>
          <a:p>
            <a:pPr algn="ctr" defTabSz="914400"/>
            <a:r>
              <a:rPr lang="nl-NL" sz="700" b="1" dirty="0">
                <a:solidFill>
                  <a:prstClr val="black"/>
                </a:solidFill>
                <a:cs typeface="Arial" pitchFamily="34" charset="0"/>
              </a:rPr>
              <a:t>REGION EUROPE</a:t>
            </a:r>
          </a:p>
          <a:p>
            <a:pPr algn="ctr" defTabSz="914400"/>
            <a:r>
              <a:rPr lang="en-US" sz="700" dirty="0">
                <a:solidFill>
                  <a:prstClr val="black"/>
                </a:solidFill>
                <a:cs typeface="Arial" pitchFamily="34" charset="0"/>
              </a:rPr>
              <a:t>RICHARD MAHER</a:t>
            </a:r>
            <a:endParaRPr lang="nl-NL" sz="700" dirty="0">
              <a:solidFill>
                <a:prstClr val="black"/>
              </a:solidFill>
              <a:cs typeface="Arial" pitchFamily="34" charset="0"/>
            </a:endParaRPr>
          </a:p>
          <a:p>
            <a:pPr algn="ctr" defTabSz="914400"/>
            <a:endParaRPr lang="nl-NL" sz="800" dirty="0">
              <a:solidFill>
                <a:prstClr val="black"/>
              </a:solidFill>
              <a:cs typeface="Arial" pitchFamily="34" charset="0"/>
            </a:endParaRPr>
          </a:p>
        </p:txBody>
      </p:sp>
      <p:sp>
        <p:nvSpPr>
          <p:cNvPr id="22" name="Rektangel 6">
            <a:hlinkClick r:id="" action="ppaction://noaction"/>
          </p:cNvPr>
          <p:cNvSpPr/>
          <p:nvPr/>
        </p:nvSpPr>
        <p:spPr>
          <a:xfrm>
            <a:off x="6065284" y="3138571"/>
            <a:ext cx="1610134" cy="532800"/>
          </a:xfrm>
          <a:prstGeom prst="rect">
            <a:avLst/>
          </a:prstGeom>
          <a:noFill/>
          <a:ln w="12700">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1992" tIns="45715" rIns="71992" bIns="45715" rtlCol="0" anchor="ctr" anchorCtr="0"/>
          <a:lstStyle/>
          <a:p>
            <a:pPr algn="ctr" defTabSz="914400"/>
            <a:r>
              <a:rPr lang="nl-NL" sz="700" b="1" dirty="0">
                <a:solidFill>
                  <a:prstClr val="black"/>
                </a:solidFill>
                <a:cs typeface="Arial" pitchFamily="34" charset="0"/>
              </a:rPr>
              <a:t>WORKSHOP SERVICE SUPPPORT</a:t>
            </a:r>
          </a:p>
          <a:p>
            <a:pPr algn="ctr" defTabSz="914400"/>
            <a:r>
              <a:rPr lang="nl-NL" sz="700" b="1" dirty="0">
                <a:solidFill>
                  <a:prstClr val="black"/>
                </a:solidFill>
                <a:cs typeface="Arial" pitchFamily="34" charset="0"/>
              </a:rPr>
              <a:t>(PORTLAOISE) </a:t>
            </a:r>
          </a:p>
          <a:p>
            <a:pPr algn="ctr" defTabSz="914400"/>
            <a:r>
              <a:rPr lang="nl-NL" sz="700" dirty="0">
                <a:solidFill>
                  <a:prstClr val="black"/>
                </a:solidFill>
                <a:cs typeface="Arial" pitchFamily="34" charset="0"/>
              </a:rPr>
              <a:t>FRANK HANRAHAN (WS LEAD)</a:t>
            </a:r>
          </a:p>
          <a:p>
            <a:pPr algn="ctr" defTabSz="914400"/>
            <a:r>
              <a:rPr lang="nl-NL" sz="700" dirty="0">
                <a:solidFill>
                  <a:prstClr val="black"/>
                </a:solidFill>
                <a:cs typeface="Arial" pitchFamily="34" charset="0"/>
              </a:rPr>
              <a:t>TOM POLLARD</a:t>
            </a:r>
          </a:p>
        </p:txBody>
      </p:sp>
      <p:cxnSp>
        <p:nvCxnSpPr>
          <p:cNvPr id="23" name="Straight Connector 22"/>
          <p:cNvCxnSpPr/>
          <p:nvPr/>
        </p:nvCxnSpPr>
        <p:spPr>
          <a:xfrm flipV="1">
            <a:off x="1431983" y="2948808"/>
            <a:ext cx="5438368" cy="18577"/>
          </a:xfrm>
          <a:prstGeom prst="line">
            <a:avLst/>
          </a:prstGeom>
          <a:ln w="12700">
            <a:solidFill>
              <a:schemeClr val="accent2"/>
            </a:solidFill>
          </a:ln>
          <a:effectLst/>
        </p:spPr>
        <p:style>
          <a:lnRef idx="3">
            <a:schemeClr val="accent1"/>
          </a:lnRef>
          <a:fillRef idx="0">
            <a:schemeClr val="accent1"/>
          </a:fillRef>
          <a:effectRef idx="2">
            <a:schemeClr val="accent1"/>
          </a:effectRef>
          <a:fontRef idx="minor">
            <a:schemeClr val="tx1"/>
          </a:fontRef>
        </p:style>
      </p:cxnSp>
      <p:cxnSp>
        <p:nvCxnSpPr>
          <p:cNvPr id="24" name="Straight Connector 23"/>
          <p:cNvCxnSpPr/>
          <p:nvPr/>
        </p:nvCxnSpPr>
        <p:spPr>
          <a:xfrm>
            <a:off x="3702396" y="1821506"/>
            <a:ext cx="13171" cy="1127302"/>
          </a:xfrm>
          <a:prstGeom prst="line">
            <a:avLst/>
          </a:prstGeom>
          <a:ln w="12700">
            <a:solidFill>
              <a:schemeClr val="accent2"/>
            </a:solidFill>
          </a:ln>
          <a:effectLst/>
        </p:spPr>
        <p:style>
          <a:lnRef idx="3">
            <a:schemeClr val="accent1"/>
          </a:lnRef>
          <a:fillRef idx="0">
            <a:schemeClr val="accent1"/>
          </a:fillRef>
          <a:effectRef idx="2">
            <a:schemeClr val="accent1"/>
          </a:effectRef>
          <a:fontRef idx="minor">
            <a:schemeClr val="tx1"/>
          </a:fontRef>
        </p:style>
      </p:cxnSp>
      <p:sp>
        <p:nvSpPr>
          <p:cNvPr id="48" name="Title 1"/>
          <p:cNvSpPr txBox="1">
            <a:spLocks/>
          </p:cNvSpPr>
          <p:nvPr/>
        </p:nvSpPr>
        <p:spPr>
          <a:xfrm>
            <a:off x="360000" y="124612"/>
            <a:ext cx="8424000" cy="358906"/>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2800" kern="1200" cap="all" baseline="0">
                <a:solidFill>
                  <a:schemeClr val="tx2"/>
                </a:solidFill>
                <a:latin typeface="+mj-lt"/>
                <a:ea typeface="+mj-ea"/>
                <a:cs typeface="+mj-cs"/>
              </a:defRPr>
            </a:lvl1pPr>
          </a:lstStyle>
          <a:p>
            <a:r>
              <a:rPr lang="en-US" sz="2400" dirty="0">
                <a:solidFill>
                  <a:srgbClr val="0099FF"/>
                </a:solidFill>
              </a:rPr>
              <a:t>Sandvik Mining &amp; Rock Technology </a:t>
            </a:r>
            <a:br>
              <a:rPr lang="en-US" sz="2000" dirty="0">
                <a:solidFill>
                  <a:srgbClr val="0099FF"/>
                </a:solidFill>
              </a:rPr>
            </a:br>
            <a:r>
              <a:rPr lang="en-AU" sz="1600" dirty="0" err="1">
                <a:solidFill>
                  <a:srgbClr val="FF6E00"/>
                </a:solidFill>
              </a:rPr>
              <a:t>ireland</a:t>
            </a:r>
            <a:r>
              <a:rPr lang="en-AU" sz="1600" dirty="0">
                <a:solidFill>
                  <a:srgbClr val="FF6E00"/>
                </a:solidFill>
              </a:rPr>
              <a:t> organisation chart</a:t>
            </a:r>
          </a:p>
        </p:txBody>
      </p:sp>
      <p:cxnSp>
        <p:nvCxnSpPr>
          <p:cNvPr id="47" name="Straight Connector 46"/>
          <p:cNvCxnSpPr>
            <a:stCxn id="7" idx="3"/>
          </p:cNvCxnSpPr>
          <p:nvPr/>
        </p:nvCxnSpPr>
        <p:spPr>
          <a:xfrm>
            <a:off x="3033828" y="2206442"/>
            <a:ext cx="682653" cy="4137"/>
          </a:xfrm>
          <a:prstGeom prst="line">
            <a:avLst/>
          </a:prstGeom>
          <a:ln w="12700">
            <a:solidFill>
              <a:schemeClr val="accent2"/>
            </a:solidFill>
          </a:ln>
          <a:effectLst/>
        </p:spPr>
        <p:style>
          <a:lnRef idx="3">
            <a:schemeClr val="accent1"/>
          </a:lnRef>
          <a:fillRef idx="0">
            <a:schemeClr val="accent1"/>
          </a:fillRef>
          <a:effectRef idx="2">
            <a:schemeClr val="accent1"/>
          </a:effectRef>
          <a:fontRef idx="minor">
            <a:schemeClr val="tx1"/>
          </a:fontRef>
        </p:style>
      </p:cxnSp>
      <p:cxnSp>
        <p:nvCxnSpPr>
          <p:cNvPr id="102" name="Straight Connector 101"/>
          <p:cNvCxnSpPr/>
          <p:nvPr/>
        </p:nvCxnSpPr>
        <p:spPr>
          <a:xfrm flipH="1" flipV="1">
            <a:off x="1431068" y="2967802"/>
            <a:ext cx="300" cy="198609"/>
          </a:xfrm>
          <a:prstGeom prst="line">
            <a:avLst/>
          </a:prstGeom>
          <a:ln w="12700">
            <a:solidFill>
              <a:schemeClr val="accent2"/>
            </a:solidFill>
          </a:ln>
          <a:effectLst/>
        </p:spPr>
        <p:style>
          <a:lnRef idx="3">
            <a:schemeClr val="accent1"/>
          </a:lnRef>
          <a:fillRef idx="0">
            <a:schemeClr val="accent1"/>
          </a:fillRef>
          <a:effectRef idx="2">
            <a:schemeClr val="accent1"/>
          </a:effectRef>
          <a:fontRef idx="minor">
            <a:schemeClr val="tx1"/>
          </a:fontRef>
        </p:style>
      </p:cxnSp>
      <p:cxnSp>
        <p:nvCxnSpPr>
          <p:cNvPr id="104" name="Straight Connector 103"/>
          <p:cNvCxnSpPr/>
          <p:nvPr/>
        </p:nvCxnSpPr>
        <p:spPr>
          <a:xfrm flipV="1">
            <a:off x="4976897" y="2948808"/>
            <a:ext cx="7173" cy="234630"/>
          </a:xfrm>
          <a:prstGeom prst="line">
            <a:avLst/>
          </a:prstGeom>
          <a:ln w="12700">
            <a:solidFill>
              <a:schemeClr val="accent2"/>
            </a:solidFill>
          </a:ln>
          <a:effectLst/>
        </p:spPr>
        <p:style>
          <a:lnRef idx="3">
            <a:schemeClr val="accent1"/>
          </a:lnRef>
          <a:fillRef idx="0">
            <a:schemeClr val="accent1"/>
          </a:fillRef>
          <a:effectRef idx="2">
            <a:schemeClr val="accent1"/>
          </a:effectRef>
          <a:fontRef idx="minor">
            <a:schemeClr val="tx1"/>
          </a:fontRef>
        </p:style>
      </p:cxnSp>
      <p:cxnSp>
        <p:nvCxnSpPr>
          <p:cNvPr id="105" name="Straight Connector 104"/>
          <p:cNvCxnSpPr>
            <a:stCxn id="22" idx="0"/>
          </p:cNvCxnSpPr>
          <p:nvPr/>
        </p:nvCxnSpPr>
        <p:spPr>
          <a:xfrm flipH="1" flipV="1">
            <a:off x="6864843" y="2958096"/>
            <a:ext cx="5508" cy="180475"/>
          </a:xfrm>
          <a:prstGeom prst="line">
            <a:avLst/>
          </a:prstGeom>
          <a:ln w="12700">
            <a:solidFill>
              <a:schemeClr val="accent2"/>
            </a:solidFill>
          </a:ln>
          <a:effectLst/>
        </p:spPr>
        <p:style>
          <a:lnRef idx="3">
            <a:schemeClr val="accent1"/>
          </a:lnRef>
          <a:fillRef idx="0">
            <a:schemeClr val="accent1"/>
          </a:fillRef>
          <a:effectRef idx="2">
            <a:schemeClr val="accent1"/>
          </a:effectRef>
          <a:fontRef idx="minor">
            <a:schemeClr val="tx1"/>
          </a:fontRef>
        </p:style>
      </p:cxnSp>
      <p:cxnSp>
        <p:nvCxnSpPr>
          <p:cNvPr id="202" name="Straight Connector 201"/>
          <p:cNvCxnSpPr>
            <a:stCxn id="13" idx="0"/>
          </p:cNvCxnSpPr>
          <p:nvPr/>
        </p:nvCxnSpPr>
        <p:spPr>
          <a:xfrm flipH="1" flipV="1">
            <a:off x="3248339" y="2973954"/>
            <a:ext cx="2197" cy="205179"/>
          </a:xfrm>
          <a:prstGeom prst="line">
            <a:avLst/>
          </a:prstGeom>
          <a:ln w="12700">
            <a:solidFill>
              <a:schemeClr val="accent2"/>
            </a:solidFill>
          </a:ln>
          <a:effectLst/>
        </p:spPr>
        <p:style>
          <a:lnRef idx="3">
            <a:schemeClr val="accent1"/>
          </a:lnRef>
          <a:fillRef idx="0">
            <a:schemeClr val="accent1"/>
          </a:fillRef>
          <a:effectRef idx="2">
            <a:schemeClr val="accent1"/>
          </a:effectRef>
          <a:fontRef idx="minor">
            <a:schemeClr val="tx1"/>
          </a:fontRef>
        </p:style>
      </p:cxnSp>
      <p:cxnSp>
        <p:nvCxnSpPr>
          <p:cNvPr id="73" name="Straight Connector 72"/>
          <p:cNvCxnSpPr>
            <a:cxnSpLocks/>
          </p:cNvCxnSpPr>
          <p:nvPr/>
        </p:nvCxnSpPr>
        <p:spPr>
          <a:xfrm>
            <a:off x="5944821" y="2973954"/>
            <a:ext cx="0" cy="902941"/>
          </a:xfrm>
          <a:prstGeom prst="line">
            <a:avLst/>
          </a:prstGeom>
          <a:ln w="12700">
            <a:solidFill>
              <a:schemeClr val="accent2"/>
            </a:solidFill>
            <a:prstDash val="sysDash"/>
          </a:ln>
          <a:effectLst/>
        </p:spPr>
        <p:style>
          <a:lnRef idx="3">
            <a:schemeClr val="accent1"/>
          </a:lnRef>
          <a:fillRef idx="0">
            <a:schemeClr val="accent1"/>
          </a:fillRef>
          <a:effectRef idx="2">
            <a:schemeClr val="accent1"/>
          </a:effectRef>
          <a:fontRef idx="minor">
            <a:schemeClr val="tx1"/>
          </a:fontRef>
        </p:style>
      </p:cxnSp>
      <p:cxnSp>
        <p:nvCxnSpPr>
          <p:cNvPr id="220" name="Straight Connector 219"/>
          <p:cNvCxnSpPr/>
          <p:nvPr/>
        </p:nvCxnSpPr>
        <p:spPr>
          <a:xfrm flipV="1">
            <a:off x="4425341" y="1829020"/>
            <a:ext cx="1" cy="131345"/>
          </a:xfrm>
          <a:prstGeom prst="line">
            <a:avLst/>
          </a:prstGeom>
          <a:ln w="22225">
            <a:solidFill>
              <a:schemeClr val="tx1"/>
            </a:solidFill>
            <a:prstDash val="sysDash"/>
          </a:ln>
          <a:effectLst/>
        </p:spPr>
        <p:style>
          <a:lnRef idx="3">
            <a:schemeClr val="accent1"/>
          </a:lnRef>
          <a:fillRef idx="0">
            <a:schemeClr val="accent1"/>
          </a:fillRef>
          <a:effectRef idx="2">
            <a:schemeClr val="accent1"/>
          </a:effectRef>
          <a:fontRef idx="minor">
            <a:schemeClr val="tx1"/>
          </a:fontRef>
        </p:style>
      </p:cxnSp>
      <p:cxnSp>
        <p:nvCxnSpPr>
          <p:cNvPr id="221" name="Straight Connector 220"/>
          <p:cNvCxnSpPr/>
          <p:nvPr/>
        </p:nvCxnSpPr>
        <p:spPr>
          <a:xfrm flipV="1">
            <a:off x="4434434" y="1960365"/>
            <a:ext cx="688198" cy="1"/>
          </a:xfrm>
          <a:prstGeom prst="line">
            <a:avLst/>
          </a:prstGeom>
          <a:ln w="22225">
            <a:solidFill>
              <a:schemeClr val="tx1"/>
            </a:solidFill>
            <a:prstDash val="sysDash"/>
          </a:ln>
          <a:effectLst/>
        </p:spPr>
        <p:style>
          <a:lnRef idx="3">
            <a:schemeClr val="accent1"/>
          </a:lnRef>
          <a:fillRef idx="0">
            <a:schemeClr val="accent1"/>
          </a:fillRef>
          <a:effectRef idx="2">
            <a:schemeClr val="accent1"/>
          </a:effectRef>
          <a:fontRef idx="minor">
            <a:schemeClr val="tx1"/>
          </a:fontRef>
        </p:style>
      </p:cxnSp>
      <p:cxnSp>
        <p:nvCxnSpPr>
          <p:cNvPr id="74" name="Straight Connector 73"/>
          <p:cNvCxnSpPr>
            <a:stCxn id="18" idx="0"/>
          </p:cNvCxnSpPr>
          <p:nvPr/>
        </p:nvCxnSpPr>
        <p:spPr>
          <a:xfrm flipV="1">
            <a:off x="5122632" y="1960365"/>
            <a:ext cx="0" cy="139513"/>
          </a:xfrm>
          <a:prstGeom prst="line">
            <a:avLst/>
          </a:prstGeom>
          <a:ln w="22225">
            <a:solidFill>
              <a:schemeClr val="tx1"/>
            </a:solidFill>
            <a:prstDash val="sysDash"/>
          </a:ln>
          <a:effectLst/>
        </p:spPr>
        <p:style>
          <a:lnRef idx="3">
            <a:schemeClr val="accent1"/>
          </a:lnRef>
          <a:fillRef idx="0">
            <a:schemeClr val="accent1"/>
          </a:fillRef>
          <a:effectRef idx="2">
            <a:schemeClr val="accent1"/>
          </a:effectRef>
          <a:fontRef idx="minor">
            <a:schemeClr val="tx1"/>
          </a:fontRef>
        </p:style>
      </p:cxnSp>
      <p:sp>
        <p:nvSpPr>
          <p:cNvPr id="26" name="Rektangel 6">
            <a:extLst>
              <a:ext uri="{FF2B5EF4-FFF2-40B4-BE49-F238E27FC236}">
                <a16:creationId xmlns:a16="http://schemas.microsoft.com/office/drawing/2014/main" id="{14803260-8171-4180-9212-74F43E5D01E3}"/>
              </a:ext>
            </a:extLst>
          </p:cNvPr>
          <p:cNvSpPr/>
          <p:nvPr/>
        </p:nvSpPr>
        <p:spPr>
          <a:xfrm>
            <a:off x="5095855" y="3860620"/>
            <a:ext cx="1861410" cy="532800"/>
          </a:xfrm>
          <a:prstGeom prst="rect">
            <a:avLst/>
          </a:prstGeom>
          <a:solidFill>
            <a:schemeClr val="accent2">
              <a:lumMod val="20000"/>
              <a:lumOff val="80000"/>
            </a:schemeClr>
          </a:solidFill>
          <a:ln w="12700">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1992" tIns="45715" rIns="71992" bIns="45715" rtlCol="0" anchor="ctr" anchorCtr="0"/>
          <a:lstStyle/>
          <a:p>
            <a:pPr algn="ctr" defTabSz="914400"/>
            <a:r>
              <a:rPr lang="nl-NL" sz="700" b="1" dirty="0">
                <a:solidFill>
                  <a:prstClr val="black"/>
                </a:solidFill>
                <a:cs typeface="Arial" pitchFamily="34" charset="0"/>
              </a:rPr>
              <a:t>SURFACE DRILL TECHNICIAN CRUSHING &amp; SCREENING TECHNICIAN</a:t>
            </a:r>
          </a:p>
          <a:p>
            <a:pPr algn="ctr" defTabSz="914400"/>
            <a:r>
              <a:rPr lang="nl-NL" sz="700" b="1" dirty="0">
                <a:solidFill>
                  <a:prstClr val="black"/>
                </a:solidFill>
                <a:cs typeface="Arial" pitchFamily="34" charset="0"/>
              </a:rPr>
              <a:t>(IRELAND)</a:t>
            </a:r>
          </a:p>
          <a:p>
            <a:pPr algn="ctr" defTabSz="914400"/>
            <a:r>
              <a:rPr lang="nl-NL" sz="700" dirty="0">
                <a:solidFill>
                  <a:prstClr val="black"/>
                </a:solidFill>
                <a:cs typeface="Arial" pitchFamily="34" charset="0"/>
              </a:rPr>
              <a:t>    TBC</a:t>
            </a:r>
            <a:endParaRPr lang="nl-NL" sz="700" b="1" dirty="0">
              <a:solidFill>
                <a:prstClr val="black"/>
              </a:solidFill>
              <a:cs typeface="Arial" pitchFamily="34" charset="0"/>
            </a:endParaRPr>
          </a:p>
        </p:txBody>
      </p:sp>
    </p:spTree>
    <p:extLst>
      <p:ext uri="{BB962C8B-B14F-4D97-AF65-F5344CB8AC3E}">
        <p14:creationId xmlns:p14="http://schemas.microsoft.com/office/powerpoint/2010/main" val="2787559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3"/>
                                        </p:tgtEl>
                                        <p:attrNameLst>
                                          <p:attrName>style.visibility</p:attrName>
                                        </p:attrNameLst>
                                      </p:cBhvr>
                                      <p:to>
                                        <p:strVal val="visible"/>
                                      </p:to>
                                    </p:set>
                                    <p:animEffect transition="in" filter="fade">
                                      <p:cBhvr>
                                        <p:cTn id="16" dur="500"/>
                                        <p:tgtEl>
                                          <p:spTgt spid="13"/>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5"/>
                                        </p:tgtEl>
                                        <p:attrNameLst>
                                          <p:attrName>style.visibility</p:attrName>
                                        </p:attrNameLst>
                                      </p:cBhvr>
                                      <p:to>
                                        <p:strVal val="visible"/>
                                      </p:to>
                                    </p:set>
                                    <p:animEffect transition="in" filter="fade">
                                      <p:cBhvr>
                                        <p:cTn id="19" dur="500"/>
                                        <p:tgtEl>
                                          <p:spTgt spid="15"/>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2"/>
                                        </p:tgtEl>
                                        <p:attrNameLst>
                                          <p:attrName>style.visibility</p:attrName>
                                        </p:attrNameLst>
                                      </p:cBhvr>
                                      <p:to>
                                        <p:strVal val="visible"/>
                                      </p:to>
                                    </p:set>
                                    <p:animEffect transition="in" filter="fade">
                                      <p:cBhvr>
                                        <p:cTn id="22" dur="500"/>
                                        <p:tgtEl>
                                          <p:spTgt spid="22"/>
                                        </p:tgtEl>
                                      </p:cBhvr>
                                    </p:animEffect>
                                  </p:childTnLst>
                                </p:cTn>
                              </p:par>
                              <p:par>
                                <p:cTn id="23" presetID="10" presetClass="entr" presetSubtype="0" fill="hold" nodeType="withEffect">
                                  <p:stCondLst>
                                    <p:cond delay="0"/>
                                  </p:stCondLst>
                                  <p:childTnLst>
                                    <p:set>
                                      <p:cBhvr>
                                        <p:cTn id="24" dur="1" fill="hold">
                                          <p:stCondLst>
                                            <p:cond delay="0"/>
                                          </p:stCondLst>
                                        </p:cTn>
                                        <p:tgtEl>
                                          <p:spTgt spid="23"/>
                                        </p:tgtEl>
                                        <p:attrNameLst>
                                          <p:attrName>style.visibility</p:attrName>
                                        </p:attrNameLst>
                                      </p:cBhvr>
                                      <p:to>
                                        <p:strVal val="visible"/>
                                      </p:to>
                                    </p:set>
                                    <p:animEffect transition="in" filter="fade">
                                      <p:cBhvr>
                                        <p:cTn id="25" dur="500"/>
                                        <p:tgtEl>
                                          <p:spTgt spid="23"/>
                                        </p:tgtEl>
                                      </p:cBhvr>
                                    </p:animEffect>
                                  </p:childTnLst>
                                </p:cTn>
                              </p:par>
                              <p:par>
                                <p:cTn id="26" presetID="10" presetClass="entr" presetSubtype="0" fill="hold" nodeType="withEffect">
                                  <p:stCondLst>
                                    <p:cond delay="0"/>
                                  </p:stCondLst>
                                  <p:childTnLst>
                                    <p:set>
                                      <p:cBhvr>
                                        <p:cTn id="27" dur="1" fill="hold">
                                          <p:stCondLst>
                                            <p:cond delay="0"/>
                                          </p:stCondLst>
                                        </p:cTn>
                                        <p:tgtEl>
                                          <p:spTgt spid="24"/>
                                        </p:tgtEl>
                                        <p:attrNameLst>
                                          <p:attrName>style.visibility</p:attrName>
                                        </p:attrNameLst>
                                      </p:cBhvr>
                                      <p:to>
                                        <p:strVal val="visible"/>
                                      </p:to>
                                    </p:set>
                                    <p:animEffect transition="in" filter="fade">
                                      <p:cBhvr>
                                        <p:cTn id="28" dur="500"/>
                                        <p:tgtEl>
                                          <p:spTgt spid="24"/>
                                        </p:tgtEl>
                                      </p:cBhvr>
                                    </p:animEffect>
                                  </p:childTnLst>
                                </p:cTn>
                              </p:par>
                              <p:par>
                                <p:cTn id="29" presetID="10" presetClass="entr" presetSubtype="0" fill="hold" nodeType="withEffect">
                                  <p:stCondLst>
                                    <p:cond delay="0"/>
                                  </p:stCondLst>
                                  <p:childTnLst>
                                    <p:set>
                                      <p:cBhvr>
                                        <p:cTn id="30" dur="1" fill="hold">
                                          <p:stCondLst>
                                            <p:cond delay="0"/>
                                          </p:stCondLst>
                                        </p:cTn>
                                        <p:tgtEl>
                                          <p:spTgt spid="47"/>
                                        </p:tgtEl>
                                        <p:attrNameLst>
                                          <p:attrName>style.visibility</p:attrName>
                                        </p:attrNameLst>
                                      </p:cBhvr>
                                      <p:to>
                                        <p:strVal val="visible"/>
                                      </p:to>
                                    </p:set>
                                    <p:animEffect transition="in" filter="fade">
                                      <p:cBhvr>
                                        <p:cTn id="31" dur="500"/>
                                        <p:tgtEl>
                                          <p:spTgt spid="47"/>
                                        </p:tgtEl>
                                      </p:cBhvr>
                                    </p:animEffect>
                                  </p:childTnLst>
                                </p:cTn>
                              </p:par>
                              <p:par>
                                <p:cTn id="32" presetID="10" presetClass="entr" presetSubtype="0" fill="hold" nodeType="withEffect">
                                  <p:stCondLst>
                                    <p:cond delay="0"/>
                                  </p:stCondLst>
                                  <p:childTnLst>
                                    <p:set>
                                      <p:cBhvr>
                                        <p:cTn id="33" dur="1" fill="hold">
                                          <p:stCondLst>
                                            <p:cond delay="0"/>
                                          </p:stCondLst>
                                        </p:cTn>
                                        <p:tgtEl>
                                          <p:spTgt spid="102"/>
                                        </p:tgtEl>
                                        <p:attrNameLst>
                                          <p:attrName>style.visibility</p:attrName>
                                        </p:attrNameLst>
                                      </p:cBhvr>
                                      <p:to>
                                        <p:strVal val="visible"/>
                                      </p:to>
                                    </p:set>
                                    <p:animEffect transition="in" filter="fade">
                                      <p:cBhvr>
                                        <p:cTn id="34" dur="500"/>
                                        <p:tgtEl>
                                          <p:spTgt spid="102"/>
                                        </p:tgtEl>
                                      </p:cBhvr>
                                    </p:animEffect>
                                  </p:childTnLst>
                                </p:cTn>
                              </p:par>
                              <p:par>
                                <p:cTn id="35" presetID="10" presetClass="entr" presetSubtype="0" fill="hold" nodeType="withEffect">
                                  <p:stCondLst>
                                    <p:cond delay="0"/>
                                  </p:stCondLst>
                                  <p:childTnLst>
                                    <p:set>
                                      <p:cBhvr>
                                        <p:cTn id="36" dur="1" fill="hold">
                                          <p:stCondLst>
                                            <p:cond delay="0"/>
                                          </p:stCondLst>
                                        </p:cTn>
                                        <p:tgtEl>
                                          <p:spTgt spid="104"/>
                                        </p:tgtEl>
                                        <p:attrNameLst>
                                          <p:attrName>style.visibility</p:attrName>
                                        </p:attrNameLst>
                                      </p:cBhvr>
                                      <p:to>
                                        <p:strVal val="visible"/>
                                      </p:to>
                                    </p:set>
                                    <p:animEffect transition="in" filter="fade">
                                      <p:cBhvr>
                                        <p:cTn id="37" dur="500"/>
                                        <p:tgtEl>
                                          <p:spTgt spid="104"/>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220"/>
                                        </p:tgtEl>
                                        <p:attrNameLst>
                                          <p:attrName>style.visibility</p:attrName>
                                        </p:attrNameLst>
                                      </p:cBhvr>
                                      <p:to>
                                        <p:strVal val="visible"/>
                                      </p:to>
                                    </p:set>
                                    <p:animEffect transition="in" filter="fade">
                                      <p:cBhvr>
                                        <p:cTn id="42" dur="500"/>
                                        <p:tgtEl>
                                          <p:spTgt spid="220"/>
                                        </p:tgtEl>
                                      </p:cBhvr>
                                    </p:animEffect>
                                  </p:childTnLst>
                                </p:cTn>
                              </p:par>
                              <p:par>
                                <p:cTn id="43" presetID="10" presetClass="entr" presetSubtype="0" fill="hold" nodeType="withEffect">
                                  <p:stCondLst>
                                    <p:cond delay="0"/>
                                  </p:stCondLst>
                                  <p:childTnLst>
                                    <p:set>
                                      <p:cBhvr>
                                        <p:cTn id="44" dur="1" fill="hold">
                                          <p:stCondLst>
                                            <p:cond delay="0"/>
                                          </p:stCondLst>
                                        </p:cTn>
                                        <p:tgtEl>
                                          <p:spTgt spid="221"/>
                                        </p:tgtEl>
                                        <p:attrNameLst>
                                          <p:attrName>style.visibility</p:attrName>
                                        </p:attrNameLst>
                                      </p:cBhvr>
                                      <p:to>
                                        <p:strVal val="visible"/>
                                      </p:to>
                                    </p:set>
                                    <p:animEffect transition="in" filter="fade">
                                      <p:cBhvr>
                                        <p:cTn id="45" dur="500"/>
                                        <p:tgtEl>
                                          <p:spTgt spid="221"/>
                                        </p:tgtEl>
                                      </p:cBhvr>
                                    </p:animEffect>
                                  </p:childTnLst>
                                </p:cTn>
                              </p:par>
                              <p:par>
                                <p:cTn id="46" presetID="10" presetClass="entr" presetSubtype="0" fill="hold" nodeType="withEffect">
                                  <p:stCondLst>
                                    <p:cond delay="0"/>
                                  </p:stCondLst>
                                  <p:childTnLst>
                                    <p:set>
                                      <p:cBhvr>
                                        <p:cTn id="47" dur="1" fill="hold">
                                          <p:stCondLst>
                                            <p:cond delay="0"/>
                                          </p:stCondLst>
                                        </p:cTn>
                                        <p:tgtEl>
                                          <p:spTgt spid="74"/>
                                        </p:tgtEl>
                                        <p:attrNameLst>
                                          <p:attrName>style.visibility</p:attrName>
                                        </p:attrNameLst>
                                      </p:cBhvr>
                                      <p:to>
                                        <p:strVal val="visible"/>
                                      </p:to>
                                    </p:set>
                                    <p:animEffect transition="in" filter="fade">
                                      <p:cBhvr>
                                        <p:cTn id="48" dur="500"/>
                                        <p:tgtEl>
                                          <p:spTgt spid="74"/>
                                        </p:tgtEl>
                                      </p:cBhvr>
                                    </p:animEffect>
                                  </p:childTnLst>
                                </p:cTn>
                              </p:par>
                              <p:par>
                                <p:cTn id="49" presetID="10" presetClass="entr" presetSubtype="0" fill="hold" nodeType="withEffect">
                                  <p:stCondLst>
                                    <p:cond delay="0"/>
                                  </p:stCondLst>
                                  <p:childTnLst>
                                    <p:set>
                                      <p:cBhvr>
                                        <p:cTn id="50" dur="1" fill="hold">
                                          <p:stCondLst>
                                            <p:cond delay="0"/>
                                          </p:stCondLst>
                                        </p:cTn>
                                        <p:tgtEl>
                                          <p:spTgt spid="105"/>
                                        </p:tgtEl>
                                        <p:attrNameLst>
                                          <p:attrName>style.visibility</p:attrName>
                                        </p:attrNameLst>
                                      </p:cBhvr>
                                      <p:to>
                                        <p:strVal val="visible"/>
                                      </p:to>
                                    </p:set>
                                    <p:animEffect transition="in" filter="fade">
                                      <p:cBhvr>
                                        <p:cTn id="51" dur="500"/>
                                        <p:tgtEl>
                                          <p:spTgt spid="105"/>
                                        </p:tgtEl>
                                      </p:cBhvr>
                                    </p:animEffect>
                                  </p:childTnLst>
                                </p:cTn>
                              </p:par>
                              <p:par>
                                <p:cTn id="52" presetID="10" presetClass="entr" presetSubtype="0" fill="hold" nodeType="withEffect">
                                  <p:stCondLst>
                                    <p:cond delay="0"/>
                                  </p:stCondLst>
                                  <p:childTnLst>
                                    <p:set>
                                      <p:cBhvr>
                                        <p:cTn id="53" dur="1" fill="hold">
                                          <p:stCondLst>
                                            <p:cond delay="0"/>
                                          </p:stCondLst>
                                        </p:cTn>
                                        <p:tgtEl>
                                          <p:spTgt spid="202"/>
                                        </p:tgtEl>
                                        <p:attrNameLst>
                                          <p:attrName>style.visibility</p:attrName>
                                        </p:attrNameLst>
                                      </p:cBhvr>
                                      <p:to>
                                        <p:strVal val="visible"/>
                                      </p:to>
                                    </p:set>
                                    <p:animEffect transition="in" filter="fade">
                                      <p:cBhvr>
                                        <p:cTn id="54" dur="500"/>
                                        <p:tgtEl>
                                          <p:spTgt spid="202"/>
                                        </p:tgtEl>
                                      </p:cBhvr>
                                    </p:animEffect>
                                  </p:childTnLst>
                                </p:cTn>
                              </p:par>
                            </p:childTnLst>
                          </p:cTn>
                        </p:par>
                      </p:childTnLst>
                    </p:cTn>
                  </p:par>
                  <p:par>
                    <p:cTn id="55" fill="hold">
                      <p:stCondLst>
                        <p:cond delay="indefinite"/>
                      </p:stCondLst>
                      <p:childTnLst>
                        <p:par>
                          <p:cTn id="56" fill="hold">
                            <p:stCondLst>
                              <p:cond delay="0"/>
                            </p:stCondLst>
                            <p:childTnLst>
                              <p:par>
                                <p:cTn id="57" presetID="10" presetClass="entr" presetSubtype="0" fill="hold" grpId="0" nodeType="clickEffect">
                                  <p:stCondLst>
                                    <p:cond delay="0"/>
                                  </p:stCondLst>
                                  <p:childTnLst>
                                    <p:set>
                                      <p:cBhvr>
                                        <p:cTn id="58" dur="1" fill="hold">
                                          <p:stCondLst>
                                            <p:cond delay="0"/>
                                          </p:stCondLst>
                                        </p:cTn>
                                        <p:tgtEl>
                                          <p:spTgt spid="18"/>
                                        </p:tgtEl>
                                        <p:attrNameLst>
                                          <p:attrName>style.visibility</p:attrName>
                                        </p:attrNameLst>
                                      </p:cBhvr>
                                      <p:to>
                                        <p:strVal val="visible"/>
                                      </p:to>
                                    </p:set>
                                    <p:animEffect transition="in" filter="fade">
                                      <p:cBhvr>
                                        <p:cTn id="59" dur="500"/>
                                        <p:tgtEl>
                                          <p:spTgt spid="18"/>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nodeType="clickEffect">
                                  <p:stCondLst>
                                    <p:cond delay="0"/>
                                  </p:stCondLst>
                                  <p:childTnLst>
                                    <p:set>
                                      <p:cBhvr>
                                        <p:cTn id="63" dur="1" fill="hold">
                                          <p:stCondLst>
                                            <p:cond delay="0"/>
                                          </p:stCondLst>
                                        </p:cTn>
                                        <p:tgtEl>
                                          <p:spTgt spid="73"/>
                                        </p:tgtEl>
                                        <p:attrNameLst>
                                          <p:attrName>style.visibility</p:attrName>
                                        </p:attrNameLst>
                                      </p:cBhvr>
                                      <p:to>
                                        <p:strVal val="visible"/>
                                      </p:to>
                                    </p:set>
                                    <p:animEffect transition="in" filter="fade">
                                      <p:cBhvr>
                                        <p:cTn id="64" dur="500"/>
                                        <p:tgtEl>
                                          <p:spTgt spid="73"/>
                                        </p:tgtEl>
                                      </p:cBhvr>
                                    </p:animEffect>
                                  </p:childTnLst>
                                </p:cTn>
                              </p:par>
                            </p:childTnLst>
                          </p:cTn>
                        </p:par>
                      </p:childTnLst>
                    </p:cTn>
                  </p:par>
                  <p:par>
                    <p:cTn id="65" fill="hold">
                      <p:stCondLst>
                        <p:cond delay="indefinite"/>
                      </p:stCondLst>
                      <p:childTnLst>
                        <p:par>
                          <p:cTn id="66" fill="hold">
                            <p:stCondLst>
                              <p:cond delay="0"/>
                            </p:stCondLst>
                            <p:childTnLst>
                              <p:par>
                                <p:cTn id="67" presetID="10" presetClass="entr" presetSubtype="0" fill="hold" grpId="0" nodeType="clickEffect">
                                  <p:stCondLst>
                                    <p:cond delay="0"/>
                                  </p:stCondLst>
                                  <p:childTnLst>
                                    <p:set>
                                      <p:cBhvr>
                                        <p:cTn id="68" dur="1" fill="hold">
                                          <p:stCondLst>
                                            <p:cond delay="0"/>
                                          </p:stCondLst>
                                        </p:cTn>
                                        <p:tgtEl>
                                          <p:spTgt spid="26"/>
                                        </p:tgtEl>
                                        <p:attrNameLst>
                                          <p:attrName>style.visibility</p:attrName>
                                        </p:attrNameLst>
                                      </p:cBhvr>
                                      <p:to>
                                        <p:strVal val="visible"/>
                                      </p:to>
                                    </p:set>
                                    <p:animEffect transition="in" filter="fade">
                                      <p:cBhvr>
                                        <p:cTn id="69"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 grpId="0" animBg="1"/>
      <p:bldP spid="10" grpId="0" animBg="1"/>
      <p:bldP spid="13" grpId="0" animBg="1"/>
      <p:bldP spid="15" grpId="0" animBg="1"/>
      <p:bldP spid="18" grpId="0" animBg="1"/>
      <p:bldP spid="22" grpId="0" animBg="1"/>
      <p:bldP spid="26"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Platshållare för text 17"/>
          <p:cNvSpPr>
            <a:spLocks noGrp="1"/>
          </p:cNvSpPr>
          <p:nvPr>
            <p:ph type="body" sz="quarter" idx="13"/>
          </p:nvPr>
        </p:nvSpPr>
        <p:spPr>
          <a:xfrm>
            <a:off x="360000" y="696565"/>
            <a:ext cx="8424000" cy="270000"/>
          </a:xfrm>
        </p:spPr>
        <p:txBody>
          <a:bodyPr/>
          <a:lstStyle/>
          <a:p>
            <a:r>
              <a:rPr lang="sv-SE" dirty="0" err="1"/>
              <a:t>What</a:t>
            </a:r>
            <a:r>
              <a:rPr lang="sv-SE" dirty="0"/>
              <a:t> is automation?</a:t>
            </a:r>
          </a:p>
        </p:txBody>
      </p:sp>
      <p:sp>
        <p:nvSpPr>
          <p:cNvPr id="19" name="Rubrik 18"/>
          <p:cNvSpPr>
            <a:spLocks noGrp="1"/>
          </p:cNvSpPr>
          <p:nvPr>
            <p:ph type="title"/>
          </p:nvPr>
        </p:nvSpPr>
        <p:spPr>
          <a:xfrm>
            <a:off x="360000" y="207535"/>
            <a:ext cx="8424000" cy="360000"/>
          </a:xfrm>
        </p:spPr>
        <p:txBody>
          <a:bodyPr/>
          <a:lstStyle/>
          <a:p>
            <a:r>
              <a:rPr lang="sv-SE" dirty="0"/>
              <a:t>Automation in mining</a:t>
            </a:r>
          </a:p>
        </p:txBody>
      </p:sp>
      <p:pic>
        <p:nvPicPr>
          <p:cNvPr id="3" name="Picture 2">
            <a:extLst>
              <a:ext uri="{FF2B5EF4-FFF2-40B4-BE49-F238E27FC236}">
                <a16:creationId xmlns:a16="http://schemas.microsoft.com/office/drawing/2014/main" id="{F8BBB6AF-CFF9-4182-9AD9-19D807E67D20}"/>
              </a:ext>
            </a:extLst>
          </p:cNvPr>
          <p:cNvPicPr>
            <a:picLocks noChangeAspect="1"/>
          </p:cNvPicPr>
          <p:nvPr/>
        </p:nvPicPr>
        <p:blipFill>
          <a:blip r:embed="rId3"/>
          <a:stretch>
            <a:fillRect/>
          </a:stretch>
        </p:blipFill>
        <p:spPr>
          <a:xfrm>
            <a:off x="656565" y="1113088"/>
            <a:ext cx="4505325" cy="2962275"/>
          </a:xfrm>
          <a:prstGeom prst="rect">
            <a:avLst/>
          </a:prstGeom>
        </p:spPr>
      </p:pic>
      <p:sp>
        <p:nvSpPr>
          <p:cNvPr id="4" name="Oval 3">
            <a:extLst>
              <a:ext uri="{FF2B5EF4-FFF2-40B4-BE49-F238E27FC236}">
                <a16:creationId xmlns:a16="http://schemas.microsoft.com/office/drawing/2014/main" id="{1B354B6C-11D7-490B-9E75-47ED54E83477}"/>
              </a:ext>
            </a:extLst>
          </p:cNvPr>
          <p:cNvSpPr/>
          <p:nvPr/>
        </p:nvSpPr>
        <p:spPr>
          <a:xfrm>
            <a:off x="206515" y="1806665"/>
            <a:ext cx="4455495" cy="495055"/>
          </a:xfrm>
          <a:prstGeom prst="ellipse">
            <a:avLst/>
          </a:prstGeom>
          <a:noFill/>
          <a:ln w="19050">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pic>
        <p:nvPicPr>
          <p:cNvPr id="6" name="Picture 5">
            <a:extLst>
              <a:ext uri="{FF2B5EF4-FFF2-40B4-BE49-F238E27FC236}">
                <a16:creationId xmlns:a16="http://schemas.microsoft.com/office/drawing/2014/main" id="{4BC6A70A-529D-4D15-891B-F2F6D55F7743}"/>
              </a:ext>
            </a:extLst>
          </p:cNvPr>
          <p:cNvPicPr>
            <a:picLocks noChangeAspect="1"/>
          </p:cNvPicPr>
          <p:nvPr/>
        </p:nvPicPr>
        <p:blipFill>
          <a:blip r:embed="rId4"/>
          <a:stretch>
            <a:fillRect/>
          </a:stretch>
        </p:blipFill>
        <p:spPr>
          <a:xfrm rot="491188">
            <a:off x="268838" y="2105226"/>
            <a:ext cx="8619402" cy="1457797"/>
          </a:xfrm>
          <a:prstGeom prst="rect">
            <a:avLst/>
          </a:prstGeom>
        </p:spPr>
      </p:pic>
    </p:spTree>
    <p:extLst>
      <p:ext uri="{BB962C8B-B14F-4D97-AF65-F5344CB8AC3E}">
        <p14:creationId xmlns:p14="http://schemas.microsoft.com/office/powerpoint/2010/main" val="2913633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469B62F1-B431-48B6-8270-02431A1685B7}" type="slidenum">
              <a:rPr lang="en-US" smtClean="0"/>
              <a:t>7</a:t>
            </a:fld>
            <a:endParaRPr lang="en-US" dirty="0"/>
          </a:p>
        </p:txBody>
      </p:sp>
      <p:sp>
        <p:nvSpPr>
          <p:cNvPr id="10" name="Platshållare för text 9"/>
          <p:cNvSpPr>
            <a:spLocks noGrp="1"/>
          </p:cNvSpPr>
          <p:nvPr>
            <p:ph type="body" sz="quarter" idx="13"/>
          </p:nvPr>
        </p:nvSpPr>
        <p:spPr>
          <a:xfrm>
            <a:off x="448485" y="1044586"/>
            <a:ext cx="1356712" cy="270000"/>
          </a:xfrm>
        </p:spPr>
        <p:txBody>
          <a:bodyPr/>
          <a:lstStyle/>
          <a:p>
            <a:r>
              <a:rPr lang="sv-SE"/>
              <a:t>optimine</a:t>
            </a:r>
            <a:r>
              <a:rPr lang="sv-SE" baseline="30000"/>
              <a:t>®</a:t>
            </a:r>
          </a:p>
        </p:txBody>
      </p:sp>
      <p:pic>
        <p:nvPicPr>
          <p:cNvPr id="3074" name="Picture 2" descr="\\fitnt72.win.dom.sandvik.com\ripulli$\data\Mine Automation\Presentations\Show Room 2014 Aug\Sandvik_Automine_045_small.jpg"/>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a:stretch/>
        </p:blipFill>
        <p:spPr bwMode="auto">
          <a:xfrm>
            <a:off x="4063631" y="1380846"/>
            <a:ext cx="3600000" cy="2506725"/>
          </a:xfrm>
          <a:prstGeom prst="rect">
            <a:avLst/>
          </a:prstGeom>
          <a:solidFill>
            <a:srgbClr val="FFFFFF">
              <a:shade val="85000"/>
            </a:srgbClr>
          </a:solidFill>
          <a:ln w="88900" cap="sq">
            <a:noFill/>
            <a:miter lim="800000"/>
          </a:ln>
          <a:effectLst/>
          <a:scene3d>
            <a:camera prst="orthographicFront"/>
            <a:lightRig rig="twoPt" dir="t">
              <a:rot lat="0" lon="0" rev="7200000"/>
            </a:lightRig>
          </a:scene3d>
          <a:sp3d>
            <a:contourClr>
              <a:srgbClr val="FFFFFF"/>
            </a:contourClr>
          </a:sp3d>
          <a:extLst/>
        </p:spPr>
      </p:pic>
      <p:pic>
        <p:nvPicPr>
          <p:cNvPr id="3075" name="Picture 3" descr="\\fitnt72.win.dom.sandvik.com\ripulli$\data\Mine Automation\Presentations\Show Room 2014 Aug\Sandvik_Automine_030_small.jpg"/>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395258" y="1380847"/>
            <a:ext cx="3600000" cy="2500147"/>
          </a:xfrm>
          <a:prstGeom prst="rect">
            <a:avLst/>
          </a:prstGeom>
          <a:solidFill>
            <a:srgbClr val="FFFFFF">
              <a:shade val="85000"/>
            </a:srgbClr>
          </a:solidFill>
          <a:ln w="9525" cap="sq">
            <a:noFill/>
            <a:miter lim="800000"/>
          </a:ln>
          <a:effectLst/>
          <a:scene3d>
            <a:camera prst="orthographicFront"/>
            <a:lightRig rig="twoPt" dir="t">
              <a:rot lat="0" lon="0" rev="7200000"/>
            </a:lightRig>
          </a:scene3d>
          <a:sp3d>
            <a:contourClr>
              <a:srgbClr val="FFFFFF"/>
            </a:contourClr>
          </a:sp3d>
          <a:extLst/>
        </p:spPr>
      </p:pic>
      <p:sp>
        <p:nvSpPr>
          <p:cNvPr id="14" name="Platshållare för text 9"/>
          <p:cNvSpPr txBox="1">
            <a:spLocks/>
          </p:cNvSpPr>
          <p:nvPr/>
        </p:nvSpPr>
        <p:spPr>
          <a:xfrm>
            <a:off x="4134595" y="1044586"/>
            <a:ext cx="1356712" cy="270000"/>
          </a:xfrm>
          <a:prstGeom prst="rect">
            <a:avLst/>
          </a:prstGeom>
        </p:spPr>
        <p:txBody>
          <a:bodyPr vert="horz" lIns="0" tIns="0" rIns="0" bIns="0" rtlCol="0">
            <a:noAutofit/>
          </a:bodyPr>
          <a:lstStyle>
            <a:lvl1pPr marL="0" indent="0" algn="l" defTabSz="914296" rtl="0" eaLnBrk="1" latinLnBrk="0" hangingPunct="1">
              <a:lnSpc>
                <a:spcPct val="100000"/>
              </a:lnSpc>
              <a:spcBef>
                <a:spcPts val="0"/>
              </a:spcBef>
              <a:spcAft>
                <a:spcPts val="700"/>
              </a:spcAft>
              <a:buClr>
                <a:schemeClr val="tx1"/>
              </a:buClr>
              <a:buFont typeface="Arial" panose="020B0604020202020204" pitchFamily="34" charset="0"/>
              <a:buNone/>
              <a:defRPr sz="1800" b="0" kern="1200" cap="all" baseline="0">
                <a:solidFill>
                  <a:schemeClr val="accent2"/>
                </a:solidFill>
                <a:latin typeface="+mn-lt"/>
                <a:ea typeface="+mn-ea"/>
                <a:cs typeface="+mn-cs"/>
              </a:defRPr>
            </a:lvl1pPr>
            <a:lvl2pPr marL="539939" indent="-161982" algn="l" defTabSz="914296" rtl="0" eaLnBrk="1" latinLnBrk="0" hangingPunct="1">
              <a:lnSpc>
                <a:spcPct val="100000"/>
              </a:lnSpc>
              <a:spcBef>
                <a:spcPts val="0"/>
              </a:spcBef>
              <a:spcAft>
                <a:spcPts val="400"/>
              </a:spcAft>
              <a:buClr>
                <a:schemeClr val="tx1"/>
              </a:buClr>
              <a:buFont typeface="Arial" panose="020B0604020202020204" pitchFamily="34" charset="0"/>
              <a:buChar char="•"/>
              <a:defRPr sz="1600" kern="1200">
                <a:solidFill>
                  <a:schemeClr val="tx1"/>
                </a:solidFill>
                <a:latin typeface="+mn-lt"/>
                <a:ea typeface="+mn-ea"/>
                <a:cs typeface="+mn-cs"/>
              </a:defRPr>
            </a:lvl2pPr>
            <a:lvl3pPr marL="899898" indent="-161982" algn="l" defTabSz="914296" rtl="0" eaLnBrk="1" latinLnBrk="0" hangingPunct="1">
              <a:lnSpc>
                <a:spcPct val="100000"/>
              </a:lnSpc>
              <a:spcBef>
                <a:spcPts val="0"/>
              </a:spcBef>
              <a:spcAft>
                <a:spcPts val="300"/>
              </a:spcAft>
              <a:buClr>
                <a:schemeClr val="tx1"/>
              </a:buClr>
              <a:buFont typeface="Arial" panose="020B0604020202020204" pitchFamily="34" charset="0"/>
              <a:buChar char="•"/>
              <a:defRPr sz="1400" kern="1200">
                <a:solidFill>
                  <a:schemeClr val="tx1"/>
                </a:solidFill>
                <a:latin typeface="+mn-lt"/>
                <a:ea typeface="+mn-ea"/>
                <a:cs typeface="+mn-cs"/>
              </a:defRPr>
            </a:lvl3pPr>
            <a:lvl4pPr marL="1259857" indent="-161982" algn="l" defTabSz="914296" rtl="0" eaLnBrk="1" latinLnBrk="0" hangingPunct="1">
              <a:lnSpc>
                <a:spcPct val="100000"/>
              </a:lnSpc>
              <a:spcBef>
                <a:spcPts val="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4pPr>
            <a:lvl5pPr marL="1627015" indent="-158382" algn="l" defTabSz="914296" rtl="0" eaLnBrk="1" latinLnBrk="0" hangingPunct="1">
              <a:lnSpc>
                <a:spcPct val="100000"/>
              </a:lnSpc>
              <a:spcBef>
                <a:spcPts val="0"/>
              </a:spcBef>
              <a:spcAft>
                <a:spcPts val="240"/>
              </a:spcAft>
              <a:buClr>
                <a:schemeClr val="tx1"/>
              </a:buClr>
              <a:buFont typeface="Arial" panose="020B0604020202020204" pitchFamily="34" charset="0"/>
              <a:buChar char="»"/>
              <a:defRPr sz="1000" kern="1200">
                <a:solidFill>
                  <a:schemeClr val="tx1"/>
                </a:solidFill>
                <a:latin typeface="+mn-lt"/>
                <a:ea typeface="+mn-ea"/>
                <a:cs typeface="+mn-cs"/>
              </a:defRPr>
            </a:lvl5pPr>
            <a:lvl6pPr marL="2514314" indent="-228574" algn="l" defTabSz="914296"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62" indent="-228574" algn="l" defTabSz="914296"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610" indent="-228574" algn="l" defTabSz="914296"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58" indent="-228574" algn="l" defTabSz="914296"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sv-SE"/>
              <a:t>AUTOMINE</a:t>
            </a:r>
            <a:r>
              <a:rPr lang="sv-SE" baseline="30000"/>
              <a:t>®</a:t>
            </a:r>
          </a:p>
        </p:txBody>
      </p:sp>
      <p:sp>
        <p:nvSpPr>
          <p:cNvPr id="12" name="Rektangel 11"/>
          <p:cNvSpPr/>
          <p:nvPr/>
        </p:nvSpPr>
        <p:spPr>
          <a:xfrm>
            <a:off x="395258" y="3940749"/>
            <a:ext cx="3600000" cy="306766"/>
          </a:xfrm>
          <a:prstGeom prst="rect">
            <a:avLst/>
          </a:prstGeom>
          <a:solidFill>
            <a:schemeClr val="accent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400"/>
              <a:t>Information Management</a:t>
            </a:r>
          </a:p>
        </p:txBody>
      </p:sp>
      <p:sp>
        <p:nvSpPr>
          <p:cNvPr id="16" name="Rektangel 15"/>
          <p:cNvSpPr/>
          <p:nvPr/>
        </p:nvSpPr>
        <p:spPr>
          <a:xfrm>
            <a:off x="4063008" y="3940749"/>
            <a:ext cx="3600000" cy="306766"/>
          </a:xfrm>
          <a:prstGeom prst="rect">
            <a:avLst/>
          </a:prstGeom>
          <a:solidFill>
            <a:schemeClr val="accent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400"/>
              <a:t>Teleremote and Autonomous Equipment</a:t>
            </a:r>
          </a:p>
        </p:txBody>
      </p:sp>
      <p:sp>
        <p:nvSpPr>
          <p:cNvPr id="13" name="Rubrik 12"/>
          <p:cNvSpPr>
            <a:spLocks noGrp="1"/>
          </p:cNvSpPr>
          <p:nvPr>
            <p:ph type="title"/>
          </p:nvPr>
        </p:nvSpPr>
        <p:spPr/>
        <p:txBody>
          <a:bodyPr/>
          <a:lstStyle/>
          <a:p>
            <a:r>
              <a:rPr lang="sv-SE"/>
              <a:t>Mining automation PRODUCT FAMILIES</a:t>
            </a:r>
          </a:p>
        </p:txBody>
      </p:sp>
      <p:sp>
        <p:nvSpPr>
          <p:cNvPr id="2" name="Oval 1">
            <a:extLst>
              <a:ext uri="{FF2B5EF4-FFF2-40B4-BE49-F238E27FC236}">
                <a16:creationId xmlns:a16="http://schemas.microsoft.com/office/drawing/2014/main" id="{ACB5D9D2-3FDD-4C7A-B46C-3997B85F8802}"/>
              </a:ext>
            </a:extLst>
          </p:cNvPr>
          <p:cNvSpPr/>
          <p:nvPr/>
        </p:nvSpPr>
        <p:spPr>
          <a:xfrm>
            <a:off x="3995258" y="906565"/>
            <a:ext cx="1611857" cy="585065"/>
          </a:xfrm>
          <a:prstGeom prst="ellipse">
            <a:avLst/>
          </a:prstGeom>
          <a:noFill/>
          <a:ln w="19050">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Tree>
    <p:extLst>
      <p:ext uri="{BB962C8B-B14F-4D97-AF65-F5344CB8AC3E}">
        <p14:creationId xmlns:p14="http://schemas.microsoft.com/office/powerpoint/2010/main" val="277092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2" descr="\\fitnt72.win.dom.sandvik.com\ripulli$\data\Mine Automation\Presentations\Show Room 2014 Aug\Sandvik_Automine_045_small.jpg"/>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a:stretch/>
        </p:blipFill>
        <p:spPr bwMode="auto">
          <a:xfrm>
            <a:off x="3349779" y="1125748"/>
            <a:ext cx="2429101" cy="2433600"/>
          </a:xfrm>
          <a:prstGeom prst="ellipse">
            <a:avLst/>
          </a:prstGeom>
          <a:solidFill>
            <a:srgbClr val="FFFFFF">
              <a:shade val="85000"/>
            </a:srgbClr>
          </a:solidFill>
          <a:ln w="88900" cap="sq">
            <a:noFill/>
            <a:miter lim="800000"/>
          </a:ln>
          <a:effectLst/>
          <a:scene3d>
            <a:camera prst="orthographicFront"/>
            <a:lightRig rig="twoPt" dir="t">
              <a:rot lat="0" lon="0" rev="7200000"/>
            </a:lightRig>
          </a:scene3d>
          <a:sp3d>
            <a:contourClr>
              <a:srgbClr val="FFFFFF"/>
            </a:contourClr>
          </a:sp3d>
          <a:extLst/>
        </p:spPr>
      </p:pic>
      <p:sp>
        <p:nvSpPr>
          <p:cNvPr id="3" name="Rubrik 2"/>
          <p:cNvSpPr>
            <a:spLocks noGrp="1"/>
          </p:cNvSpPr>
          <p:nvPr>
            <p:ph type="title"/>
          </p:nvPr>
        </p:nvSpPr>
        <p:spPr>
          <a:xfrm>
            <a:off x="360000" y="414000"/>
            <a:ext cx="2229817" cy="360000"/>
          </a:xfrm>
        </p:spPr>
        <p:txBody>
          <a:bodyPr/>
          <a:lstStyle/>
          <a:p>
            <a:r>
              <a:rPr lang="sv-SE"/>
              <a:t>AUTOMINE</a:t>
            </a:r>
            <a:r>
              <a:rPr lang="sv-SE" baseline="30000"/>
              <a:t>®</a:t>
            </a:r>
          </a:p>
        </p:txBody>
      </p:sp>
      <p:sp>
        <p:nvSpPr>
          <p:cNvPr id="8" name="Ellips 7"/>
          <p:cNvSpPr/>
          <p:nvPr/>
        </p:nvSpPr>
        <p:spPr>
          <a:xfrm>
            <a:off x="3073557" y="855419"/>
            <a:ext cx="2985077" cy="2985077"/>
          </a:xfrm>
          <a:prstGeom prst="ellipse">
            <a:avLst/>
          </a:prstGeom>
          <a:noFill/>
          <a:ln w="444500">
            <a:solidFill>
              <a:schemeClr val="accent6">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96"/>
            <a:endParaRPr lang="sv-SE">
              <a:solidFill>
                <a:prstClr val="white"/>
              </a:solidFill>
            </a:endParaRPr>
          </a:p>
        </p:txBody>
      </p:sp>
      <p:sp>
        <p:nvSpPr>
          <p:cNvPr id="28" name="textruta 27"/>
          <p:cNvSpPr txBox="1"/>
          <p:nvPr/>
        </p:nvSpPr>
        <p:spPr>
          <a:xfrm>
            <a:off x="3268244" y="890803"/>
            <a:ext cx="2610462" cy="2159158"/>
          </a:xfrm>
          <a:prstGeom prst="rect">
            <a:avLst/>
          </a:prstGeom>
          <a:noFill/>
        </p:spPr>
        <p:txBody>
          <a:bodyPr wrap="none" rtlCol="0">
            <a:prstTxWarp prst="textArchUp">
              <a:avLst>
                <a:gd name="adj" fmla="val 12048986"/>
              </a:avLst>
            </a:prstTxWarp>
            <a:spAutoFit/>
          </a:bodyPr>
          <a:lstStyle/>
          <a:p>
            <a:pPr algn="ctr" defTabSz="914296"/>
            <a:r>
              <a:rPr lang="sv-SE" sz="1700">
                <a:solidFill>
                  <a:srgbClr val="333333"/>
                </a:solidFill>
              </a:rPr>
              <a:t>Automation System</a:t>
            </a:r>
          </a:p>
        </p:txBody>
      </p:sp>
      <p:grpSp>
        <p:nvGrpSpPr>
          <p:cNvPr id="6" name="Grupp 5"/>
          <p:cNvGrpSpPr/>
          <p:nvPr/>
        </p:nvGrpSpPr>
        <p:grpSpPr>
          <a:xfrm>
            <a:off x="6084582" y="992673"/>
            <a:ext cx="2055550" cy="1407567"/>
            <a:chOff x="6084582" y="992673"/>
            <a:chExt cx="2055550" cy="1407567"/>
          </a:xfrm>
        </p:grpSpPr>
        <p:sp>
          <p:nvSpPr>
            <p:cNvPr id="35" name="textruta 34"/>
            <p:cNvSpPr txBox="1"/>
            <p:nvPr/>
          </p:nvSpPr>
          <p:spPr>
            <a:xfrm>
              <a:off x="6084582" y="992673"/>
              <a:ext cx="1508746" cy="338554"/>
            </a:xfrm>
            <a:prstGeom prst="rect">
              <a:avLst/>
            </a:prstGeom>
            <a:noFill/>
          </p:spPr>
          <p:txBody>
            <a:bodyPr wrap="none" rtlCol="0">
              <a:spAutoFit/>
            </a:bodyPr>
            <a:lstStyle/>
            <a:p>
              <a:pPr defTabSz="914296"/>
              <a:r>
                <a:rPr lang="sv-SE" sz="1600" b="1" dirty="0">
                  <a:solidFill>
                    <a:srgbClr val="0099FF"/>
                  </a:solidFill>
                </a:rPr>
                <a:t>Surface Drills</a:t>
              </a:r>
            </a:p>
          </p:txBody>
        </p:sp>
        <p:pic>
          <p:nvPicPr>
            <p:cNvPr id="37" name="Bildobjekt 36"/>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162602" y="1276644"/>
              <a:ext cx="1977530" cy="1123596"/>
            </a:xfrm>
            <a:prstGeom prst="rect">
              <a:avLst/>
            </a:prstGeom>
            <a:effectLst>
              <a:outerShdw blurRad="50800" dist="25400" dir="2700000" algn="tl" rotWithShape="0">
                <a:prstClr val="black">
                  <a:alpha val="40000"/>
                </a:prstClr>
              </a:outerShdw>
            </a:effectLst>
          </p:spPr>
        </p:pic>
        <p:pic>
          <p:nvPicPr>
            <p:cNvPr id="36" name="Picture 9"/>
            <p:cNvPicPr>
              <a:picLocks noChangeAspect="1" noChangeArrowheads="1"/>
            </p:cNvPicPr>
            <p:nvPr/>
          </p:nvPicPr>
          <p:blipFill rotWithShape="1">
            <a:blip r:embed="rId5" cstate="print">
              <a:extLst>
                <a:ext uri="{28A0092B-C50C-407E-A947-70E740481C1C}">
                  <a14:useLocalDpi xmlns:a14="http://schemas.microsoft.com/office/drawing/2010/main"/>
                </a:ext>
              </a:extLst>
            </a:blip>
            <a:srcRect/>
            <a:stretch/>
          </p:blipFill>
          <p:spPr bwMode="auto">
            <a:xfrm>
              <a:off x="6202496" y="1303760"/>
              <a:ext cx="1907159" cy="10677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0" name="Grupp 9"/>
          <p:cNvGrpSpPr/>
          <p:nvPr/>
        </p:nvGrpSpPr>
        <p:grpSpPr>
          <a:xfrm>
            <a:off x="5850322" y="2703303"/>
            <a:ext cx="2053767" cy="1455136"/>
            <a:chOff x="5850322" y="2703303"/>
            <a:chExt cx="2053767" cy="1455136"/>
          </a:xfrm>
        </p:grpSpPr>
        <p:sp>
          <p:nvSpPr>
            <p:cNvPr id="41" name="textruta 40"/>
            <p:cNvSpPr txBox="1"/>
            <p:nvPr/>
          </p:nvSpPr>
          <p:spPr>
            <a:xfrm>
              <a:off x="5850322" y="3819885"/>
              <a:ext cx="2053767" cy="338554"/>
            </a:xfrm>
            <a:prstGeom prst="rect">
              <a:avLst/>
            </a:prstGeom>
            <a:noFill/>
          </p:spPr>
          <p:txBody>
            <a:bodyPr wrap="none" rtlCol="0">
              <a:spAutoFit/>
            </a:bodyPr>
            <a:lstStyle/>
            <a:p>
              <a:pPr defTabSz="914296"/>
              <a:r>
                <a:rPr lang="sv-SE" sz="1600" b="1" dirty="0">
                  <a:solidFill>
                    <a:srgbClr val="0099FF"/>
                  </a:solidFill>
                </a:rPr>
                <a:t>Underground Drills</a:t>
              </a:r>
            </a:p>
          </p:txBody>
        </p:sp>
        <p:pic>
          <p:nvPicPr>
            <p:cNvPr id="44" name="Bildobjekt 43"/>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923434" y="2703303"/>
              <a:ext cx="1977530" cy="1123596"/>
            </a:xfrm>
            <a:prstGeom prst="rect">
              <a:avLst/>
            </a:prstGeom>
            <a:effectLst>
              <a:outerShdw blurRad="50800" dist="25400" dir="2700000" algn="tl" rotWithShape="0">
                <a:prstClr val="black">
                  <a:alpha val="40000"/>
                </a:prstClr>
              </a:outerShdw>
            </a:effectLst>
          </p:spPr>
        </p:pic>
        <p:pic>
          <p:nvPicPr>
            <p:cNvPr id="38" name="Picture 8" descr="http://mining.sandvik.com/SiteCollectionImages/products/drill-bolt/dl421-1.jpg?RenditionID=4"/>
            <p:cNvPicPr>
              <a:picLocks noChangeAspect="1" noChangeArrowheads="1"/>
            </p:cNvPicPr>
            <p:nvPr/>
          </p:nvPicPr>
          <p:blipFill rotWithShape="1">
            <a:blip r:embed="rId6" cstate="print">
              <a:extLst>
                <a:ext uri="{28A0092B-C50C-407E-A947-70E740481C1C}">
                  <a14:useLocalDpi xmlns:a14="http://schemas.microsoft.com/office/drawing/2010/main"/>
                </a:ext>
              </a:extLst>
            </a:blip>
            <a:srcRect/>
            <a:stretch/>
          </p:blipFill>
          <p:spPr bwMode="auto">
            <a:xfrm>
              <a:off x="5966520" y="2732438"/>
              <a:ext cx="1896632" cy="107264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4" name="Grupp 13"/>
          <p:cNvGrpSpPr/>
          <p:nvPr/>
        </p:nvGrpSpPr>
        <p:grpSpPr>
          <a:xfrm>
            <a:off x="906931" y="1011141"/>
            <a:ext cx="2060450" cy="1395973"/>
            <a:chOff x="906931" y="1011141"/>
            <a:chExt cx="2060450" cy="1395973"/>
          </a:xfrm>
        </p:grpSpPr>
        <p:sp>
          <p:nvSpPr>
            <p:cNvPr id="11" name="textruta 10"/>
            <p:cNvSpPr txBox="1"/>
            <p:nvPr/>
          </p:nvSpPr>
          <p:spPr>
            <a:xfrm>
              <a:off x="906931" y="1011141"/>
              <a:ext cx="981359" cy="338554"/>
            </a:xfrm>
            <a:prstGeom prst="rect">
              <a:avLst/>
            </a:prstGeom>
            <a:noFill/>
          </p:spPr>
          <p:txBody>
            <a:bodyPr wrap="none" rtlCol="0">
              <a:spAutoFit/>
            </a:bodyPr>
            <a:lstStyle/>
            <a:p>
              <a:pPr defTabSz="914296"/>
              <a:r>
                <a:rPr lang="sv-SE" sz="1600" b="1" dirty="0">
                  <a:solidFill>
                    <a:srgbClr val="0099FF"/>
                  </a:solidFill>
                </a:rPr>
                <a:t>Loaders</a:t>
              </a:r>
            </a:p>
          </p:txBody>
        </p:sp>
        <p:pic>
          <p:nvPicPr>
            <p:cNvPr id="12" name="Bildobjekt 11"/>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989851" y="1283518"/>
              <a:ext cx="1977530" cy="1123596"/>
            </a:xfrm>
            <a:prstGeom prst="rect">
              <a:avLst/>
            </a:prstGeom>
            <a:effectLst>
              <a:outerShdw blurRad="50800" dist="25400" dir="2700000" algn="tl" rotWithShape="0">
                <a:prstClr val="black">
                  <a:alpha val="40000"/>
                </a:prstClr>
              </a:outerShdw>
            </a:effectLst>
          </p:spPr>
        </p:pic>
        <p:pic>
          <p:nvPicPr>
            <p:cNvPr id="2" name="Bildobjekt 1"/>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1056370" y="1309660"/>
              <a:ext cx="1851944" cy="1062000"/>
            </a:xfrm>
            <a:prstGeom prst="rect">
              <a:avLst/>
            </a:prstGeom>
          </p:spPr>
        </p:pic>
      </p:grpSp>
      <p:grpSp>
        <p:nvGrpSpPr>
          <p:cNvPr id="13" name="Grupp 12"/>
          <p:cNvGrpSpPr/>
          <p:nvPr/>
        </p:nvGrpSpPr>
        <p:grpSpPr>
          <a:xfrm>
            <a:off x="1147800" y="2704299"/>
            <a:ext cx="2060476" cy="1456091"/>
            <a:chOff x="1147800" y="2704299"/>
            <a:chExt cx="2060476" cy="1456091"/>
          </a:xfrm>
        </p:grpSpPr>
        <p:sp>
          <p:nvSpPr>
            <p:cNvPr id="31" name="textruta 30"/>
            <p:cNvSpPr txBox="1"/>
            <p:nvPr/>
          </p:nvSpPr>
          <p:spPr>
            <a:xfrm>
              <a:off x="1147800" y="3821836"/>
              <a:ext cx="844975" cy="338554"/>
            </a:xfrm>
            <a:prstGeom prst="rect">
              <a:avLst/>
            </a:prstGeom>
            <a:noFill/>
          </p:spPr>
          <p:txBody>
            <a:bodyPr wrap="none" rtlCol="0">
              <a:spAutoFit/>
            </a:bodyPr>
            <a:lstStyle/>
            <a:p>
              <a:pPr defTabSz="914296"/>
              <a:r>
                <a:rPr lang="sv-SE" sz="1600" b="1" dirty="0">
                  <a:solidFill>
                    <a:srgbClr val="0099FF"/>
                  </a:solidFill>
                </a:rPr>
                <a:t>Trucks</a:t>
              </a:r>
            </a:p>
          </p:txBody>
        </p:sp>
        <p:pic>
          <p:nvPicPr>
            <p:cNvPr id="32" name="Bildobjekt 31"/>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230746" y="2704299"/>
              <a:ext cx="1977530" cy="1123596"/>
            </a:xfrm>
            <a:prstGeom prst="rect">
              <a:avLst/>
            </a:prstGeom>
            <a:effectLst>
              <a:outerShdw blurRad="50800" dist="25400" dir="2700000" algn="tl" rotWithShape="0">
                <a:prstClr val="black">
                  <a:alpha val="40000"/>
                </a:prstClr>
              </a:outerShdw>
            </a:effectLst>
          </p:spPr>
        </p:pic>
        <p:pic>
          <p:nvPicPr>
            <p:cNvPr id="27" name="Bildobjekt 26"/>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1268565" y="2725271"/>
              <a:ext cx="1904400" cy="1078659"/>
            </a:xfrm>
            <a:prstGeom prst="rect">
              <a:avLst/>
            </a:prstGeom>
          </p:spPr>
        </p:pic>
      </p:grpSp>
      <p:sp>
        <p:nvSpPr>
          <p:cNvPr id="25" name="Slide Number Placeholder 3"/>
          <p:cNvSpPr>
            <a:spLocks noGrp="1"/>
          </p:cNvSpPr>
          <p:nvPr>
            <p:ph type="sldNum" sz="quarter" idx="12"/>
          </p:nvPr>
        </p:nvSpPr>
        <p:spPr>
          <a:xfrm>
            <a:off x="354946" y="4679655"/>
            <a:ext cx="1440000" cy="180000"/>
          </a:xfrm>
        </p:spPr>
        <p:txBody>
          <a:bodyPr/>
          <a:lstStyle/>
          <a:p>
            <a:fld id="{469B62F1-B431-48B6-8270-02431A1685B7}" type="slidenum">
              <a:rPr lang="en-US" smtClean="0"/>
              <a:t>8</a:t>
            </a:fld>
            <a:endParaRPr lang="en-US" dirty="0"/>
          </a:p>
        </p:txBody>
      </p:sp>
    </p:spTree>
    <p:extLst>
      <p:ext uri="{BB962C8B-B14F-4D97-AF65-F5344CB8AC3E}">
        <p14:creationId xmlns:p14="http://schemas.microsoft.com/office/powerpoint/2010/main" val="3899997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500"/>
                                        <p:tgtEl>
                                          <p:spTgt spid="1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6"/>
                                        </p:tgtEl>
                                        <p:attrNameLst>
                                          <p:attrName>style.visibility</p:attrName>
                                        </p:attrNameLst>
                                      </p:cBhvr>
                                      <p:to>
                                        <p:strVal val="visible"/>
                                      </p:to>
                                    </p:set>
                                    <p:animEffect transition="in" filter="fade">
                                      <p:cBhvr>
                                        <p:cTn id="2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5" name="Kuva 114" descr="os_cabinet.png"/>
          <p:cNvPicPr>
            <a:picLocks noChangeAspect="1"/>
          </p:cNvPicPr>
          <p:nvPr/>
        </p:nvPicPr>
        <p:blipFill>
          <a:blip r:embed="rId3" cstate="print"/>
          <a:stretch>
            <a:fillRect/>
          </a:stretch>
        </p:blipFill>
        <p:spPr>
          <a:xfrm>
            <a:off x="395536" y="2031690"/>
            <a:ext cx="2194286" cy="1234286"/>
          </a:xfrm>
          <a:prstGeom prst="rect">
            <a:avLst/>
          </a:prstGeom>
        </p:spPr>
      </p:pic>
      <p:sp>
        <p:nvSpPr>
          <p:cNvPr id="5" name="Rectangle 4"/>
          <p:cNvSpPr/>
          <p:nvPr/>
        </p:nvSpPr>
        <p:spPr>
          <a:xfrm>
            <a:off x="107504" y="987574"/>
            <a:ext cx="2195736" cy="3960440"/>
          </a:xfrm>
          <a:prstGeom prst="rect">
            <a:avLst/>
          </a:prstGeom>
          <a:noFill/>
          <a:ln w="15875">
            <a:solidFill>
              <a:schemeClr val="accent2"/>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00" name="Rectangle 99"/>
          <p:cNvSpPr/>
          <p:nvPr/>
        </p:nvSpPr>
        <p:spPr>
          <a:xfrm>
            <a:off x="7668344" y="4371950"/>
            <a:ext cx="1368152" cy="77155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 name="Title 1"/>
          <p:cNvSpPr>
            <a:spLocks noGrp="1"/>
          </p:cNvSpPr>
          <p:nvPr>
            <p:ph type="title"/>
          </p:nvPr>
        </p:nvSpPr>
        <p:spPr>
          <a:xfrm>
            <a:off x="287992" y="123478"/>
            <a:ext cx="8604488" cy="360000"/>
          </a:xfrm>
        </p:spPr>
        <p:txBody>
          <a:bodyPr/>
          <a:lstStyle/>
          <a:p>
            <a:r>
              <a:rPr lang="fi-FI" dirty="0"/>
              <a:t>AutoMine</a:t>
            </a:r>
            <a:r>
              <a:rPr lang="fi-FI" baseline="30000" dirty="0"/>
              <a:t>™ </a:t>
            </a:r>
            <a:r>
              <a:rPr lang="fi-FI" dirty="0"/>
              <a:t> </a:t>
            </a:r>
            <a:endParaRPr lang="en-AU" dirty="0"/>
          </a:p>
        </p:txBody>
      </p:sp>
      <p:sp>
        <p:nvSpPr>
          <p:cNvPr id="3" name="Text Placeholder 2"/>
          <p:cNvSpPr>
            <a:spLocks noGrp="1"/>
          </p:cNvSpPr>
          <p:nvPr>
            <p:ph type="body" idx="1"/>
          </p:nvPr>
        </p:nvSpPr>
        <p:spPr>
          <a:xfrm>
            <a:off x="-35496" y="1205648"/>
            <a:ext cx="2411760" cy="269664"/>
          </a:xfrm>
        </p:spPr>
        <p:txBody>
          <a:bodyPr/>
          <a:lstStyle/>
          <a:p>
            <a:pPr algn="ctr"/>
            <a:r>
              <a:rPr lang="en-US" sz="1600" dirty="0">
                <a:solidFill>
                  <a:schemeClr val="accent1"/>
                </a:solidFill>
              </a:rPr>
              <a:t>Tele-Remote</a:t>
            </a:r>
          </a:p>
        </p:txBody>
      </p:sp>
      <p:sp>
        <p:nvSpPr>
          <p:cNvPr id="9" name="Text Placeholder 2"/>
          <p:cNvSpPr>
            <a:spLocks noGrp="1"/>
          </p:cNvSpPr>
          <p:nvPr>
            <p:ph type="body" idx="1"/>
          </p:nvPr>
        </p:nvSpPr>
        <p:spPr>
          <a:xfrm>
            <a:off x="2376264" y="1203598"/>
            <a:ext cx="2160240" cy="269664"/>
          </a:xfrm>
        </p:spPr>
        <p:txBody>
          <a:bodyPr/>
          <a:lstStyle/>
          <a:p>
            <a:pPr algn="ctr"/>
            <a:r>
              <a:rPr lang="en-US" sz="1600" dirty="0">
                <a:solidFill>
                  <a:schemeClr val="accent1"/>
                </a:solidFill>
              </a:rPr>
              <a:t>Lite</a:t>
            </a:r>
          </a:p>
        </p:txBody>
      </p:sp>
      <p:sp>
        <p:nvSpPr>
          <p:cNvPr id="11" name="Text Placeholder 2"/>
          <p:cNvSpPr>
            <a:spLocks noGrp="1"/>
          </p:cNvSpPr>
          <p:nvPr>
            <p:ph type="body" idx="1"/>
          </p:nvPr>
        </p:nvSpPr>
        <p:spPr>
          <a:xfrm>
            <a:off x="4536504" y="1203598"/>
            <a:ext cx="2056908" cy="226844"/>
          </a:xfrm>
        </p:spPr>
        <p:txBody>
          <a:bodyPr/>
          <a:lstStyle/>
          <a:p>
            <a:pPr algn="ctr"/>
            <a:r>
              <a:rPr lang="en-US" sz="1600" dirty="0">
                <a:solidFill>
                  <a:schemeClr val="accent1"/>
                </a:solidFill>
              </a:rPr>
              <a:t>MULTi-LITE</a:t>
            </a:r>
          </a:p>
        </p:txBody>
      </p:sp>
      <p:sp>
        <p:nvSpPr>
          <p:cNvPr id="21" name="Text Placeholder 2"/>
          <p:cNvSpPr>
            <a:spLocks noGrp="1"/>
          </p:cNvSpPr>
          <p:nvPr>
            <p:ph type="body" idx="1"/>
          </p:nvPr>
        </p:nvSpPr>
        <p:spPr>
          <a:xfrm>
            <a:off x="6660232" y="1203598"/>
            <a:ext cx="2304256" cy="269664"/>
          </a:xfrm>
        </p:spPr>
        <p:txBody>
          <a:bodyPr/>
          <a:lstStyle/>
          <a:p>
            <a:pPr algn="ctr"/>
            <a:r>
              <a:rPr lang="en-US" sz="1600" dirty="0">
                <a:solidFill>
                  <a:schemeClr val="accent1"/>
                </a:solidFill>
              </a:rPr>
              <a:t>Fleet</a:t>
            </a:r>
          </a:p>
        </p:txBody>
      </p:sp>
      <p:cxnSp>
        <p:nvCxnSpPr>
          <p:cNvPr id="45" name="Suora yhdysviiva 44"/>
          <p:cNvCxnSpPr/>
          <p:nvPr/>
        </p:nvCxnSpPr>
        <p:spPr>
          <a:xfrm>
            <a:off x="2303240" y="1358434"/>
            <a:ext cx="0" cy="3240360"/>
          </a:xfrm>
          <a:prstGeom prst="line">
            <a:avLst/>
          </a:prstGeom>
          <a:ln w="12700">
            <a:solidFill>
              <a:schemeClr val="bg1">
                <a:lumMod val="85000"/>
              </a:schemeClr>
            </a:solidFill>
            <a:prstDash val="sysDot"/>
          </a:ln>
          <a:effectLst/>
        </p:spPr>
        <p:style>
          <a:lnRef idx="3">
            <a:schemeClr val="accent1"/>
          </a:lnRef>
          <a:fillRef idx="0">
            <a:schemeClr val="accent1"/>
          </a:fillRef>
          <a:effectRef idx="2">
            <a:schemeClr val="accent1"/>
          </a:effectRef>
          <a:fontRef idx="minor">
            <a:schemeClr val="tx1"/>
          </a:fontRef>
        </p:style>
      </p:cxnSp>
      <p:cxnSp>
        <p:nvCxnSpPr>
          <p:cNvPr id="46" name="Suora yhdysviiva 45"/>
          <p:cNvCxnSpPr/>
          <p:nvPr/>
        </p:nvCxnSpPr>
        <p:spPr>
          <a:xfrm>
            <a:off x="4463480" y="1358434"/>
            <a:ext cx="0" cy="3240360"/>
          </a:xfrm>
          <a:prstGeom prst="line">
            <a:avLst/>
          </a:prstGeom>
          <a:ln w="12700">
            <a:solidFill>
              <a:schemeClr val="bg1">
                <a:lumMod val="85000"/>
              </a:schemeClr>
            </a:solidFill>
            <a:prstDash val="sysDot"/>
          </a:ln>
          <a:effectLst/>
        </p:spPr>
        <p:style>
          <a:lnRef idx="3">
            <a:schemeClr val="accent1"/>
          </a:lnRef>
          <a:fillRef idx="0">
            <a:schemeClr val="accent1"/>
          </a:fillRef>
          <a:effectRef idx="2">
            <a:schemeClr val="accent1"/>
          </a:effectRef>
          <a:fontRef idx="minor">
            <a:schemeClr val="tx1"/>
          </a:fontRef>
        </p:style>
      </p:cxnSp>
      <p:cxnSp>
        <p:nvCxnSpPr>
          <p:cNvPr id="47" name="Suora yhdysviiva 46"/>
          <p:cNvCxnSpPr/>
          <p:nvPr/>
        </p:nvCxnSpPr>
        <p:spPr>
          <a:xfrm>
            <a:off x="6623720" y="1358434"/>
            <a:ext cx="0" cy="3240360"/>
          </a:xfrm>
          <a:prstGeom prst="line">
            <a:avLst/>
          </a:prstGeom>
          <a:ln w="12700">
            <a:solidFill>
              <a:schemeClr val="bg1">
                <a:lumMod val="85000"/>
              </a:schemeClr>
            </a:solidFill>
            <a:prstDash val="sysDot"/>
          </a:ln>
          <a:effectLst/>
        </p:spPr>
        <p:style>
          <a:lnRef idx="3">
            <a:schemeClr val="accent1"/>
          </a:lnRef>
          <a:fillRef idx="0">
            <a:schemeClr val="accent1"/>
          </a:fillRef>
          <a:effectRef idx="2">
            <a:schemeClr val="accent1"/>
          </a:effectRef>
          <a:fontRef idx="minor">
            <a:schemeClr val="tx1"/>
          </a:fontRef>
        </p:style>
      </p:cxnSp>
      <p:pic>
        <p:nvPicPr>
          <p:cNvPr id="35" name="Picture 4"/>
          <p:cNvPicPr>
            <a:picLocks noChangeAspect="1" noChangeArrowheads="1"/>
          </p:cNvPicPr>
          <p:nvPr/>
        </p:nvPicPr>
        <p:blipFill>
          <a:blip r:embed="rId4" cstate="print"/>
          <a:stretch>
            <a:fillRect/>
          </a:stretch>
        </p:blipFill>
        <p:spPr bwMode="auto">
          <a:xfrm>
            <a:off x="645926" y="1923678"/>
            <a:ext cx="685714" cy="12190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2" name="Kuva 71" descr="arrowbubble-08.png"/>
          <p:cNvPicPr>
            <a:picLocks noChangeAspect="1"/>
          </p:cNvPicPr>
          <p:nvPr/>
        </p:nvPicPr>
        <p:blipFill>
          <a:blip r:embed="rId5" cstate="print"/>
          <a:stretch>
            <a:fillRect/>
          </a:stretch>
        </p:blipFill>
        <p:spPr>
          <a:xfrm>
            <a:off x="2116280" y="2654578"/>
            <a:ext cx="381033" cy="381033"/>
          </a:xfrm>
          <a:prstGeom prst="rect">
            <a:avLst/>
          </a:prstGeom>
        </p:spPr>
      </p:pic>
      <p:pic>
        <p:nvPicPr>
          <p:cNvPr id="73" name="Kuva 72" descr="arrowbubble-08.png"/>
          <p:cNvPicPr>
            <a:picLocks noChangeAspect="1"/>
          </p:cNvPicPr>
          <p:nvPr/>
        </p:nvPicPr>
        <p:blipFill>
          <a:blip r:embed="rId5" cstate="print"/>
          <a:stretch>
            <a:fillRect/>
          </a:stretch>
        </p:blipFill>
        <p:spPr>
          <a:xfrm>
            <a:off x="4276280" y="2654578"/>
            <a:ext cx="381033" cy="381033"/>
          </a:xfrm>
          <a:prstGeom prst="rect">
            <a:avLst/>
          </a:prstGeom>
        </p:spPr>
      </p:pic>
      <p:pic>
        <p:nvPicPr>
          <p:cNvPr id="74" name="Kuva 73" descr="arrowbubble-08.png"/>
          <p:cNvPicPr>
            <a:picLocks noChangeAspect="1"/>
          </p:cNvPicPr>
          <p:nvPr/>
        </p:nvPicPr>
        <p:blipFill>
          <a:blip r:embed="rId5" cstate="print"/>
          <a:stretch>
            <a:fillRect/>
          </a:stretch>
        </p:blipFill>
        <p:spPr>
          <a:xfrm>
            <a:off x="6436280" y="2654578"/>
            <a:ext cx="381033" cy="381033"/>
          </a:xfrm>
          <a:prstGeom prst="rect">
            <a:avLst/>
          </a:prstGeom>
        </p:spPr>
      </p:pic>
      <p:pic>
        <p:nvPicPr>
          <p:cNvPr id="49" name="Kuva 48" descr="kaappi.png"/>
          <p:cNvPicPr>
            <a:picLocks noChangeAspect="1"/>
          </p:cNvPicPr>
          <p:nvPr/>
        </p:nvPicPr>
        <p:blipFill>
          <a:blip r:embed="rId6" cstate="print"/>
          <a:stretch>
            <a:fillRect/>
          </a:stretch>
        </p:blipFill>
        <p:spPr>
          <a:xfrm>
            <a:off x="4788024" y="2612989"/>
            <a:ext cx="1462856" cy="822857"/>
          </a:xfrm>
          <a:prstGeom prst="rect">
            <a:avLst/>
          </a:prstGeom>
        </p:spPr>
      </p:pic>
      <p:grpSp>
        <p:nvGrpSpPr>
          <p:cNvPr id="209" name="Ryhmä 208"/>
          <p:cNvGrpSpPr>
            <a:grpSpLocks noChangeAspect="1"/>
          </p:cNvGrpSpPr>
          <p:nvPr/>
        </p:nvGrpSpPr>
        <p:grpSpPr>
          <a:xfrm>
            <a:off x="430446" y="3446666"/>
            <a:ext cx="1584762" cy="1056509"/>
            <a:chOff x="683568" y="3487243"/>
            <a:chExt cx="1219048" cy="812699"/>
          </a:xfrm>
        </p:grpSpPr>
        <p:grpSp>
          <p:nvGrpSpPr>
            <p:cNvPr id="63" name="Ryhmä 62"/>
            <p:cNvGrpSpPr/>
            <p:nvPr/>
          </p:nvGrpSpPr>
          <p:grpSpPr>
            <a:xfrm>
              <a:off x="683568" y="3487243"/>
              <a:ext cx="1219048" cy="812699"/>
              <a:chOff x="683568" y="3363838"/>
              <a:chExt cx="1219048" cy="812699"/>
            </a:xfrm>
          </p:grpSpPr>
          <p:pic>
            <p:nvPicPr>
              <p:cNvPr id="86" name="Kuva 85" descr="luola2.png"/>
              <p:cNvPicPr>
                <a:picLocks noChangeAspect="1"/>
              </p:cNvPicPr>
              <p:nvPr/>
            </p:nvPicPr>
            <p:blipFill>
              <a:blip r:embed="rId7" cstate="print"/>
              <a:stretch>
                <a:fillRect/>
              </a:stretch>
            </p:blipFill>
            <p:spPr>
              <a:xfrm>
                <a:off x="683568" y="3363838"/>
                <a:ext cx="1219048" cy="812699"/>
              </a:xfrm>
              <a:prstGeom prst="rect">
                <a:avLst/>
              </a:prstGeom>
            </p:spPr>
          </p:pic>
          <p:pic>
            <p:nvPicPr>
              <p:cNvPr id="62" name="Kuva 6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rot="3600000">
                <a:off x="756000" y="3906000"/>
                <a:ext cx="202693" cy="50292"/>
              </a:xfrm>
              <a:prstGeom prst="rect">
                <a:avLst/>
              </a:prstGeom>
            </p:spPr>
          </p:pic>
        </p:grpSp>
        <p:pic>
          <p:nvPicPr>
            <p:cNvPr id="139" name="Kuva 13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rot="19400751">
              <a:off x="1199062" y="3976858"/>
              <a:ext cx="202693" cy="50292"/>
            </a:xfrm>
            <a:prstGeom prst="rect">
              <a:avLst/>
            </a:prstGeom>
          </p:spPr>
        </p:pic>
      </p:grpSp>
      <p:grpSp>
        <p:nvGrpSpPr>
          <p:cNvPr id="210" name="Ryhmä 209"/>
          <p:cNvGrpSpPr>
            <a:grpSpLocks noChangeAspect="1"/>
          </p:cNvGrpSpPr>
          <p:nvPr/>
        </p:nvGrpSpPr>
        <p:grpSpPr>
          <a:xfrm>
            <a:off x="2591272" y="3374658"/>
            <a:ext cx="1584762" cy="1056509"/>
            <a:chOff x="2920904" y="3487243"/>
            <a:chExt cx="1219048" cy="812699"/>
          </a:xfrm>
        </p:grpSpPr>
        <p:grpSp>
          <p:nvGrpSpPr>
            <p:cNvPr id="64" name="Ryhmä 63"/>
            <p:cNvGrpSpPr/>
            <p:nvPr/>
          </p:nvGrpSpPr>
          <p:grpSpPr>
            <a:xfrm>
              <a:off x="2920904" y="3487243"/>
              <a:ext cx="1219048" cy="812699"/>
              <a:chOff x="683568" y="3363838"/>
              <a:chExt cx="1219048" cy="812699"/>
            </a:xfrm>
          </p:grpSpPr>
          <p:pic>
            <p:nvPicPr>
              <p:cNvPr id="65" name="Kuva 64" descr="luola2.png"/>
              <p:cNvPicPr>
                <a:picLocks noChangeAspect="1"/>
              </p:cNvPicPr>
              <p:nvPr/>
            </p:nvPicPr>
            <p:blipFill>
              <a:blip r:embed="rId7" cstate="print"/>
              <a:stretch>
                <a:fillRect/>
              </a:stretch>
            </p:blipFill>
            <p:spPr>
              <a:xfrm>
                <a:off x="683568" y="3363838"/>
                <a:ext cx="1219048" cy="812699"/>
              </a:xfrm>
              <a:prstGeom prst="rect">
                <a:avLst/>
              </a:prstGeom>
            </p:spPr>
          </p:pic>
          <p:pic>
            <p:nvPicPr>
              <p:cNvPr id="66" name="Kuva 6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rot="3600000">
                <a:off x="756000" y="3906000"/>
                <a:ext cx="202693" cy="50292"/>
              </a:xfrm>
              <a:prstGeom prst="rect">
                <a:avLst/>
              </a:prstGeom>
            </p:spPr>
          </p:pic>
        </p:grpSp>
        <p:pic>
          <p:nvPicPr>
            <p:cNvPr id="140" name="Kuva 13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rot="19400751">
              <a:off x="3438232" y="3978096"/>
              <a:ext cx="202693" cy="50292"/>
            </a:xfrm>
            <a:prstGeom prst="rect">
              <a:avLst/>
            </a:prstGeom>
          </p:spPr>
        </p:pic>
      </p:grpSp>
      <p:grpSp>
        <p:nvGrpSpPr>
          <p:cNvPr id="211" name="Ryhmä 210"/>
          <p:cNvGrpSpPr>
            <a:grpSpLocks noChangeAspect="1"/>
          </p:cNvGrpSpPr>
          <p:nvPr/>
        </p:nvGrpSpPr>
        <p:grpSpPr>
          <a:xfrm>
            <a:off x="4463480" y="3363838"/>
            <a:ext cx="2129933" cy="1176250"/>
            <a:chOff x="4788024" y="3483869"/>
            <a:chExt cx="1760275" cy="972107"/>
          </a:xfrm>
        </p:grpSpPr>
        <p:grpSp>
          <p:nvGrpSpPr>
            <p:cNvPr id="94" name="Ryhmä 93"/>
            <p:cNvGrpSpPr>
              <a:grpSpLocks noChangeAspect="1"/>
            </p:cNvGrpSpPr>
            <p:nvPr/>
          </p:nvGrpSpPr>
          <p:grpSpPr>
            <a:xfrm>
              <a:off x="4788024" y="3483869"/>
              <a:ext cx="1760275" cy="972107"/>
              <a:chOff x="3696264" y="1635646"/>
              <a:chExt cx="3911721" cy="2160238"/>
            </a:xfrm>
          </p:grpSpPr>
          <p:grpSp>
            <p:nvGrpSpPr>
              <p:cNvPr id="67" name="Ryhmä 66"/>
              <p:cNvGrpSpPr>
                <a:grpSpLocks noChangeAspect="1"/>
              </p:cNvGrpSpPr>
              <p:nvPr/>
            </p:nvGrpSpPr>
            <p:grpSpPr>
              <a:xfrm>
                <a:off x="3696264" y="1635646"/>
                <a:ext cx="3911721" cy="2160238"/>
                <a:chOff x="4869776" y="3795887"/>
                <a:chExt cx="1564688" cy="864095"/>
              </a:xfrm>
            </p:grpSpPr>
            <p:grpSp>
              <p:nvGrpSpPr>
                <p:cNvPr id="68" name="Ryhmä 87"/>
                <p:cNvGrpSpPr>
                  <a:grpSpLocks noChangeAspect="1"/>
                </p:cNvGrpSpPr>
                <p:nvPr/>
              </p:nvGrpSpPr>
              <p:grpSpPr>
                <a:xfrm>
                  <a:off x="4927383" y="3795887"/>
                  <a:ext cx="1507081" cy="406350"/>
                  <a:chOff x="4346661" y="4227926"/>
                  <a:chExt cx="3014161" cy="812698"/>
                </a:xfrm>
              </p:grpSpPr>
              <p:pic>
                <p:nvPicPr>
                  <p:cNvPr id="81" name="Kuva 80" descr="luola3.png"/>
                  <p:cNvPicPr>
                    <a:picLocks noChangeAspect="1"/>
                  </p:cNvPicPr>
                  <p:nvPr/>
                </p:nvPicPr>
                <p:blipFill>
                  <a:blip r:embed="rId9" cstate="print"/>
                  <a:stretch>
                    <a:fillRect/>
                  </a:stretch>
                </p:blipFill>
                <p:spPr>
                  <a:xfrm>
                    <a:off x="6141774" y="4227926"/>
                    <a:ext cx="1219048" cy="812698"/>
                  </a:xfrm>
                  <a:prstGeom prst="rect">
                    <a:avLst/>
                  </a:prstGeom>
                </p:spPr>
              </p:pic>
              <p:pic>
                <p:nvPicPr>
                  <p:cNvPr id="82" name="Kuva 81" descr="luola2.png"/>
                  <p:cNvPicPr>
                    <a:picLocks noChangeAspect="1"/>
                  </p:cNvPicPr>
                  <p:nvPr/>
                </p:nvPicPr>
                <p:blipFill>
                  <a:blip r:embed="rId10" cstate="print"/>
                  <a:stretch>
                    <a:fillRect/>
                  </a:stretch>
                </p:blipFill>
                <p:spPr>
                  <a:xfrm>
                    <a:off x="4346661" y="4227926"/>
                    <a:ext cx="1219048" cy="812698"/>
                  </a:xfrm>
                  <a:prstGeom prst="rect">
                    <a:avLst/>
                  </a:prstGeom>
                </p:spPr>
              </p:pic>
            </p:grpSp>
            <p:grpSp>
              <p:nvGrpSpPr>
                <p:cNvPr id="69" name="Ryhmä 88"/>
                <p:cNvGrpSpPr>
                  <a:grpSpLocks noChangeAspect="1"/>
                </p:cNvGrpSpPr>
                <p:nvPr/>
              </p:nvGrpSpPr>
              <p:grpSpPr>
                <a:xfrm>
                  <a:off x="4869776" y="4037608"/>
                  <a:ext cx="1564687" cy="622374"/>
                  <a:chOff x="6324768" y="2983186"/>
                  <a:chExt cx="3129374" cy="1244748"/>
                </a:xfrm>
              </p:grpSpPr>
              <p:pic>
                <p:nvPicPr>
                  <p:cNvPr id="70" name="Kuva 69" descr="luola6.png"/>
                  <p:cNvPicPr>
                    <a:picLocks noChangeAspect="1"/>
                  </p:cNvPicPr>
                  <p:nvPr/>
                </p:nvPicPr>
                <p:blipFill>
                  <a:blip r:embed="rId11" cstate="print"/>
                  <a:stretch>
                    <a:fillRect/>
                  </a:stretch>
                </p:blipFill>
                <p:spPr>
                  <a:xfrm>
                    <a:off x="7169376" y="2983186"/>
                    <a:ext cx="1219048" cy="812700"/>
                  </a:xfrm>
                  <a:prstGeom prst="rect">
                    <a:avLst/>
                  </a:prstGeom>
                </p:spPr>
              </p:pic>
              <p:pic>
                <p:nvPicPr>
                  <p:cNvPr id="71" name="Kuva 70" descr="luola4.png"/>
                  <p:cNvPicPr>
                    <a:picLocks noChangeAspect="1"/>
                  </p:cNvPicPr>
                  <p:nvPr/>
                </p:nvPicPr>
                <p:blipFill>
                  <a:blip r:embed="rId12" cstate="print"/>
                  <a:stretch>
                    <a:fillRect/>
                  </a:stretch>
                </p:blipFill>
                <p:spPr>
                  <a:xfrm>
                    <a:off x="6324768" y="3415234"/>
                    <a:ext cx="1219047" cy="812700"/>
                  </a:xfrm>
                  <a:prstGeom prst="rect">
                    <a:avLst/>
                  </a:prstGeom>
                </p:spPr>
              </p:pic>
              <p:pic>
                <p:nvPicPr>
                  <p:cNvPr id="76" name="Kuva 75" descr="luola5.png"/>
                  <p:cNvPicPr>
                    <a:picLocks noChangeAspect="1"/>
                  </p:cNvPicPr>
                  <p:nvPr/>
                </p:nvPicPr>
                <p:blipFill>
                  <a:blip r:embed="rId13" cstate="print"/>
                  <a:stretch>
                    <a:fillRect/>
                  </a:stretch>
                </p:blipFill>
                <p:spPr>
                  <a:xfrm>
                    <a:off x="8235094" y="3415234"/>
                    <a:ext cx="1219048" cy="812700"/>
                  </a:xfrm>
                  <a:prstGeom prst="rect">
                    <a:avLst/>
                  </a:prstGeom>
                </p:spPr>
              </p:pic>
            </p:grpSp>
          </p:grpSp>
          <p:pic>
            <p:nvPicPr>
              <p:cNvPr id="83" name="Kuva 82"/>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rot="3600000">
                <a:off x="3919394" y="2340056"/>
                <a:ext cx="202694" cy="50292"/>
              </a:xfrm>
              <a:prstGeom prst="rect">
                <a:avLst/>
              </a:prstGeom>
            </p:spPr>
          </p:pic>
          <p:pic>
            <p:nvPicPr>
              <p:cNvPr id="87" name="Kuva 86"/>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rot="9152185">
                <a:off x="4537510" y="2255616"/>
                <a:ext cx="202694" cy="50292"/>
              </a:xfrm>
              <a:prstGeom prst="rect">
                <a:avLst/>
              </a:prstGeom>
            </p:spPr>
          </p:pic>
          <p:pic>
            <p:nvPicPr>
              <p:cNvPr id="90" name="Kuva 89"/>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rot="10462235">
                <a:off x="3853610" y="2981608"/>
                <a:ext cx="202694" cy="50292"/>
              </a:xfrm>
              <a:prstGeom prst="rect">
                <a:avLst/>
              </a:prstGeom>
            </p:spPr>
          </p:pic>
          <p:pic>
            <p:nvPicPr>
              <p:cNvPr id="91" name="Kuva 90"/>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rot="10462235">
                <a:off x="5663473" y="3013619"/>
                <a:ext cx="202693" cy="50292"/>
              </a:xfrm>
              <a:prstGeom prst="rect">
                <a:avLst/>
              </a:prstGeom>
            </p:spPr>
          </p:pic>
          <p:pic>
            <p:nvPicPr>
              <p:cNvPr id="92" name="Kuva 91"/>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rot="13450072">
                <a:off x="7008727" y="3013620"/>
                <a:ext cx="202694" cy="50292"/>
              </a:xfrm>
              <a:prstGeom prst="rect">
                <a:avLst/>
              </a:prstGeom>
            </p:spPr>
          </p:pic>
          <p:pic>
            <p:nvPicPr>
              <p:cNvPr id="93" name="Kuva 92"/>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rot="13450072">
                <a:off x="7008728" y="1843168"/>
                <a:ext cx="202694" cy="50292"/>
              </a:xfrm>
              <a:prstGeom prst="rect">
                <a:avLst/>
              </a:prstGeom>
            </p:spPr>
          </p:pic>
        </p:grpSp>
        <p:pic>
          <p:nvPicPr>
            <p:cNvPr id="205" name="Kuva 204"/>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rot="12302775">
              <a:off x="5472000" y="4075200"/>
              <a:ext cx="91212" cy="22631"/>
            </a:xfrm>
            <a:prstGeom prst="rect">
              <a:avLst/>
            </a:prstGeom>
          </p:spPr>
        </p:pic>
      </p:grpSp>
      <p:sp>
        <p:nvSpPr>
          <p:cNvPr id="206" name="TextBox 12"/>
          <p:cNvSpPr txBox="1"/>
          <p:nvPr/>
        </p:nvSpPr>
        <p:spPr>
          <a:xfrm flipH="1">
            <a:off x="215007" y="4681250"/>
            <a:ext cx="2016224" cy="194756"/>
          </a:xfrm>
          <a:prstGeom prst="roundRect">
            <a:avLst>
              <a:gd name="adj" fmla="val 50000"/>
            </a:avLst>
          </a:prstGeom>
          <a:solidFill>
            <a:schemeClr val="tx2"/>
          </a:solidFill>
        </p:spPr>
        <p:txBody>
          <a:bodyPr wrap="square" lIns="0" tIns="0" rIns="0" bIns="0" rtlCol="0" anchor="ctr">
            <a:spAutoFit/>
          </a:bodyPr>
          <a:lstStyle/>
          <a:p>
            <a:pPr algn="ctr"/>
            <a:r>
              <a:rPr lang="fi-FI" sz="900" b="1" dirty="0">
                <a:solidFill>
                  <a:schemeClr val="bg1"/>
                </a:solidFill>
              </a:rPr>
              <a:t>Minimized Onboard Package </a:t>
            </a:r>
          </a:p>
        </p:txBody>
      </p:sp>
      <p:sp>
        <p:nvSpPr>
          <p:cNvPr id="207" name="TextBox 211"/>
          <p:cNvSpPr txBox="1"/>
          <p:nvPr/>
        </p:nvSpPr>
        <p:spPr>
          <a:xfrm flipH="1">
            <a:off x="2375248" y="4681250"/>
            <a:ext cx="6480720" cy="194756"/>
          </a:xfrm>
          <a:prstGeom prst="roundRect">
            <a:avLst>
              <a:gd name="adj" fmla="val 50000"/>
            </a:avLst>
          </a:prstGeom>
          <a:solidFill>
            <a:schemeClr val="tx2"/>
          </a:solidFill>
        </p:spPr>
        <p:txBody>
          <a:bodyPr wrap="square" lIns="0" tIns="0" rIns="0" bIns="0" rtlCol="0" anchor="ctr">
            <a:spAutoFit/>
          </a:bodyPr>
          <a:lstStyle/>
          <a:p>
            <a:pPr algn="ctr"/>
            <a:r>
              <a:rPr lang="fi-FI" sz="900" b="1" dirty="0">
                <a:solidFill>
                  <a:schemeClr val="bg1"/>
                </a:solidFill>
              </a:rPr>
              <a:t>Full Onboard Automation Package </a:t>
            </a:r>
          </a:p>
        </p:txBody>
      </p:sp>
      <p:pic>
        <p:nvPicPr>
          <p:cNvPr id="242" name="Kuva 241" descr="kaappi.png"/>
          <p:cNvPicPr>
            <a:picLocks noChangeAspect="1"/>
          </p:cNvPicPr>
          <p:nvPr/>
        </p:nvPicPr>
        <p:blipFill>
          <a:blip r:embed="rId15" cstate="print"/>
          <a:stretch>
            <a:fillRect/>
          </a:stretch>
        </p:blipFill>
        <p:spPr>
          <a:xfrm>
            <a:off x="7812360" y="1923678"/>
            <a:ext cx="975238" cy="548571"/>
          </a:xfrm>
          <a:prstGeom prst="rect">
            <a:avLst/>
          </a:prstGeom>
        </p:spPr>
      </p:pic>
      <p:grpSp>
        <p:nvGrpSpPr>
          <p:cNvPr id="4" name="Group 3"/>
          <p:cNvGrpSpPr>
            <a:grpSpLocks noChangeAspect="1"/>
          </p:cNvGrpSpPr>
          <p:nvPr/>
        </p:nvGrpSpPr>
        <p:grpSpPr>
          <a:xfrm>
            <a:off x="6804248" y="3507854"/>
            <a:ext cx="1211183" cy="898367"/>
            <a:chOff x="6897959" y="2754067"/>
            <a:chExt cx="1922513" cy="1425980"/>
          </a:xfrm>
        </p:grpSpPr>
        <p:grpSp>
          <p:nvGrpSpPr>
            <p:cNvPr id="241" name="Ryhmä 240"/>
            <p:cNvGrpSpPr>
              <a:grpSpLocks noChangeAspect="1"/>
            </p:cNvGrpSpPr>
            <p:nvPr/>
          </p:nvGrpSpPr>
          <p:grpSpPr>
            <a:xfrm>
              <a:off x="6897959" y="2754067"/>
              <a:ext cx="1922513" cy="1425980"/>
              <a:chOff x="1691680" y="4803998"/>
              <a:chExt cx="2773450" cy="2057143"/>
            </a:xfrm>
          </p:grpSpPr>
          <p:grpSp>
            <p:nvGrpSpPr>
              <p:cNvPr id="238" name="Ryhmä 237"/>
              <p:cNvGrpSpPr/>
              <p:nvPr/>
            </p:nvGrpSpPr>
            <p:grpSpPr>
              <a:xfrm>
                <a:off x="1691680" y="4803998"/>
                <a:ext cx="2773450" cy="2057143"/>
                <a:chOff x="1331640" y="5092030"/>
                <a:chExt cx="2773450" cy="2057143"/>
              </a:xfrm>
            </p:grpSpPr>
            <p:pic>
              <p:nvPicPr>
                <p:cNvPr id="141" name="Kuva 140" descr="4.luola.png"/>
                <p:cNvPicPr>
                  <a:picLocks noChangeAspect="1"/>
                </p:cNvPicPr>
                <p:nvPr/>
              </p:nvPicPr>
              <p:blipFill>
                <a:blip r:embed="rId16" cstate="print"/>
                <a:stretch>
                  <a:fillRect/>
                </a:stretch>
              </p:blipFill>
              <p:spPr>
                <a:xfrm>
                  <a:off x="1331640" y="5092030"/>
                  <a:ext cx="2741321" cy="2057143"/>
                </a:xfrm>
                <a:prstGeom prst="rect">
                  <a:avLst/>
                </a:prstGeom>
              </p:spPr>
            </p:pic>
            <p:pic>
              <p:nvPicPr>
                <p:cNvPr id="144" name="Kuva 143"/>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rot="10059413">
                  <a:off x="1998000" y="6854821"/>
                  <a:ext cx="145090" cy="36000"/>
                </a:xfrm>
                <a:prstGeom prst="rect">
                  <a:avLst/>
                </a:prstGeom>
              </p:spPr>
            </p:pic>
            <p:pic>
              <p:nvPicPr>
                <p:cNvPr id="208" name="Kuva 207"/>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rot="10059413">
                  <a:off x="2214000" y="6803984"/>
                  <a:ext cx="145090" cy="36000"/>
                </a:xfrm>
                <a:prstGeom prst="rect">
                  <a:avLst/>
                </a:prstGeom>
              </p:spPr>
            </p:pic>
            <p:pic>
              <p:nvPicPr>
                <p:cNvPr id="212" name="Kuva 211"/>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rot="10059413">
                  <a:off x="2413931" y="6763306"/>
                  <a:ext cx="145090" cy="36000"/>
                </a:xfrm>
                <a:prstGeom prst="rect">
                  <a:avLst/>
                </a:prstGeom>
              </p:spPr>
            </p:pic>
            <p:pic>
              <p:nvPicPr>
                <p:cNvPr id="213" name="Kuva 212"/>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rot="9960000">
                  <a:off x="2624539" y="6713984"/>
                  <a:ext cx="145090" cy="36000"/>
                </a:xfrm>
                <a:prstGeom prst="rect">
                  <a:avLst/>
                </a:prstGeom>
              </p:spPr>
            </p:pic>
            <p:pic>
              <p:nvPicPr>
                <p:cNvPr id="214" name="Kuva 213"/>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rot="9900000">
                  <a:off x="2845979" y="6659984"/>
                  <a:ext cx="145090" cy="36000"/>
                </a:xfrm>
                <a:prstGeom prst="rect">
                  <a:avLst/>
                </a:prstGeom>
              </p:spPr>
            </p:pic>
            <p:pic>
              <p:nvPicPr>
                <p:cNvPr id="215" name="Kuva 214"/>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rot="9840000">
                  <a:off x="3042000" y="6591584"/>
                  <a:ext cx="145090" cy="36000"/>
                </a:xfrm>
                <a:prstGeom prst="rect">
                  <a:avLst/>
                </a:prstGeom>
              </p:spPr>
            </p:pic>
            <p:pic>
              <p:nvPicPr>
                <p:cNvPr id="216" name="Kuva 215"/>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rot="9780000">
                  <a:off x="3240000" y="6551984"/>
                  <a:ext cx="145090" cy="36000"/>
                </a:xfrm>
                <a:prstGeom prst="rect">
                  <a:avLst/>
                </a:prstGeom>
              </p:spPr>
            </p:pic>
            <p:pic>
              <p:nvPicPr>
                <p:cNvPr id="217" name="Kuva 216"/>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rot="9960000">
                  <a:off x="3438000" y="6479984"/>
                  <a:ext cx="145090" cy="36000"/>
                </a:xfrm>
                <a:prstGeom prst="rect">
                  <a:avLst/>
                </a:prstGeom>
              </p:spPr>
            </p:pic>
            <p:pic>
              <p:nvPicPr>
                <p:cNvPr id="218" name="Kuva 217"/>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rot="9900000">
                  <a:off x="3636000" y="6425984"/>
                  <a:ext cx="145090" cy="36000"/>
                </a:xfrm>
                <a:prstGeom prst="rect">
                  <a:avLst/>
                </a:prstGeom>
              </p:spPr>
            </p:pic>
            <p:pic>
              <p:nvPicPr>
                <p:cNvPr id="219" name="Kuva 218"/>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rot="9780000">
                  <a:off x="3834000" y="6371984"/>
                  <a:ext cx="145090" cy="36000"/>
                </a:xfrm>
                <a:prstGeom prst="rect">
                  <a:avLst/>
                </a:prstGeom>
              </p:spPr>
            </p:pic>
            <p:pic>
              <p:nvPicPr>
                <p:cNvPr id="220" name="Kuva 219"/>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rot="10680000">
                  <a:off x="1728000" y="5723984"/>
                  <a:ext cx="145090" cy="36000"/>
                </a:xfrm>
                <a:prstGeom prst="rect">
                  <a:avLst/>
                </a:prstGeom>
              </p:spPr>
            </p:pic>
            <p:pic>
              <p:nvPicPr>
                <p:cNvPr id="221" name="Kuva 220"/>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rot="10560000">
                  <a:off x="1904459" y="5705984"/>
                  <a:ext cx="145090" cy="36000"/>
                </a:xfrm>
                <a:prstGeom prst="rect">
                  <a:avLst/>
                </a:prstGeom>
              </p:spPr>
            </p:pic>
            <p:pic>
              <p:nvPicPr>
                <p:cNvPr id="222" name="Kuva 221"/>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rot="10059413">
                  <a:off x="2052000" y="5680784"/>
                  <a:ext cx="145090" cy="36000"/>
                </a:xfrm>
                <a:prstGeom prst="rect">
                  <a:avLst/>
                </a:prstGeom>
              </p:spPr>
            </p:pic>
            <p:pic>
              <p:nvPicPr>
                <p:cNvPr id="223" name="Kuva 222"/>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rot="9420000">
                  <a:off x="2221200" y="5615984"/>
                  <a:ext cx="145090" cy="36000"/>
                </a:xfrm>
                <a:prstGeom prst="rect">
                  <a:avLst/>
                </a:prstGeom>
              </p:spPr>
            </p:pic>
            <p:pic>
              <p:nvPicPr>
                <p:cNvPr id="224" name="Kuva 223"/>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rot="9000000">
                  <a:off x="2376000" y="5561984"/>
                  <a:ext cx="145090" cy="36000"/>
                </a:xfrm>
                <a:prstGeom prst="rect">
                  <a:avLst/>
                </a:prstGeom>
              </p:spPr>
            </p:pic>
            <p:pic>
              <p:nvPicPr>
                <p:cNvPr id="225" name="Kuva 224"/>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rot="10200000">
                  <a:off x="2696713" y="5476070"/>
                  <a:ext cx="145090" cy="36000"/>
                </a:xfrm>
                <a:prstGeom prst="rect">
                  <a:avLst/>
                </a:prstGeom>
              </p:spPr>
            </p:pic>
            <p:pic>
              <p:nvPicPr>
                <p:cNvPr id="226" name="Kuva 225"/>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rot="10080000">
                  <a:off x="2894713" y="5436470"/>
                  <a:ext cx="145090" cy="36000"/>
                </a:xfrm>
                <a:prstGeom prst="rect">
                  <a:avLst/>
                </a:prstGeom>
              </p:spPr>
            </p:pic>
            <p:pic>
              <p:nvPicPr>
                <p:cNvPr id="227" name="Kuva 226"/>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rot="9960000">
                  <a:off x="3056558" y="5399054"/>
                  <a:ext cx="145090" cy="36000"/>
                </a:xfrm>
                <a:prstGeom prst="rect">
                  <a:avLst/>
                </a:prstGeom>
              </p:spPr>
            </p:pic>
            <p:pic>
              <p:nvPicPr>
                <p:cNvPr id="228" name="Kuva 227"/>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rot="9900000">
                  <a:off x="3204000" y="5363984"/>
                  <a:ext cx="145090" cy="36000"/>
                </a:xfrm>
                <a:prstGeom prst="rect">
                  <a:avLst/>
                </a:prstGeom>
              </p:spPr>
            </p:pic>
            <p:pic>
              <p:nvPicPr>
                <p:cNvPr id="229" name="Kuva 228"/>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rot="9780000">
                  <a:off x="3349957" y="5323638"/>
                  <a:ext cx="145090" cy="36000"/>
                </a:xfrm>
                <a:prstGeom prst="rect">
                  <a:avLst/>
                </a:prstGeom>
              </p:spPr>
            </p:pic>
            <p:pic>
              <p:nvPicPr>
                <p:cNvPr id="230" name="Kuva 229"/>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rot="10059413">
                  <a:off x="2520000" y="7057162"/>
                  <a:ext cx="145090" cy="36000"/>
                </a:xfrm>
                <a:prstGeom prst="rect">
                  <a:avLst/>
                </a:prstGeom>
              </p:spPr>
            </p:pic>
            <p:pic>
              <p:nvPicPr>
                <p:cNvPr id="231" name="Kuva 230"/>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rot="10059413">
                  <a:off x="3542400" y="6769130"/>
                  <a:ext cx="145090" cy="36000"/>
                </a:xfrm>
                <a:prstGeom prst="rect">
                  <a:avLst/>
                </a:prstGeom>
              </p:spPr>
            </p:pic>
            <p:pic>
              <p:nvPicPr>
                <p:cNvPr id="232" name="Kuva 231"/>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rot="14629516">
                  <a:off x="1595281" y="5723140"/>
                  <a:ext cx="145090" cy="36000"/>
                </a:xfrm>
                <a:prstGeom prst="rect">
                  <a:avLst/>
                </a:prstGeom>
              </p:spPr>
            </p:pic>
            <p:pic>
              <p:nvPicPr>
                <p:cNvPr id="233" name="Kuva 232"/>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rot="17377129">
                  <a:off x="1883313" y="6911984"/>
                  <a:ext cx="145090" cy="36000"/>
                </a:xfrm>
                <a:prstGeom prst="rect">
                  <a:avLst/>
                </a:prstGeom>
              </p:spPr>
            </p:pic>
            <p:pic>
              <p:nvPicPr>
                <p:cNvPr id="234" name="Kuva 233"/>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rot="13440000">
                  <a:off x="3960000" y="6335984"/>
                  <a:ext cx="145090" cy="36000"/>
                </a:xfrm>
                <a:prstGeom prst="rect">
                  <a:avLst/>
                </a:prstGeom>
              </p:spPr>
            </p:pic>
            <p:pic>
              <p:nvPicPr>
                <p:cNvPr id="235" name="Kuva 234"/>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rot="14629516">
                  <a:off x="3420000" y="5255984"/>
                  <a:ext cx="145090" cy="36000"/>
                </a:xfrm>
                <a:prstGeom prst="rect">
                  <a:avLst/>
                </a:prstGeom>
              </p:spPr>
            </p:pic>
            <p:pic>
              <p:nvPicPr>
                <p:cNvPr id="236" name="Kuva 235"/>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rot="15601420">
                  <a:off x="2531386" y="5435108"/>
                  <a:ext cx="145090" cy="36000"/>
                </a:xfrm>
                <a:prstGeom prst="rect">
                  <a:avLst/>
                </a:prstGeom>
              </p:spPr>
            </p:pic>
            <p:pic>
              <p:nvPicPr>
                <p:cNvPr id="237" name="Kuva 236"/>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rot="15285098">
                  <a:off x="2970000" y="6695984"/>
                  <a:ext cx="145090" cy="36000"/>
                </a:xfrm>
                <a:prstGeom prst="rect">
                  <a:avLst/>
                </a:prstGeom>
              </p:spPr>
            </p:pic>
          </p:grpSp>
          <p:pic>
            <p:nvPicPr>
              <p:cNvPr id="239" name="Kuva 238"/>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2339768" y="5092045"/>
                <a:ext cx="144001" cy="144001"/>
              </a:xfrm>
              <a:prstGeom prst="rect">
                <a:avLst/>
              </a:prstGeom>
            </p:spPr>
          </p:pic>
          <p:pic>
            <p:nvPicPr>
              <p:cNvPr id="240" name="Kuva 239"/>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3347880" y="4876022"/>
                <a:ext cx="144000" cy="144000"/>
              </a:xfrm>
              <a:prstGeom prst="rect">
                <a:avLst/>
              </a:prstGeom>
            </p:spPr>
          </p:pic>
        </p:grpSp>
        <p:pic>
          <p:nvPicPr>
            <p:cNvPr id="95" name="Kuva 229"/>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rot="10059413">
              <a:off x="7679942" y="4015630"/>
              <a:ext cx="100574" cy="24955"/>
            </a:xfrm>
            <a:prstGeom prst="rect">
              <a:avLst/>
            </a:prstGeom>
          </p:spPr>
        </p:pic>
        <p:pic>
          <p:nvPicPr>
            <p:cNvPr id="96" name="Kuva 229"/>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rot="10059413">
              <a:off x="8397765" y="3820251"/>
              <a:ext cx="100574" cy="24955"/>
            </a:xfrm>
            <a:prstGeom prst="rect">
              <a:avLst/>
            </a:prstGeom>
          </p:spPr>
        </p:pic>
      </p:grpSp>
      <p:sp>
        <p:nvSpPr>
          <p:cNvPr id="108" name="Content Placeholder 2"/>
          <p:cNvSpPr>
            <a:spLocks noGrp="1"/>
          </p:cNvSpPr>
          <p:nvPr>
            <p:ph idx="1"/>
          </p:nvPr>
        </p:nvSpPr>
        <p:spPr>
          <a:xfrm>
            <a:off x="311667" y="1491630"/>
            <a:ext cx="1741069" cy="288032"/>
          </a:xfrm>
        </p:spPr>
        <p:txBody>
          <a:bodyPr anchor="ctr"/>
          <a:lstStyle/>
          <a:p>
            <a:pPr algn="ctr">
              <a:spcAft>
                <a:spcPts val="0"/>
              </a:spcAft>
            </a:pPr>
            <a:r>
              <a:rPr lang="fi-FI" sz="1200" dirty="0">
                <a:solidFill>
                  <a:schemeClr val="tx1"/>
                </a:solidFill>
              </a:rPr>
              <a:t>S</a:t>
            </a:r>
            <a:r>
              <a:rPr lang="fi-FI" sz="1200" cap="none" dirty="0">
                <a:solidFill>
                  <a:schemeClr val="tx1"/>
                </a:solidFill>
              </a:rPr>
              <a:t>ingle-machine </a:t>
            </a:r>
          </a:p>
          <a:p>
            <a:pPr algn="ctr">
              <a:spcAft>
                <a:spcPts val="0"/>
              </a:spcAft>
            </a:pPr>
            <a:r>
              <a:rPr lang="fi-FI" sz="1200" cap="none" dirty="0">
                <a:solidFill>
                  <a:schemeClr val="tx1"/>
                </a:solidFill>
              </a:rPr>
              <a:t>Smart Teleoperation</a:t>
            </a:r>
            <a:endParaRPr lang="fi-FI" sz="1200" dirty="0">
              <a:solidFill>
                <a:schemeClr val="tx1"/>
              </a:solidFill>
            </a:endParaRPr>
          </a:p>
        </p:txBody>
      </p:sp>
      <p:sp>
        <p:nvSpPr>
          <p:cNvPr id="109" name="Content Placeholder 2"/>
          <p:cNvSpPr>
            <a:spLocks noGrp="1"/>
          </p:cNvSpPr>
          <p:nvPr>
            <p:ph idx="1"/>
          </p:nvPr>
        </p:nvSpPr>
        <p:spPr>
          <a:xfrm>
            <a:off x="2379820" y="1491630"/>
            <a:ext cx="2160000" cy="288032"/>
          </a:xfrm>
        </p:spPr>
        <p:txBody>
          <a:bodyPr anchor="ctr"/>
          <a:lstStyle/>
          <a:p>
            <a:pPr algn="ctr">
              <a:spcAft>
                <a:spcPts val="0"/>
              </a:spcAft>
            </a:pPr>
            <a:r>
              <a:rPr lang="fi-FI" sz="1200" dirty="0">
                <a:solidFill>
                  <a:schemeClr val="tx1"/>
                </a:solidFill>
              </a:rPr>
              <a:t>S</a:t>
            </a:r>
            <a:r>
              <a:rPr lang="fi-FI" sz="1200" cap="none" dirty="0">
                <a:solidFill>
                  <a:schemeClr val="tx1"/>
                </a:solidFill>
              </a:rPr>
              <a:t>ingle-machine</a:t>
            </a:r>
          </a:p>
          <a:p>
            <a:pPr algn="ctr">
              <a:spcAft>
                <a:spcPts val="0"/>
              </a:spcAft>
            </a:pPr>
            <a:r>
              <a:rPr lang="fi-FI" sz="1200" cap="none" dirty="0">
                <a:solidFill>
                  <a:schemeClr val="tx1"/>
                </a:solidFill>
              </a:rPr>
              <a:t>Automation</a:t>
            </a:r>
            <a:endParaRPr lang="fi-FI" sz="1200" dirty="0">
              <a:solidFill>
                <a:schemeClr val="tx1"/>
              </a:solidFill>
            </a:endParaRPr>
          </a:p>
        </p:txBody>
      </p:sp>
      <p:sp>
        <p:nvSpPr>
          <p:cNvPr id="110" name="Content Placeholder 2"/>
          <p:cNvSpPr>
            <a:spLocks noGrp="1"/>
          </p:cNvSpPr>
          <p:nvPr>
            <p:ph idx="1"/>
          </p:nvPr>
        </p:nvSpPr>
        <p:spPr>
          <a:xfrm>
            <a:off x="4633161" y="1491630"/>
            <a:ext cx="1946824" cy="278030"/>
          </a:xfrm>
        </p:spPr>
        <p:txBody>
          <a:bodyPr anchor="ctr"/>
          <a:lstStyle/>
          <a:p>
            <a:pPr algn="ctr">
              <a:spcAft>
                <a:spcPts val="0"/>
              </a:spcAft>
            </a:pPr>
            <a:r>
              <a:rPr lang="fi-FI" sz="1200" cap="none" dirty="0">
                <a:solidFill>
                  <a:schemeClr val="tx1"/>
                </a:solidFill>
              </a:rPr>
              <a:t>Multi-machine</a:t>
            </a:r>
          </a:p>
          <a:p>
            <a:pPr algn="ctr">
              <a:spcAft>
                <a:spcPts val="0"/>
              </a:spcAft>
            </a:pPr>
            <a:r>
              <a:rPr lang="fi-FI" sz="1200" cap="none" dirty="0">
                <a:solidFill>
                  <a:schemeClr val="tx1"/>
                </a:solidFill>
              </a:rPr>
              <a:t>Automation</a:t>
            </a:r>
          </a:p>
        </p:txBody>
      </p:sp>
      <p:sp>
        <p:nvSpPr>
          <p:cNvPr id="111" name="Content Placeholder 2"/>
          <p:cNvSpPr>
            <a:spLocks noGrp="1"/>
          </p:cNvSpPr>
          <p:nvPr>
            <p:ph idx="1"/>
          </p:nvPr>
        </p:nvSpPr>
        <p:spPr>
          <a:xfrm>
            <a:off x="6732240" y="1491630"/>
            <a:ext cx="2232248" cy="288032"/>
          </a:xfrm>
        </p:spPr>
        <p:txBody>
          <a:bodyPr anchor="ctr"/>
          <a:lstStyle/>
          <a:p>
            <a:pPr algn="ctr">
              <a:spcAft>
                <a:spcPts val="0"/>
              </a:spcAft>
            </a:pPr>
            <a:r>
              <a:rPr lang="fi-FI" sz="1200" cap="none" dirty="0">
                <a:solidFill>
                  <a:schemeClr val="tx1"/>
                </a:solidFill>
              </a:rPr>
              <a:t>Multi-machine Automation with Fleet Traffic Control</a:t>
            </a:r>
          </a:p>
        </p:txBody>
      </p:sp>
      <p:sp>
        <p:nvSpPr>
          <p:cNvPr id="112" name="Text Placeholder 2"/>
          <p:cNvSpPr>
            <a:spLocks noGrp="1"/>
          </p:cNvSpPr>
          <p:nvPr>
            <p:ph type="body" idx="1"/>
          </p:nvPr>
        </p:nvSpPr>
        <p:spPr>
          <a:xfrm>
            <a:off x="288031" y="555526"/>
            <a:ext cx="6338765" cy="288032"/>
          </a:xfrm>
        </p:spPr>
        <p:txBody>
          <a:bodyPr/>
          <a:lstStyle/>
          <a:p>
            <a:r>
              <a:rPr lang="en-US" dirty="0"/>
              <a:t>For Underground Loaders &amp; Trucks</a:t>
            </a:r>
          </a:p>
        </p:txBody>
      </p:sp>
      <p:grpSp>
        <p:nvGrpSpPr>
          <p:cNvPr id="116" name="Ryhmä 115"/>
          <p:cNvGrpSpPr/>
          <p:nvPr/>
        </p:nvGrpSpPr>
        <p:grpSpPr>
          <a:xfrm>
            <a:off x="2675897" y="1779662"/>
            <a:ext cx="2290189" cy="1462856"/>
            <a:chOff x="2675897" y="1779662"/>
            <a:chExt cx="2290189" cy="1462856"/>
          </a:xfrm>
        </p:grpSpPr>
        <p:pic>
          <p:nvPicPr>
            <p:cNvPr id="107" name="Kuva 106" descr="os_cabinet.png"/>
            <p:cNvPicPr>
              <a:picLocks noChangeAspect="1"/>
            </p:cNvPicPr>
            <p:nvPr/>
          </p:nvPicPr>
          <p:blipFill>
            <a:blip r:embed="rId3" cstate="print"/>
            <a:stretch>
              <a:fillRect/>
            </a:stretch>
          </p:blipFill>
          <p:spPr>
            <a:xfrm>
              <a:off x="2771800" y="1995686"/>
              <a:ext cx="2194286" cy="1234286"/>
            </a:xfrm>
            <a:prstGeom prst="rect">
              <a:avLst/>
            </a:prstGeom>
          </p:spPr>
        </p:pic>
        <p:pic>
          <p:nvPicPr>
            <p:cNvPr id="106" name="Kuva 105" descr="tuoli_joystick.png"/>
            <p:cNvPicPr>
              <a:picLocks noChangeAspect="1"/>
            </p:cNvPicPr>
            <p:nvPr/>
          </p:nvPicPr>
          <p:blipFill>
            <a:blip r:embed="rId19" cstate="print"/>
            <a:stretch>
              <a:fillRect/>
            </a:stretch>
          </p:blipFill>
          <p:spPr>
            <a:xfrm flipH="1">
              <a:off x="2675897" y="1779662"/>
              <a:ext cx="822857" cy="1462856"/>
            </a:xfrm>
            <a:prstGeom prst="rect">
              <a:avLst/>
            </a:prstGeom>
          </p:spPr>
        </p:pic>
      </p:grpSp>
      <p:grpSp>
        <p:nvGrpSpPr>
          <p:cNvPr id="117" name="Ryhmä 116"/>
          <p:cNvGrpSpPr>
            <a:grpSpLocks noChangeAspect="1"/>
          </p:cNvGrpSpPr>
          <p:nvPr/>
        </p:nvGrpSpPr>
        <p:grpSpPr>
          <a:xfrm>
            <a:off x="4788024" y="1815742"/>
            <a:ext cx="1097143" cy="714317"/>
            <a:chOff x="2771800" y="1801339"/>
            <a:chExt cx="2194286" cy="1428633"/>
          </a:xfrm>
        </p:grpSpPr>
        <p:pic>
          <p:nvPicPr>
            <p:cNvPr id="118" name="Kuva 117" descr="os_cabinet.png"/>
            <p:cNvPicPr>
              <a:picLocks noChangeAspect="1"/>
            </p:cNvPicPr>
            <p:nvPr/>
          </p:nvPicPr>
          <p:blipFill>
            <a:blip r:embed="rId3" cstate="print"/>
            <a:stretch>
              <a:fillRect/>
            </a:stretch>
          </p:blipFill>
          <p:spPr>
            <a:xfrm>
              <a:off x="2771800" y="1995686"/>
              <a:ext cx="2194286" cy="1234286"/>
            </a:xfrm>
            <a:prstGeom prst="rect">
              <a:avLst/>
            </a:prstGeom>
          </p:spPr>
        </p:pic>
        <p:pic>
          <p:nvPicPr>
            <p:cNvPr id="119" name="Kuva 118" descr="tuoli_joystick.png"/>
            <p:cNvPicPr>
              <a:picLocks noChangeAspect="1"/>
            </p:cNvPicPr>
            <p:nvPr/>
          </p:nvPicPr>
          <p:blipFill>
            <a:blip r:embed="rId20" cstate="print"/>
            <a:stretch>
              <a:fillRect/>
            </a:stretch>
          </p:blipFill>
          <p:spPr>
            <a:xfrm flipH="1">
              <a:off x="2819912" y="1801339"/>
              <a:ext cx="769500" cy="1367999"/>
            </a:xfrm>
            <a:prstGeom prst="rect">
              <a:avLst/>
            </a:prstGeom>
          </p:spPr>
        </p:pic>
      </p:grpSp>
      <p:pic>
        <p:nvPicPr>
          <p:cNvPr id="125" name="Kuva 124" descr="tuoli_joystick.png"/>
          <p:cNvPicPr>
            <a:picLocks noChangeAspect="1"/>
          </p:cNvPicPr>
          <p:nvPr/>
        </p:nvPicPr>
        <p:blipFill>
          <a:blip r:embed="rId21" cstate="print"/>
          <a:stretch>
            <a:fillRect/>
          </a:stretch>
        </p:blipFill>
        <p:spPr>
          <a:xfrm flipH="1">
            <a:off x="7164288" y="1790424"/>
            <a:ext cx="480000" cy="853333"/>
          </a:xfrm>
          <a:prstGeom prst="rect">
            <a:avLst/>
          </a:prstGeom>
        </p:spPr>
      </p:pic>
      <p:pic>
        <p:nvPicPr>
          <p:cNvPr id="126" name="Kuva 125" descr="tuoli_joystick.png"/>
          <p:cNvPicPr>
            <a:picLocks noChangeAspect="1"/>
          </p:cNvPicPr>
          <p:nvPr/>
        </p:nvPicPr>
        <p:blipFill>
          <a:blip r:embed="rId21" cstate="print"/>
          <a:stretch>
            <a:fillRect/>
          </a:stretch>
        </p:blipFill>
        <p:spPr>
          <a:xfrm flipH="1">
            <a:off x="7596336" y="2006448"/>
            <a:ext cx="480000" cy="853333"/>
          </a:xfrm>
          <a:prstGeom prst="rect">
            <a:avLst/>
          </a:prstGeom>
        </p:spPr>
      </p:pic>
      <p:pic>
        <p:nvPicPr>
          <p:cNvPr id="127" name="Kuva 126" descr="tuoli_joystick.png"/>
          <p:cNvPicPr>
            <a:picLocks noChangeAspect="1"/>
          </p:cNvPicPr>
          <p:nvPr/>
        </p:nvPicPr>
        <p:blipFill>
          <a:blip r:embed="rId21" cstate="print"/>
          <a:stretch>
            <a:fillRect/>
          </a:stretch>
        </p:blipFill>
        <p:spPr>
          <a:xfrm flipH="1">
            <a:off x="8052440" y="2222472"/>
            <a:ext cx="480000" cy="853333"/>
          </a:xfrm>
          <a:prstGeom prst="rect">
            <a:avLst/>
          </a:prstGeom>
        </p:spPr>
      </p:pic>
      <p:pic>
        <p:nvPicPr>
          <p:cNvPr id="104" name="Kuva 103" descr="kaappi.png"/>
          <p:cNvPicPr>
            <a:picLocks noChangeAspect="1"/>
          </p:cNvPicPr>
          <p:nvPr/>
        </p:nvPicPr>
        <p:blipFill>
          <a:blip r:embed="rId6" cstate="print"/>
          <a:stretch>
            <a:fillRect/>
          </a:stretch>
        </p:blipFill>
        <p:spPr>
          <a:xfrm>
            <a:off x="7020272" y="2612989"/>
            <a:ext cx="1462856" cy="822857"/>
          </a:xfrm>
          <a:prstGeom prst="rect">
            <a:avLst/>
          </a:prstGeom>
        </p:spPr>
      </p:pic>
      <p:grpSp>
        <p:nvGrpSpPr>
          <p:cNvPr id="105" name="Ryhmä 104"/>
          <p:cNvGrpSpPr>
            <a:grpSpLocks noChangeAspect="1"/>
          </p:cNvGrpSpPr>
          <p:nvPr/>
        </p:nvGrpSpPr>
        <p:grpSpPr>
          <a:xfrm>
            <a:off x="5491081" y="2067694"/>
            <a:ext cx="1097143" cy="714317"/>
            <a:chOff x="2771800" y="1801339"/>
            <a:chExt cx="2194286" cy="1428633"/>
          </a:xfrm>
        </p:grpSpPr>
        <p:pic>
          <p:nvPicPr>
            <p:cNvPr id="113" name="Kuva 112" descr="os_cabinet.png"/>
            <p:cNvPicPr>
              <a:picLocks noChangeAspect="1"/>
            </p:cNvPicPr>
            <p:nvPr/>
          </p:nvPicPr>
          <p:blipFill>
            <a:blip r:embed="rId3" cstate="print"/>
            <a:stretch>
              <a:fillRect/>
            </a:stretch>
          </p:blipFill>
          <p:spPr>
            <a:xfrm>
              <a:off x="2771800" y="1995686"/>
              <a:ext cx="2194286" cy="1234286"/>
            </a:xfrm>
            <a:prstGeom prst="rect">
              <a:avLst/>
            </a:prstGeom>
          </p:spPr>
        </p:pic>
        <p:pic>
          <p:nvPicPr>
            <p:cNvPr id="114" name="Kuva 113" descr="tuoli_joystick.png"/>
            <p:cNvPicPr>
              <a:picLocks noChangeAspect="1"/>
            </p:cNvPicPr>
            <p:nvPr/>
          </p:nvPicPr>
          <p:blipFill>
            <a:blip r:embed="rId20" cstate="print"/>
            <a:stretch>
              <a:fillRect/>
            </a:stretch>
          </p:blipFill>
          <p:spPr>
            <a:xfrm flipH="1">
              <a:off x="2819912" y="1801339"/>
              <a:ext cx="769500" cy="1367999"/>
            </a:xfrm>
            <a:prstGeom prst="rect">
              <a:avLst/>
            </a:prstGeom>
          </p:spPr>
        </p:pic>
      </p:grpSp>
      <p:pic>
        <p:nvPicPr>
          <p:cNvPr id="120" name="Kuva 119" descr="tunnelirender1.png"/>
          <p:cNvPicPr>
            <a:picLocks noChangeAspect="1"/>
          </p:cNvPicPr>
          <p:nvPr/>
        </p:nvPicPr>
        <p:blipFill>
          <a:blip r:embed="rId22" cstate="print"/>
          <a:srcRect r="17099"/>
          <a:stretch>
            <a:fillRect/>
          </a:stretch>
        </p:blipFill>
        <p:spPr>
          <a:xfrm>
            <a:off x="8028384" y="3406347"/>
            <a:ext cx="872715" cy="821587"/>
          </a:xfrm>
          <a:prstGeom prst="rect">
            <a:avLst/>
          </a:prstGeom>
        </p:spPr>
      </p:pic>
    </p:spTree>
    <p:extLst>
      <p:ext uri="{BB962C8B-B14F-4D97-AF65-F5344CB8AC3E}">
        <p14:creationId xmlns:p14="http://schemas.microsoft.com/office/powerpoint/2010/main" val="3835084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do8kL77NQae23YU55EqQ1Q"/>
</p:tagLst>
</file>

<file path=ppt/theme/theme1.xml><?xml version="1.0" encoding="utf-8"?>
<a:theme xmlns:a="http://schemas.openxmlformats.org/drawingml/2006/main" name="Sandvik white">
  <a:themeElements>
    <a:clrScheme name="Sandvik">
      <a:dk1>
        <a:sysClr val="windowText" lastClr="000000"/>
      </a:dk1>
      <a:lt1>
        <a:sysClr val="window" lastClr="FFFFFF"/>
      </a:lt1>
      <a:dk2>
        <a:srgbClr val="0099FF"/>
      </a:dk2>
      <a:lt2>
        <a:srgbClr val="7F7F7F"/>
      </a:lt2>
      <a:accent1>
        <a:srgbClr val="0099FF"/>
      </a:accent1>
      <a:accent2>
        <a:srgbClr val="FF6E00"/>
      </a:accent2>
      <a:accent3>
        <a:srgbClr val="0069A8"/>
      </a:accent3>
      <a:accent4>
        <a:srgbClr val="E22F1D"/>
      </a:accent4>
      <a:accent5>
        <a:srgbClr val="7F7F7F"/>
      </a:accent5>
      <a:accent6>
        <a:srgbClr val="7FB4D3"/>
      </a:accent6>
      <a:hlink>
        <a:srgbClr val="0000FF"/>
      </a:hlink>
      <a:folHlink>
        <a:srgbClr val="800080"/>
      </a:folHlink>
    </a:clrScheme>
    <a:fontScheme name="Sandvi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9050">
          <a:solidFill>
            <a:schemeClr val="accent1"/>
          </a:solidFill>
        </a:ln>
        <a:effectLst/>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effectLst/>
      </a:spPr>
      <a:bodyPr/>
      <a:lstStyle/>
      <a:style>
        <a:lnRef idx="3">
          <a:schemeClr val="accent1"/>
        </a:lnRef>
        <a:fillRef idx="0">
          <a:schemeClr val="accent1"/>
        </a:fillRef>
        <a:effectRef idx="2">
          <a:schemeClr val="accent1"/>
        </a:effectRef>
        <a:fontRef idx="minor">
          <a:schemeClr val="tx1"/>
        </a:fontRef>
      </a:style>
    </a:lnDef>
  </a:objectDefaults>
  <a:extraClrSchemeLst/>
</a:theme>
</file>

<file path=ppt/theme/theme2.xml><?xml version="1.0" encoding="utf-8"?>
<a:theme xmlns:a="http://schemas.openxmlformats.org/drawingml/2006/main" name="SMC_Template">
  <a:themeElements>
    <a:clrScheme name="SMC_Template 1">
      <a:dk1>
        <a:srgbClr val="000000"/>
      </a:dk1>
      <a:lt1>
        <a:srgbClr val="FFFFFF"/>
      </a:lt1>
      <a:dk2>
        <a:srgbClr val="FF3600"/>
      </a:dk2>
      <a:lt2>
        <a:srgbClr val="CCECF9"/>
      </a:lt2>
      <a:accent1>
        <a:srgbClr val="009EE0"/>
      </a:accent1>
      <a:accent2>
        <a:srgbClr val="33B0E6"/>
      </a:accent2>
      <a:accent3>
        <a:srgbClr val="FFFFFF"/>
      </a:accent3>
      <a:accent4>
        <a:srgbClr val="000000"/>
      </a:accent4>
      <a:accent5>
        <a:srgbClr val="AACCED"/>
      </a:accent5>
      <a:accent6>
        <a:srgbClr val="2D9FD0"/>
      </a:accent6>
      <a:hlink>
        <a:srgbClr val="65C5ED"/>
      </a:hlink>
      <a:folHlink>
        <a:srgbClr val="98D8F3"/>
      </a:folHlink>
    </a:clrScheme>
    <a:fontScheme name="SMC_Template">
      <a:majorFont>
        <a:latin typeface="Gill Sans MT"/>
        <a:ea typeface=""/>
        <a:cs typeface="Arial"/>
      </a:majorFont>
      <a:minorFont>
        <a:latin typeface="Gill Sans MT"/>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gradFill rotWithShape="1">
          <a:gsLst>
            <a:gs pos="0">
              <a:schemeClr val="folHlink">
                <a:alpha val="28999"/>
              </a:schemeClr>
            </a:gs>
            <a:gs pos="100000">
              <a:schemeClr val="folHlink">
                <a:gamma/>
                <a:shade val="46275"/>
                <a:invGamma/>
                <a:alpha val="27000"/>
              </a:schemeClr>
            </a:gs>
          </a:gsLst>
          <a:lin ang="5400000" scaled="1"/>
        </a:gradFill>
        <a:ln>
          <a:noFill/>
        </a:ln>
        <a:effectLst/>
        <a:extLst>
          <a:ext uri="{91240B29-F687-4F45-9708-019B960494DF}">
            <a14:hiddenLine xmlns:a14="http://schemas.microsoft.com/office/drawing/2010/main" w="12700"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3600" b="1" i="0" u="none" strike="noStrike" cap="none" normalizeH="0" baseline="0" smtClean="0">
            <a:ln>
              <a:noFill/>
            </a:ln>
            <a:solidFill>
              <a:schemeClr val="bg1"/>
            </a:solidFill>
            <a:effectLst/>
            <a:latin typeface="Arial" charset="0"/>
          </a:defRPr>
        </a:defPPr>
      </a:lstStyle>
    </a:spDef>
    <a:lnDef>
      <a:spPr bwMode="auto">
        <a:xfrm>
          <a:off x="0" y="0"/>
          <a:ext cx="1" cy="1"/>
        </a:xfrm>
        <a:custGeom>
          <a:avLst/>
          <a:gdLst/>
          <a:ahLst/>
          <a:cxnLst/>
          <a:rect l="0" t="0" r="0" b="0"/>
          <a:pathLst/>
        </a:custGeom>
        <a:gradFill rotWithShape="1">
          <a:gsLst>
            <a:gs pos="0">
              <a:schemeClr val="folHlink">
                <a:alpha val="28999"/>
              </a:schemeClr>
            </a:gs>
            <a:gs pos="100000">
              <a:schemeClr val="folHlink">
                <a:gamma/>
                <a:shade val="46275"/>
                <a:invGamma/>
                <a:alpha val="27000"/>
              </a:schemeClr>
            </a:gs>
          </a:gsLst>
          <a:lin ang="5400000" scaled="1"/>
        </a:gradFill>
        <a:ln>
          <a:noFill/>
        </a:ln>
        <a:effectLst/>
        <a:extLst>
          <a:ext uri="{91240B29-F687-4F45-9708-019B960494DF}">
            <a14:hiddenLine xmlns:a14="http://schemas.microsoft.com/office/drawing/2010/main" w="12700"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3600" b="1" i="0" u="none" strike="noStrike" cap="none" normalizeH="0" baseline="0" smtClean="0">
            <a:ln>
              <a:noFill/>
            </a:ln>
            <a:solidFill>
              <a:schemeClr val="bg1"/>
            </a:solidFill>
            <a:effectLst/>
            <a:latin typeface="Arial" charset="0"/>
          </a:defRPr>
        </a:defPPr>
      </a:lstStyle>
    </a:lnDef>
  </a:objectDefaults>
  <a:extraClrSchemeLst>
    <a:extraClrScheme>
      <a:clrScheme name="SMC_Template 1">
        <a:dk1>
          <a:srgbClr val="000000"/>
        </a:dk1>
        <a:lt1>
          <a:srgbClr val="FFFFFF"/>
        </a:lt1>
        <a:dk2>
          <a:srgbClr val="FF3600"/>
        </a:dk2>
        <a:lt2>
          <a:srgbClr val="CCECF9"/>
        </a:lt2>
        <a:accent1>
          <a:srgbClr val="009EE0"/>
        </a:accent1>
        <a:accent2>
          <a:srgbClr val="33B0E6"/>
        </a:accent2>
        <a:accent3>
          <a:srgbClr val="FFFFFF"/>
        </a:accent3>
        <a:accent4>
          <a:srgbClr val="000000"/>
        </a:accent4>
        <a:accent5>
          <a:srgbClr val="AACCED"/>
        </a:accent5>
        <a:accent6>
          <a:srgbClr val="2D9FD0"/>
        </a:accent6>
        <a:hlink>
          <a:srgbClr val="65C5ED"/>
        </a:hlink>
        <a:folHlink>
          <a:srgbClr val="98D8F3"/>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SMC_Template">
  <a:themeElements>
    <a:clrScheme name="SMC_Template 1">
      <a:dk1>
        <a:srgbClr val="000000"/>
      </a:dk1>
      <a:lt1>
        <a:srgbClr val="FFFFFF"/>
      </a:lt1>
      <a:dk2>
        <a:srgbClr val="FF3600"/>
      </a:dk2>
      <a:lt2>
        <a:srgbClr val="CCECF9"/>
      </a:lt2>
      <a:accent1>
        <a:srgbClr val="009EE0"/>
      </a:accent1>
      <a:accent2>
        <a:srgbClr val="33B0E6"/>
      </a:accent2>
      <a:accent3>
        <a:srgbClr val="FFFFFF"/>
      </a:accent3>
      <a:accent4>
        <a:srgbClr val="000000"/>
      </a:accent4>
      <a:accent5>
        <a:srgbClr val="AACCED"/>
      </a:accent5>
      <a:accent6>
        <a:srgbClr val="2D9FD0"/>
      </a:accent6>
      <a:hlink>
        <a:srgbClr val="65C5ED"/>
      </a:hlink>
      <a:folHlink>
        <a:srgbClr val="98D8F3"/>
      </a:folHlink>
    </a:clrScheme>
    <a:fontScheme name="SMC_Template">
      <a:majorFont>
        <a:latin typeface="Gill Sans MT"/>
        <a:ea typeface=""/>
        <a:cs typeface="Arial"/>
      </a:majorFont>
      <a:minorFont>
        <a:latin typeface="Gill Sans MT"/>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gradFill rotWithShape="1">
          <a:gsLst>
            <a:gs pos="0">
              <a:schemeClr val="folHlink">
                <a:alpha val="28999"/>
              </a:schemeClr>
            </a:gs>
            <a:gs pos="100000">
              <a:schemeClr val="folHlink">
                <a:gamma/>
                <a:shade val="46275"/>
                <a:invGamma/>
                <a:alpha val="27000"/>
              </a:schemeClr>
            </a:gs>
          </a:gsLst>
          <a:lin ang="5400000" scaled="1"/>
        </a:gradFill>
        <a:ln>
          <a:noFill/>
        </a:ln>
        <a:effectLst/>
        <a:extLst>
          <a:ext uri="{91240B29-F687-4F45-9708-019B960494DF}">
            <a14:hiddenLine xmlns:a14="http://schemas.microsoft.com/office/drawing/2010/main" w="12700"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3600" b="1" i="0" u="none" strike="noStrike" cap="none" normalizeH="0" baseline="0" smtClean="0">
            <a:ln>
              <a:noFill/>
            </a:ln>
            <a:solidFill>
              <a:schemeClr val="bg1"/>
            </a:solidFill>
            <a:effectLst/>
            <a:latin typeface="Arial" charset="0"/>
          </a:defRPr>
        </a:defPPr>
      </a:lstStyle>
    </a:spDef>
    <a:lnDef>
      <a:spPr bwMode="auto">
        <a:xfrm>
          <a:off x="0" y="0"/>
          <a:ext cx="1" cy="1"/>
        </a:xfrm>
        <a:custGeom>
          <a:avLst/>
          <a:gdLst/>
          <a:ahLst/>
          <a:cxnLst/>
          <a:rect l="0" t="0" r="0" b="0"/>
          <a:pathLst/>
        </a:custGeom>
        <a:gradFill rotWithShape="1">
          <a:gsLst>
            <a:gs pos="0">
              <a:schemeClr val="folHlink">
                <a:alpha val="28999"/>
              </a:schemeClr>
            </a:gs>
            <a:gs pos="100000">
              <a:schemeClr val="folHlink">
                <a:gamma/>
                <a:shade val="46275"/>
                <a:invGamma/>
                <a:alpha val="27000"/>
              </a:schemeClr>
            </a:gs>
          </a:gsLst>
          <a:lin ang="5400000" scaled="1"/>
        </a:gradFill>
        <a:ln>
          <a:noFill/>
        </a:ln>
        <a:effectLst/>
        <a:extLst>
          <a:ext uri="{91240B29-F687-4F45-9708-019B960494DF}">
            <a14:hiddenLine xmlns:a14="http://schemas.microsoft.com/office/drawing/2010/main" w="12700"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3600" b="1" i="0" u="none" strike="noStrike" cap="none" normalizeH="0" baseline="0" smtClean="0">
            <a:ln>
              <a:noFill/>
            </a:ln>
            <a:solidFill>
              <a:schemeClr val="bg1"/>
            </a:solidFill>
            <a:effectLst/>
            <a:latin typeface="Arial" charset="0"/>
          </a:defRPr>
        </a:defPPr>
      </a:lstStyle>
    </a:lnDef>
  </a:objectDefaults>
  <a:extraClrSchemeLst>
    <a:extraClrScheme>
      <a:clrScheme name="SMC_Template 1">
        <a:dk1>
          <a:srgbClr val="000000"/>
        </a:dk1>
        <a:lt1>
          <a:srgbClr val="FFFFFF"/>
        </a:lt1>
        <a:dk2>
          <a:srgbClr val="FF3600"/>
        </a:dk2>
        <a:lt2>
          <a:srgbClr val="CCECF9"/>
        </a:lt2>
        <a:accent1>
          <a:srgbClr val="009EE0"/>
        </a:accent1>
        <a:accent2>
          <a:srgbClr val="33B0E6"/>
        </a:accent2>
        <a:accent3>
          <a:srgbClr val="FFFFFF"/>
        </a:accent3>
        <a:accent4>
          <a:srgbClr val="000000"/>
        </a:accent4>
        <a:accent5>
          <a:srgbClr val="AACCED"/>
        </a:accent5>
        <a:accent6>
          <a:srgbClr val="2D9FD0"/>
        </a:accent6>
        <a:hlink>
          <a:srgbClr val="65C5ED"/>
        </a:hlink>
        <a:folHlink>
          <a:srgbClr val="98D8F3"/>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Template_080630">
  <a:themeElements>
    <a:clrScheme name="Template_080630 1">
      <a:dk1>
        <a:srgbClr val="000000"/>
      </a:dk1>
      <a:lt1>
        <a:srgbClr val="FFFFFF"/>
      </a:lt1>
      <a:dk2>
        <a:srgbClr val="FF3600"/>
      </a:dk2>
      <a:lt2>
        <a:srgbClr val="CCECF9"/>
      </a:lt2>
      <a:accent1>
        <a:srgbClr val="009EE0"/>
      </a:accent1>
      <a:accent2>
        <a:srgbClr val="33B0E6"/>
      </a:accent2>
      <a:accent3>
        <a:srgbClr val="FFFFFF"/>
      </a:accent3>
      <a:accent4>
        <a:srgbClr val="000000"/>
      </a:accent4>
      <a:accent5>
        <a:srgbClr val="AACCED"/>
      </a:accent5>
      <a:accent6>
        <a:srgbClr val="2D9FD0"/>
      </a:accent6>
      <a:hlink>
        <a:srgbClr val="65C5ED"/>
      </a:hlink>
      <a:folHlink>
        <a:srgbClr val="98D8F3"/>
      </a:folHlink>
    </a:clrScheme>
    <a:fontScheme name="Template_080630">
      <a:majorFont>
        <a:latin typeface="Gill Sans MT"/>
        <a:ea typeface=""/>
        <a:cs typeface=""/>
      </a:majorFont>
      <a:minorFont>
        <a:latin typeface="Gill Sans M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0000" tIns="180000" rIns="90000" bIns="18000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Gill Sans MT" pitchFamily="34" charset="0"/>
            <a:cs typeface="Arial" charset="0"/>
          </a:defRPr>
        </a:defPPr>
      </a:lstStyle>
    </a:spDef>
    <a:lnDef>
      <a:spPr bwMode="auto">
        <a:xfrm>
          <a:off x="0" y="0"/>
          <a:ext cx="1" cy="1"/>
        </a:xfrm>
        <a:custGeom>
          <a:avLst/>
          <a:gdLst/>
          <a:ahLst/>
          <a:cxnLst/>
          <a:rect l="0" t="0" r="0" b="0"/>
          <a:pathLst/>
        </a:custGeom>
        <a:solidFill>
          <a:schemeClr val="accent1"/>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0000" tIns="180000" rIns="90000" bIns="18000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Gill Sans MT" pitchFamily="34" charset="0"/>
            <a:cs typeface="Arial" charset="0"/>
          </a:defRPr>
        </a:defPPr>
      </a:lstStyle>
    </a:lnDef>
  </a:objectDefaults>
  <a:extraClrSchemeLst>
    <a:extraClrScheme>
      <a:clrScheme name="Template_080630 1">
        <a:dk1>
          <a:srgbClr val="000000"/>
        </a:dk1>
        <a:lt1>
          <a:srgbClr val="FFFFFF"/>
        </a:lt1>
        <a:dk2>
          <a:srgbClr val="FF3600"/>
        </a:dk2>
        <a:lt2>
          <a:srgbClr val="CCECF9"/>
        </a:lt2>
        <a:accent1>
          <a:srgbClr val="009EE0"/>
        </a:accent1>
        <a:accent2>
          <a:srgbClr val="33B0E6"/>
        </a:accent2>
        <a:accent3>
          <a:srgbClr val="FFFFFF"/>
        </a:accent3>
        <a:accent4>
          <a:srgbClr val="000000"/>
        </a:accent4>
        <a:accent5>
          <a:srgbClr val="AACCED"/>
        </a:accent5>
        <a:accent6>
          <a:srgbClr val="2D9FD0"/>
        </a:accent6>
        <a:hlink>
          <a:srgbClr val="65C5ED"/>
        </a:hlink>
        <a:folHlink>
          <a:srgbClr val="98D8F3"/>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1_Sandvik white">
  <a:themeElements>
    <a:clrScheme name="Sandvik">
      <a:dk1>
        <a:sysClr val="windowText" lastClr="000000"/>
      </a:dk1>
      <a:lt1>
        <a:sysClr val="window" lastClr="FFFFFF"/>
      </a:lt1>
      <a:dk2>
        <a:srgbClr val="0099FF"/>
      </a:dk2>
      <a:lt2>
        <a:srgbClr val="7F7F7F"/>
      </a:lt2>
      <a:accent1>
        <a:srgbClr val="0099FF"/>
      </a:accent1>
      <a:accent2>
        <a:srgbClr val="FF6E00"/>
      </a:accent2>
      <a:accent3>
        <a:srgbClr val="0069A8"/>
      </a:accent3>
      <a:accent4>
        <a:srgbClr val="E22F1D"/>
      </a:accent4>
      <a:accent5>
        <a:srgbClr val="7F7F7F"/>
      </a:accent5>
      <a:accent6>
        <a:srgbClr val="7FB4D3"/>
      </a:accent6>
      <a:hlink>
        <a:srgbClr val="0000FF"/>
      </a:hlink>
      <a:folHlink>
        <a:srgbClr val="800080"/>
      </a:folHlink>
    </a:clrScheme>
    <a:fontScheme name="Sandvi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9050">
          <a:solidFill>
            <a:schemeClr val="accent1"/>
          </a:solidFill>
        </a:ln>
        <a:effectLst/>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effectLst/>
      </a:spPr>
      <a:bodyPr/>
      <a:lstStyle/>
      <a:style>
        <a:lnRef idx="3">
          <a:schemeClr val="accent1"/>
        </a:lnRef>
        <a:fillRef idx="0">
          <a:schemeClr val="accent1"/>
        </a:fillRef>
        <a:effectRef idx="2">
          <a:schemeClr val="accent1"/>
        </a:effectRef>
        <a:fontRef idx="minor">
          <a:schemeClr val="tx1"/>
        </a:fontRef>
      </a:style>
    </a:ln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Sandvik white</Template>
  <TotalTime>0</TotalTime>
  <Words>1618</Words>
  <Application>Microsoft Office PowerPoint</Application>
  <PresentationFormat>On-screen Show (16:9)</PresentationFormat>
  <Paragraphs>283</Paragraphs>
  <Slides>23</Slides>
  <Notes>21</Notes>
  <HiddenSlides>0</HiddenSlides>
  <MMClips>0</MMClips>
  <ScaleCrop>false</ScaleCrop>
  <HeadingPairs>
    <vt:vector size="6" baseType="variant">
      <vt:variant>
        <vt:lpstr>Fonts Used</vt:lpstr>
      </vt:variant>
      <vt:variant>
        <vt:i4>6</vt:i4>
      </vt:variant>
      <vt:variant>
        <vt:lpstr>Theme</vt:lpstr>
      </vt:variant>
      <vt:variant>
        <vt:i4>5</vt:i4>
      </vt:variant>
      <vt:variant>
        <vt:lpstr>Slide Titles</vt:lpstr>
      </vt:variant>
      <vt:variant>
        <vt:i4>23</vt:i4>
      </vt:variant>
    </vt:vector>
  </HeadingPairs>
  <TitlesOfParts>
    <vt:vector size="34" baseType="lpstr">
      <vt:lpstr>MS PGothic</vt:lpstr>
      <vt:lpstr>Arial</vt:lpstr>
      <vt:lpstr>Calibri</vt:lpstr>
      <vt:lpstr>Gill Sans MT</vt:lpstr>
      <vt:lpstr>Times New Roman</vt:lpstr>
      <vt:lpstr>Wingdings 2</vt:lpstr>
      <vt:lpstr>Sandvik white</vt:lpstr>
      <vt:lpstr>SMC_Template</vt:lpstr>
      <vt:lpstr>1_SMC_Template</vt:lpstr>
      <vt:lpstr>Template_080630</vt:lpstr>
      <vt:lpstr>1_Sandvik white</vt:lpstr>
      <vt:lpstr>AUTOMATION in mining</vt:lpstr>
      <vt:lpstr>PowerPoint Presentation</vt:lpstr>
      <vt:lpstr>PowerPoint Presentation</vt:lpstr>
      <vt:lpstr>Brian Carroll</vt:lpstr>
      <vt:lpstr>PowerPoint Presentation</vt:lpstr>
      <vt:lpstr>Automation in mining</vt:lpstr>
      <vt:lpstr>Mining automation PRODUCT FAMILIES</vt:lpstr>
      <vt:lpstr>AUTOMINE®</vt:lpstr>
      <vt:lpstr>AutoMine™  </vt:lpstr>
      <vt:lpstr>Automation in mining</vt:lpstr>
      <vt:lpstr>Automation in mining</vt:lpstr>
      <vt:lpstr>Automation in mining</vt:lpstr>
      <vt:lpstr>Automation in mining</vt:lpstr>
      <vt:lpstr>Automation in mining</vt:lpstr>
      <vt:lpstr>Automation in mining</vt:lpstr>
      <vt:lpstr>Automation in mining</vt:lpstr>
      <vt:lpstr>Automation in mining</vt:lpstr>
      <vt:lpstr>Automation in mining</vt:lpstr>
      <vt:lpstr>Optimine® – information anywhere anytime </vt:lpstr>
      <vt:lpstr>Automine™ L&amp;H references</vt:lpstr>
      <vt:lpstr>optimine® – references</vt:lpstr>
      <vt:lpstr>PowerPoint Presentation</vt:lpstr>
      <vt:lpstr>Thank you!        </vt:lpstr>
    </vt:vector>
  </TitlesOfParts>
  <Company>Sandvik AB</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ning Automation Overview</dc:title>
  <dc:creator>Brett Cook</dc:creator>
  <cp:lastModifiedBy>Brian Carroll</cp:lastModifiedBy>
  <cp:revision>455</cp:revision>
  <dcterms:created xsi:type="dcterms:W3CDTF">2015-09-30T08:40:06Z</dcterms:created>
  <dcterms:modified xsi:type="dcterms:W3CDTF">2018-09-10T14:18:45Z</dcterms:modified>
</cp:coreProperties>
</file>